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4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notesSlides/notesSlide9.xml" ContentType="application/vnd.openxmlformats-officedocument.presentationml.notesSl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6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7.xml" ContentType="application/vnd.openxmlformats-officedocument.drawingml.chart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94" r:id="rId1"/>
    <p:sldMasterId id="2147484047" r:id="rId2"/>
    <p:sldMasterId id="2147484048" r:id="rId3"/>
    <p:sldMasterId id="2147484009" r:id="rId4"/>
    <p:sldMasterId id="2147484093" r:id="rId5"/>
  </p:sldMasterIdLst>
  <p:notesMasterIdLst>
    <p:notesMasterId r:id="rId41"/>
  </p:notesMasterIdLst>
  <p:sldIdLst>
    <p:sldId id="2182" r:id="rId6"/>
    <p:sldId id="2166" r:id="rId7"/>
    <p:sldId id="2167" r:id="rId8"/>
    <p:sldId id="2168" r:id="rId9"/>
    <p:sldId id="2169" r:id="rId10"/>
    <p:sldId id="2170" r:id="rId11"/>
    <p:sldId id="377" r:id="rId12"/>
    <p:sldId id="364" r:id="rId13"/>
    <p:sldId id="1991" r:id="rId14"/>
    <p:sldId id="1963" r:id="rId15"/>
    <p:sldId id="2204" r:id="rId16"/>
    <p:sldId id="588" r:id="rId17"/>
    <p:sldId id="2172" r:id="rId18"/>
    <p:sldId id="279" r:id="rId19"/>
    <p:sldId id="2181" r:id="rId20"/>
    <p:sldId id="2177" r:id="rId21"/>
    <p:sldId id="2178" r:id="rId22"/>
    <p:sldId id="2179" r:id="rId23"/>
    <p:sldId id="2180" r:id="rId24"/>
    <p:sldId id="256" r:id="rId25"/>
    <p:sldId id="257" r:id="rId26"/>
    <p:sldId id="258" r:id="rId27"/>
    <p:sldId id="260" r:id="rId28"/>
    <p:sldId id="2185" r:id="rId29"/>
    <p:sldId id="2184" r:id="rId30"/>
    <p:sldId id="2186" r:id="rId31"/>
    <p:sldId id="2203" r:id="rId32"/>
    <p:sldId id="2191" r:id="rId33"/>
    <p:sldId id="2194" r:id="rId34"/>
    <p:sldId id="2195" r:id="rId35"/>
    <p:sldId id="2196" r:id="rId36"/>
    <p:sldId id="2197" r:id="rId37"/>
    <p:sldId id="2198" r:id="rId38"/>
    <p:sldId id="2201" r:id="rId39"/>
    <p:sldId id="2202" r:id="rId40"/>
  </p:sldIdLst>
  <p:sldSz cx="24387175" cy="13716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signBall" initials="D" lastIdx="1" clrIdx="0">
    <p:extLst>
      <p:ext uri="{19B8F6BF-5375-455C-9EA6-DF929625EA0E}">
        <p15:presenceInfo xmlns:p15="http://schemas.microsoft.com/office/powerpoint/2012/main" userId="DesignBall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6EAF3"/>
    <a:srgbClr val="FFFFFF"/>
    <a:srgbClr val="172144"/>
    <a:srgbClr val="FAFAFC"/>
    <a:srgbClr val="314792"/>
    <a:srgbClr val="FFB2BA"/>
    <a:srgbClr val="EBECF1"/>
    <a:srgbClr val="F5F5FA"/>
    <a:srgbClr val="E6E6EE"/>
    <a:srgbClr val="22306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828" autoAdjust="0"/>
    <p:restoredTop sz="96113" autoAdjust="0"/>
  </p:normalViewPr>
  <p:slideViewPr>
    <p:cSldViewPr snapToGrid="0">
      <p:cViewPr varScale="1">
        <p:scale>
          <a:sx n="80" d="100"/>
          <a:sy n="80" d="100"/>
        </p:scale>
        <p:origin x="832" y="776"/>
      </p:cViewPr>
      <p:guideLst/>
    </p:cSldViewPr>
  </p:slideViewPr>
  <p:outlineViewPr>
    <p:cViewPr>
      <p:scale>
        <a:sx n="33" d="100"/>
        <a:sy n="33" d="100"/>
      </p:scale>
      <p:origin x="0" y="-34077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20" d="100"/>
        <a:sy n="20" d="100"/>
      </p:scale>
      <p:origin x="0" y="-12750"/>
    </p:cViewPr>
  </p:sorterViewPr>
  <p:notesViewPr>
    <p:cSldViewPr snapToGrid="0">
      <p:cViewPr varScale="1">
        <p:scale>
          <a:sx n="110" d="100"/>
          <a:sy n="110" d="100"/>
        </p:scale>
        <p:origin x="2934" y="114"/>
      </p:cViewPr>
      <p:guideLst/>
    </p:cSldViewPr>
  </p:notesViewPr>
  <p:gridSpacing cx="228600" cy="2286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commentAuthors" Target="commentAuthors.xml"/><Relationship Id="rId7" Type="http://schemas.openxmlformats.org/officeDocument/2006/relationships/slide" Target="slides/slide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presProps" Target="presProps.xml"/><Relationship Id="rId8" Type="http://schemas.openxmlformats.org/officeDocument/2006/relationships/slide" Target="slides/slide3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tableStyles" Target="tableStyles.xml"/><Relationship Id="rId20" Type="http://schemas.openxmlformats.org/officeDocument/2006/relationships/slide" Target="slides/slide15.xml"/><Relationship Id="rId41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656181929111804E-2"/>
          <c:y val="9.3526973799451782E-2"/>
          <c:w val="0.88224969265356712"/>
          <c:h val="0.72629477397868969"/>
        </c:manualLayout>
      </c:layout>
      <c:line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 Users</c:v>
                </c:pt>
              </c:strCache>
            </c:strRef>
          </c:tx>
          <c:spPr>
            <a:ln w="38100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12"/>
            <c:spPr>
              <a:solidFill>
                <a:schemeClr val="accent6"/>
              </a:solidFill>
              <a:ln w="41275" cap="rnd">
                <a:solidFill>
                  <a:schemeClr val="bg2"/>
                </a:solidFill>
              </a:ln>
              <a:effectLst/>
            </c:spPr>
          </c:marker>
          <c:cat>
            <c:strRef>
              <c:f>Sheet1!$A$2:$A$8</c:f>
              <c:strCache>
                <c:ptCount val="7"/>
                <c:pt idx="0">
                  <c:v>March</c:v>
                </c:pt>
                <c:pt idx="1">
                  <c:v>April</c:v>
                </c:pt>
                <c:pt idx="2">
                  <c:v>May</c:v>
                </c:pt>
                <c:pt idx="3">
                  <c:v>June</c:v>
                </c:pt>
                <c:pt idx="4">
                  <c:v>July</c:v>
                </c:pt>
                <c:pt idx="5">
                  <c:v>August</c:v>
                </c:pt>
                <c:pt idx="6">
                  <c:v>September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23</c:v>
                </c:pt>
                <c:pt idx="1">
                  <c:v>187</c:v>
                </c:pt>
                <c:pt idx="2">
                  <c:v>294</c:v>
                </c:pt>
                <c:pt idx="3">
                  <c:v>361</c:v>
                </c:pt>
                <c:pt idx="4">
                  <c:v>443</c:v>
                </c:pt>
                <c:pt idx="5">
                  <c:v>508</c:v>
                </c:pt>
                <c:pt idx="6">
                  <c:v>57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FA49-7542-A526-EE1B8A41F9B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readcrumbs</c:v>
                </c:pt>
              </c:strCache>
            </c:strRef>
          </c:tx>
          <c:cat>
            <c:strRef>
              <c:f>Sheet1!$A$2:$A$8</c:f>
              <c:strCache>
                <c:ptCount val="7"/>
                <c:pt idx="0">
                  <c:v>March</c:v>
                </c:pt>
                <c:pt idx="1">
                  <c:v>April</c:v>
                </c:pt>
                <c:pt idx="2">
                  <c:v>May</c:v>
                </c:pt>
                <c:pt idx="3">
                  <c:v>June</c:v>
                </c:pt>
                <c:pt idx="4">
                  <c:v>July</c:v>
                </c:pt>
                <c:pt idx="5">
                  <c:v>August</c:v>
                </c:pt>
                <c:pt idx="6">
                  <c:v>September</c:v>
                </c:pt>
              </c:strCache>
            </c:strRef>
          </c:cat>
          <c:val>
            <c:numRef>
              <c:f>Sheet1!$C$2:$C$8</c:f>
              <c:numCache>
                <c:formatCode>#,##0</c:formatCode>
                <c:ptCount val="7"/>
                <c:pt idx="0">
                  <c:v>273000</c:v>
                </c:pt>
                <c:pt idx="1">
                  <c:v>458000</c:v>
                </c:pt>
                <c:pt idx="2">
                  <c:v>602000</c:v>
                </c:pt>
                <c:pt idx="3">
                  <c:v>705000</c:v>
                </c:pt>
                <c:pt idx="4">
                  <c:v>837000</c:v>
                </c:pt>
                <c:pt idx="5">
                  <c:v>927000</c:v>
                </c:pt>
                <c:pt idx="6">
                  <c:v>10780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2D4-7C4B-B462-9590C45AA1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28896079"/>
        <c:axId val="2001805647"/>
      </c:lineChart>
      <c:catAx>
        <c:axId val="192889607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2">
                <a:alpha val="4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01805647"/>
        <c:crosses val="autoZero"/>
        <c:auto val="1"/>
        <c:lblAlgn val="ctr"/>
        <c:lblOffset val="100"/>
        <c:noMultiLvlLbl val="0"/>
      </c:catAx>
      <c:valAx>
        <c:axId val="2001805647"/>
        <c:scaling>
          <c:orientation val="minMax"/>
          <c:max val="10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alpha val="2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2889607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>
        <a:alpha val="8000"/>
      </a:schemeClr>
    </a:solidFill>
    <a:ln>
      <a:noFill/>
    </a:ln>
    <a:effectLst/>
  </c:spPr>
  <c:txPr>
    <a:bodyPr/>
    <a:lstStyle/>
    <a:p>
      <a:pPr>
        <a:defRPr>
          <a:solidFill>
            <a:schemeClr val="bg2"/>
          </a:solidFill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dPt>
            <c:idx val="0"/>
            <c:bubble3D val="0"/>
            <c:spPr>
              <a:solidFill>
                <a:schemeClr val="tx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C1F-A04A-9208-5DAC9034C078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FC1F-A04A-9208-5DAC9034C07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2B9-0B4E-B132-7B7F7FEB8467}"/>
              </c:ext>
            </c:extLst>
          </c:dPt>
          <c:cat>
            <c:strRef>
              <c:f>Sheet1!$A$2:$A$4</c:f>
              <c:strCache>
                <c:ptCount val="2"/>
                <c:pt idx="0">
                  <c:v>Nord VPN</c:v>
                </c:pt>
                <c:pt idx="1">
                  <c:v>Breadcrumbs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8000000</c:v>
                </c:pt>
                <c:pt idx="1">
                  <c:v>2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C1F-A04A-9208-5DAC9034C0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dPt>
            <c:idx val="0"/>
            <c:bubble3D val="0"/>
            <c:spPr>
              <a:solidFill>
                <a:schemeClr val="tx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C1F-A04A-9208-5DAC9034C078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FC1F-A04A-9208-5DAC9034C07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791-E94B-A145-837AA039D8E7}"/>
              </c:ext>
            </c:extLst>
          </c:dPt>
          <c:cat>
            <c:strRef>
              <c:f>Sheet1!$A$2:$A$4</c:f>
              <c:strCache>
                <c:ptCount val="2"/>
                <c:pt idx="0">
                  <c:v>Nord VPN</c:v>
                </c:pt>
                <c:pt idx="1">
                  <c:v>Breadcrumbs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75</c:v>
                </c:pt>
                <c:pt idx="1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C1F-A04A-9208-5DAC9034C0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230538916062561"/>
          <c:y val="4.7686345082029034E-2"/>
          <c:w val="0.6912249779075148"/>
          <c:h val="0.72629477397868969"/>
        </c:manualLayout>
      </c:layout>
      <c:line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readcrumbs</c:v>
                </c:pt>
              </c:strCache>
            </c:strRef>
          </c:tx>
          <c:marker>
            <c:symbol val="circle"/>
            <c:size val="12"/>
            <c:spPr>
              <a:solidFill>
                <a:schemeClr val="accent6"/>
              </a:solidFill>
              <a:ln w="41275" cap="rnd">
                <a:solidFill>
                  <a:schemeClr val="bg2"/>
                </a:solidFill>
              </a:ln>
              <a:effectLst/>
            </c:spPr>
          </c:marker>
          <c:cat>
            <c:numRef>
              <c:f>Sheet1!$A$2:$A$15</c:f>
              <c:numCache>
                <c:formatCode>mmm\-yy</c:formatCode>
                <c:ptCount val="14"/>
                <c:pt idx="0">
                  <c:v>45566</c:v>
                </c:pt>
                <c:pt idx="1">
                  <c:v>45658</c:v>
                </c:pt>
                <c:pt idx="2">
                  <c:v>45748</c:v>
                </c:pt>
                <c:pt idx="3">
                  <c:v>45839</c:v>
                </c:pt>
                <c:pt idx="4">
                  <c:v>45931</c:v>
                </c:pt>
                <c:pt idx="5">
                  <c:v>46023</c:v>
                </c:pt>
                <c:pt idx="6">
                  <c:v>46113</c:v>
                </c:pt>
                <c:pt idx="7">
                  <c:v>46204</c:v>
                </c:pt>
                <c:pt idx="8">
                  <c:v>46296</c:v>
                </c:pt>
                <c:pt idx="9">
                  <c:v>46388</c:v>
                </c:pt>
                <c:pt idx="10">
                  <c:v>46478</c:v>
                </c:pt>
                <c:pt idx="11">
                  <c:v>46569</c:v>
                </c:pt>
                <c:pt idx="12">
                  <c:v>46661</c:v>
                </c:pt>
                <c:pt idx="13">
                  <c:v>46753</c:v>
                </c:pt>
              </c:numCache>
            </c:numRef>
          </c:cat>
          <c:val>
            <c:numRef>
              <c:f>Sheet1!$B$2:$B$15</c:f>
              <c:numCache>
                <c:formatCode>#,##0</c:formatCode>
                <c:ptCount val="14"/>
                <c:pt idx="0">
                  <c:v>1000000</c:v>
                </c:pt>
                <c:pt idx="1">
                  <c:v>2424462</c:v>
                </c:pt>
                <c:pt idx="2">
                  <c:v>5878016</c:v>
                </c:pt>
                <c:pt idx="3">
                  <c:v>14251026</c:v>
                </c:pt>
                <c:pt idx="4">
                  <c:v>34551072</c:v>
                </c:pt>
                <c:pt idx="5">
                  <c:v>83767764</c:v>
                </c:pt>
                <c:pt idx="6">
                  <c:v>203091762</c:v>
                </c:pt>
                <c:pt idx="7">
                  <c:v>492388263</c:v>
                </c:pt>
                <c:pt idx="8">
                  <c:v>1193776641</c:v>
                </c:pt>
                <c:pt idx="9">
                  <c:v>2894266124</c:v>
                </c:pt>
                <c:pt idx="10">
                  <c:v>7017038286</c:v>
                </c:pt>
                <c:pt idx="11">
                  <c:v>17012542798</c:v>
                </c:pt>
                <c:pt idx="12">
                  <c:v>41246263829</c:v>
                </c:pt>
                <c:pt idx="13">
                  <c:v>10000000000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2440-5749-B690-3EA0053942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28896079"/>
        <c:axId val="2001805647"/>
      </c:lineChart>
      <c:dateAx>
        <c:axId val="1928896079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2">
                <a:alpha val="4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01805647"/>
        <c:crosses val="autoZero"/>
        <c:auto val="1"/>
        <c:lblOffset val="100"/>
        <c:baseTimeUnit val="months"/>
      </c:dateAx>
      <c:valAx>
        <c:axId val="2001805647"/>
        <c:scaling>
          <c:orientation val="minMax"/>
          <c:max val="1000000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alpha val="20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28896079"/>
        <c:crosses val="autoZero"/>
        <c:crossBetween val="between"/>
      </c:valAx>
      <c:spPr>
        <a:noFill/>
        <a:ln>
          <a:solidFill>
            <a:schemeClr val="accent6"/>
          </a:solidFill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>
        <a:alpha val="8000"/>
      </a:schemeClr>
    </a:solidFill>
    <a:ln>
      <a:noFill/>
    </a:ln>
    <a:effectLst/>
  </c:spPr>
  <c:txPr>
    <a:bodyPr/>
    <a:lstStyle/>
    <a:p>
      <a:pPr>
        <a:defRPr>
          <a:solidFill>
            <a:schemeClr val="bg2"/>
          </a:solidFill>
        </a:defRPr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dPt>
            <c:idx val="0"/>
            <c:bubble3D val="0"/>
            <c:spPr>
              <a:solidFill>
                <a:schemeClr val="tx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C1F-A04A-9208-5DAC9034C078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FC1F-A04A-9208-5DAC9034C07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CCB-1345-99BA-B0F52B865843}"/>
              </c:ext>
            </c:extLst>
          </c:dPt>
          <c:cat>
            <c:strRef>
              <c:f>Sheet1!$A$2:$A$4</c:f>
              <c:strCache>
                <c:ptCount val="2"/>
                <c:pt idx="0">
                  <c:v>Nord VPN</c:v>
                </c:pt>
                <c:pt idx="1">
                  <c:v>Breadcrumbs</c:v>
                </c:pt>
              </c:strCache>
            </c:strRef>
          </c:cat>
          <c:val>
            <c:numRef>
              <c:f>Sheet1!$B$2:$B$4</c:f>
              <c:numCache>
                <c:formatCode>#,##0</c:formatCode>
                <c:ptCount val="3"/>
                <c:pt idx="0">
                  <c:v>1000000</c:v>
                </c:pt>
                <c:pt idx="1">
                  <c:v>100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C1F-A04A-9208-5DAC9034C0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dPt>
            <c:idx val="0"/>
            <c:bubble3D val="0"/>
            <c:spPr>
              <a:solidFill>
                <a:schemeClr val="tx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C1F-A04A-9208-5DAC9034C078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FC1F-A04A-9208-5DAC9034C07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791-E94B-A145-837AA039D8E7}"/>
              </c:ext>
            </c:extLst>
          </c:dPt>
          <c:cat>
            <c:strRef>
              <c:f>Sheet1!$A$2:$A$4</c:f>
              <c:strCache>
                <c:ptCount val="2"/>
                <c:pt idx="0">
                  <c:v>Nord VPN</c:v>
                </c:pt>
                <c:pt idx="1">
                  <c:v>Breadcrumbs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0</c:v>
                </c:pt>
                <c:pt idx="1">
                  <c:v>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C1F-A04A-9208-5DAC9034C0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230538916062561"/>
          <c:y val="4.7686345082029034E-2"/>
          <c:w val="0.6912249779075148"/>
          <c:h val="0.72629477397868969"/>
        </c:manualLayout>
      </c:layout>
      <c:line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readcrumbs</c:v>
                </c:pt>
              </c:strCache>
            </c:strRef>
          </c:tx>
          <c:spPr>
            <a:ln w="38100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12"/>
            <c:spPr>
              <a:solidFill>
                <a:schemeClr val="accent6"/>
              </a:solidFill>
              <a:ln w="41275" cap="rnd">
                <a:solidFill>
                  <a:schemeClr val="bg2"/>
                </a:solidFill>
              </a:ln>
              <a:effectLst/>
            </c:spPr>
          </c:marker>
          <c:cat>
            <c:numRef>
              <c:f>Sheet1!$A$2:$A$15</c:f>
              <c:numCache>
                <c:formatCode>mmm\-yy</c:formatCode>
                <c:ptCount val="14"/>
                <c:pt idx="0">
                  <c:v>45566</c:v>
                </c:pt>
                <c:pt idx="1">
                  <c:v>45658</c:v>
                </c:pt>
                <c:pt idx="2">
                  <c:v>45748</c:v>
                </c:pt>
                <c:pt idx="3">
                  <c:v>45839</c:v>
                </c:pt>
                <c:pt idx="4">
                  <c:v>45931</c:v>
                </c:pt>
                <c:pt idx="5">
                  <c:v>46023</c:v>
                </c:pt>
                <c:pt idx="6">
                  <c:v>46113</c:v>
                </c:pt>
                <c:pt idx="7">
                  <c:v>46204</c:v>
                </c:pt>
                <c:pt idx="8">
                  <c:v>46296</c:v>
                </c:pt>
                <c:pt idx="9">
                  <c:v>46388</c:v>
                </c:pt>
                <c:pt idx="10">
                  <c:v>46478</c:v>
                </c:pt>
                <c:pt idx="11">
                  <c:v>46569</c:v>
                </c:pt>
                <c:pt idx="12">
                  <c:v>46661</c:v>
                </c:pt>
                <c:pt idx="13">
                  <c:v>46753</c:v>
                </c:pt>
              </c:numCache>
            </c:numRef>
          </c:cat>
          <c:val>
            <c:numRef>
              <c:f>Sheet1!$B$2:$B$15</c:f>
              <c:numCache>
                <c:formatCode>#,##0</c:formatCode>
                <c:ptCount val="14"/>
                <c:pt idx="0">
                  <c:v>1000000</c:v>
                </c:pt>
                <c:pt idx="1">
                  <c:v>4124626</c:v>
                </c:pt>
                <c:pt idx="2">
                  <c:v>17012542</c:v>
                </c:pt>
                <c:pt idx="3">
                  <c:v>70170382</c:v>
                </c:pt>
                <c:pt idx="4">
                  <c:v>289426612</c:v>
                </c:pt>
                <c:pt idx="5">
                  <c:v>1193776641</c:v>
                </c:pt>
                <c:pt idx="6">
                  <c:v>4923882631</c:v>
                </c:pt>
                <c:pt idx="7">
                  <c:v>20309176209</c:v>
                </c:pt>
                <c:pt idx="8">
                  <c:v>83767764006</c:v>
                </c:pt>
                <c:pt idx="9">
                  <c:v>345510729459</c:v>
                </c:pt>
                <c:pt idx="10">
                  <c:v>1425102670302</c:v>
                </c:pt>
                <c:pt idx="11">
                  <c:v>5878016072274</c:v>
                </c:pt>
                <c:pt idx="12">
                  <c:v>24244620170823</c:v>
                </c:pt>
                <c:pt idx="13">
                  <c:v>10000000000000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D9BB-B74F-B373-E3DDDF77AC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28896079"/>
        <c:axId val="2001805647"/>
      </c:lineChart>
      <c:dateAx>
        <c:axId val="1928896079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2">
                <a:alpha val="4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01805647"/>
        <c:crosses val="autoZero"/>
        <c:auto val="1"/>
        <c:lblOffset val="100"/>
        <c:baseTimeUnit val="months"/>
      </c:dateAx>
      <c:valAx>
        <c:axId val="2001805647"/>
        <c:scaling>
          <c:orientation val="minMax"/>
          <c:max val="1000000000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alpha val="20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2889607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>
        <a:alpha val="8000"/>
      </a:schemeClr>
    </a:solidFill>
    <a:ln>
      <a:noFill/>
    </a:ln>
    <a:effectLst/>
  </c:spPr>
  <c:txPr>
    <a:bodyPr/>
    <a:lstStyle/>
    <a:p>
      <a:pPr>
        <a:defRPr>
          <a:solidFill>
            <a:schemeClr val="bg2"/>
          </a:solidFill>
        </a:defRPr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F8E4EF3-7FAC-4AF9-AF98-E30F6AD30461}" type="datetimeFigureOut">
              <a:rPr lang="en-US" smtClean="0"/>
              <a:t>10/30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02A053-9E28-4D4C-B446-3C2814735BD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85644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02A053-9E28-4D4C-B446-3C2814735BD1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25623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02A053-9E28-4D4C-B446-3C2814735BD1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93522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CF5D1-E0FE-460E-BB3D-B37A835A617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05760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02A053-9E28-4D4C-B446-3C2814735BD1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09026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02A053-9E28-4D4C-B446-3C2814735BD1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47344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02A053-9E28-4D4C-B446-3C2814735BD1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58037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02A053-9E28-4D4C-B446-3C2814735BD1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03700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02A053-9E28-4D4C-B446-3C2814735BD1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11802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02A053-9E28-4D4C-B446-3C2814735BD1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001614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02A053-9E28-4D4C-B446-3C2814735BD1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28194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" TargetMode="External"/><Relationship Id="rId2" Type="http://schemas.openxmlformats.org/officeDocument/2006/relationships/hyperlink" Target="https://www.facebook.com" TargetMode="External"/><Relationship Id="rId1" Type="http://schemas.openxmlformats.org/officeDocument/2006/relationships/slideMaster" Target="../slideMasters/slideMaster4.xml"/><Relationship Id="rId4" Type="http://schemas.openxmlformats.org/officeDocument/2006/relationships/hyperlink" Target="https://twitter.com/" TargetMode="Externa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" TargetMode="External"/><Relationship Id="rId2" Type="http://schemas.openxmlformats.org/officeDocument/2006/relationships/hyperlink" Target="https://www.facebook.com" TargetMode="External"/><Relationship Id="rId1" Type="http://schemas.openxmlformats.org/officeDocument/2006/relationships/slideMaster" Target="../slideMasters/slideMaster4.xml"/><Relationship Id="rId4" Type="http://schemas.openxmlformats.org/officeDocument/2006/relationships/hyperlink" Target="https://twitter.com/" TargetMode="Externa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24426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2155639-6F3E-7D7D-8E44-EFE3F7254B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1774781"/>
              </p:ext>
            </p:extLst>
          </p:nvPr>
        </p:nvGraphicFramePr>
        <p:xfrm>
          <a:off x="3177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3" progId="TCLayout.ActiveDocument.1">
                  <p:embed/>
                </p:oleObj>
              </mc:Choice>
              <mc:Fallback>
                <p:oleObj name="think-cell Slide" r:id="rId3" imgW="344" imgH="3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2155639-6F3E-7D7D-8E44-EFE3F7254B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177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A431C4-A878-D76F-20AB-B2AD1E7906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223443" y="12712701"/>
            <a:ext cx="5487114" cy="730250"/>
          </a:xfrm>
          <a:prstGeom prst="rect">
            <a:avLst/>
          </a:prstGeom>
        </p:spPr>
        <p:txBody>
          <a:bodyPr/>
          <a:lstStyle/>
          <a:p>
            <a:fld id="{728639AF-ED32-4911-8D5F-E388480C1A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46191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250" advClick="0">
        <p159:morph option="byObject"/>
      </p:transition>
    </mc:Choice>
    <mc:Fallback xmlns="">
      <p:transition spd="slow" advClick="0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Custom Layout">
    <p:bg>
      <p:bgPr>
        <a:solidFill>
          <a:srgbClr val="131D2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6DB8D0F1-3783-4D29-ABF1-F6032F25C822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9640875" y="1133379"/>
            <a:ext cx="4815354" cy="10283575"/>
          </a:xfrm>
          <a:custGeom>
            <a:avLst/>
            <a:gdLst>
              <a:gd name="connsiteX0" fmla="*/ 540818 w 3856038"/>
              <a:gd name="connsiteY0" fmla="*/ 33 h 8234879"/>
              <a:gd name="connsiteX1" fmla="*/ 790982 w 3856038"/>
              <a:gd name="connsiteY1" fmla="*/ 4667 h 8234879"/>
              <a:gd name="connsiteX2" fmla="*/ 845532 w 3856038"/>
              <a:gd name="connsiteY2" fmla="*/ 82184 h 8234879"/>
              <a:gd name="connsiteX3" fmla="*/ 937586 w 3856038"/>
              <a:gd name="connsiteY3" fmla="*/ 281030 h 8234879"/>
              <a:gd name="connsiteX4" fmla="*/ 1070554 w 3856038"/>
              <a:gd name="connsiteY4" fmla="*/ 328214 h 8234879"/>
              <a:gd name="connsiteX5" fmla="*/ 2754800 w 3856038"/>
              <a:gd name="connsiteY5" fmla="*/ 324844 h 8234879"/>
              <a:gd name="connsiteX6" fmla="*/ 3000278 w 3856038"/>
              <a:gd name="connsiteY6" fmla="*/ 115886 h 8234879"/>
              <a:gd name="connsiteX7" fmla="*/ 3133244 w 3856038"/>
              <a:gd name="connsiteY7" fmla="*/ 4667 h 8234879"/>
              <a:gd name="connsiteX8" fmla="*/ 3515098 w 3856038"/>
              <a:gd name="connsiteY8" fmla="*/ 14778 h 8234879"/>
              <a:gd name="connsiteX9" fmla="*/ 3842400 w 3856038"/>
              <a:gd name="connsiteY9" fmla="*/ 318103 h 8234879"/>
              <a:gd name="connsiteX10" fmla="*/ 3856038 w 3856038"/>
              <a:gd name="connsiteY10" fmla="*/ 486617 h 8234879"/>
              <a:gd name="connsiteX11" fmla="*/ 3856038 w 3856038"/>
              <a:gd name="connsiteY11" fmla="*/ 7749560 h 8234879"/>
              <a:gd name="connsiteX12" fmla="*/ 3821944 w 3856038"/>
              <a:gd name="connsiteY12" fmla="*/ 7995590 h 8234879"/>
              <a:gd name="connsiteX13" fmla="*/ 3634426 w 3856038"/>
              <a:gd name="connsiteY13" fmla="*/ 8194436 h 8234879"/>
              <a:gd name="connsiteX14" fmla="*/ 3378722 w 3856038"/>
              <a:gd name="connsiteY14" fmla="*/ 8234879 h 8234879"/>
              <a:gd name="connsiteX15" fmla="*/ 470498 w 3856038"/>
              <a:gd name="connsiteY15" fmla="*/ 8234879 h 8234879"/>
              <a:gd name="connsiteX16" fmla="*/ 279571 w 3856038"/>
              <a:gd name="connsiteY16" fmla="*/ 8214658 h 8234879"/>
              <a:gd name="connsiteX17" fmla="*/ 10228 w 3856038"/>
              <a:gd name="connsiteY17" fmla="*/ 7897852 h 8234879"/>
              <a:gd name="connsiteX18" fmla="*/ 0 w 3856038"/>
              <a:gd name="connsiteY18" fmla="*/ 7709116 h 8234879"/>
              <a:gd name="connsiteX19" fmla="*/ 0 w 3856038"/>
              <a:gd name="connsiteY19" fmla="*/ 4109662 h 8234879"/>
              <a:gd name="connsiteX20" fmla="*/ 0 w 3856038"/>
              <a:gd name="connsiteY20" fmla="*/ 513579 h 8234879"/>
              <a:gd name="connsiteX21" fmla="*/ 40913 w 3856038"/>
              <a:gd name="connsiteY21" fmla="*/ 220365 h 8234879"/>
              <a:gd name="connsiteX22" fmla="*/ 293209 w 3856038"/>
              <a:gd name="connsiteY22" fmla="*/ 18149 h 8234879"/>
              <a:gd name="connsiteX23" fmla="*/ 540818 w 3856038"/>
              <a:gd name="connsiteY23" fmla="*/ 33 h 823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3856038" h="8234879">
                <a:moveTo>
                  <a:pt x="540818" y="33"/>
                </a:moveTo>
                <a:cubicBezTo>
                  <a:pt x="623922" y="455"/>
                  <a:pt x="707452" y="4667"/>
                  <a:pt x="790982" y="4667"/>
                </a:cubicBezTo>
                <a:cubicBezTo>
                  <a:pt x="842124" y="4667"/>
                  <a:pt x="842124" y="45111"/>
                  <a:pt x="845532" y="82184"/>
                </a:cubicBezTo>
                <a:cubicBezTo>
                  <a:pt x="855760" y="159700"/>
                  <a:pt x="862580" y="233846"/>
                  <a:pt x="937586" y="281030"/>
                </a:cubicBezTo>
                <a:cubicBezTo>
                  <a:pt x="978500" y="307992"/>
                  <a:pt x="1019412" y="328214"/>
                  <a:pt x="1070554" y="328214"/>
                </a:cubicBezTo>
                <a:cubicBezTo>
                  <a:pt x="1633106" y="324844"/>
                  <a:pt x="2192248" y="328214"/>
                  <a:pt x="2754800" y="324844"/>
                </a:cubicBezTo>
                <a:cubicBezTo>
                  <a:pt x="2908224" y="324844"/>
                  <a:pt x="2976412" y="264179"/>
                  <a:pt x="3000278" y="115886"/>
                </a:cubicBezTo>
                <a:cubicBezTo>
                  <a:pt x="3020734" y="4667"/>
                  <a:pt x="3020734" y="1297"/>
                  <a:pt x="3133244" y="4667"/>
                </a:cubicBezTo>
                <a:cubicBezTo>
                  <a:pt x="3259392" y="4667"/>
                  <a:pt x="3385540" y="-2073"/>
                  <a:pt x="3515098" y="14778"/>
                </a:cubicBezTo>
                <a:cubicBezTo>
                  <a:pt x="3702614" y="35000"/>
                  <a:pt x="3811716" y="132738"/>
                  <a:pt x="3842400" y="318103"/>
                </a:cubicBezTo>
                <a:cubicBezTo>
                  <a:pt x="3849220" y="372027"/>
                  <a:pt x="3856038" y="429322"/>
                  <a:pt x="3856038" y="486617"/>
                </a:cubicBezTo>
                <a:cubicBezTo>
                  <a:pt x="3856038" y="2906474"/>
                  <a:pt x="3856038" y="5326332"/>
                  <a:pt x="3856038" y="7749560"/>
                </a:cubicBezTo>
                <a:cubicBezTo>
                  <a:pt x="3856038" y="7833816"/>
                  <a:pt x="3845810" y="7914703"/>
                  <a:pt x="3821944" y="7995590"/>
                </a:cubicBezTo>
                <a:cubicBezTo>
                  <a:pt x="3794668" y="8093328"/>
                  <a:pt x="3729890" y="8157362"/>
                  <a:pt x="3634426" y="8194436"/>
                </a:cubicBezTo>
                <a:cubicBezTo>
                  <a:pt x="3552602" y="8224768"/>
                  <a:pt x="3467366" y="8234879"/>
                  <a:pt x="3378722" y="8234879"/>
                </a:cubicBezTo>
                <a:cubicBezTo>
                  <a:pt x="2410450" y="8234879"/>
                  <a:pt x="1438770" y="8234879"/>
                  <a:pt x="470498" y="8234879"/>
                </a:cubicBezTo>
                <a:cubicBezTo>
                  <a:pt x="405719" y="8234879"/>
                  <a:pt x="340941" y="8231508"/>
                  <a:pt x="279571" y="8214658"/>
                </a:cubicBezTo>
                <a:cubicBezTo>
                  <a:pt x="115920" y="8170844"/>
                  <a:pt x="30685" y="8062995"/>
                  <a:pt x="10228" y="7897852"/>
                </a:cubicBezTo>
                <a:cubicBezTo>
                  <a:pt x="3409" y="7833816"/>
                  <a:pt x="0" y="7773152"/>
                  <a:pt x="0" y="7709116"/>
                </a:cubicBezTo>
                <a:cubicBezTo>
                  <a:pt x="0" y="6509298"/>
                  <a:pt x="0" y="5309480"/>
                  <a:pt x="0" y="4109662"/>
                </a:cubicBezTo>
                <a:cubicBezTo>
                  <a:pt x="0" y="2909845"/>
                  <a:pt x="0" y="1713397"/>
                  <a:pt x="0" y="513579"/>
                </a:cubicBezTo>
                <a:cubicBezTo>
                  <a:pt x="0" y="412471"/>
                  <a:pt x="0" y="314733"/>
                  <a:pt x="40913" y="220365"/>
                </a:cubicBezTo>
                <a:cubicBezTo>
                  <a:pt x="88645" y="105775"/>
                  <a:pt x="173880" y="41741"/>
                  <a:pt x="293209" y="18149"/>
                </a:cubicBezTo>
                <a:cubicBezTo>
                  <a:pt x="375035" y="2982"/>
                  <a:pt x="457713" y="-388"/>
                  <a:pt x="540818" y="33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  <a:ln>
            <a:noFill/>
          </a:ln>
          <a:effectLst/>
          <a:scene3d>
            <a:camera prst="isometricBottomDown"/>
            <a:lightRig rig="threePt" dir="t"/>
          </a:scene3d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44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r>
              <a:rPr lang="en-US"/>
              <a:t>Drop in here your images </a:t>
            </a:r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9FFAD1B3-C6C0-4BF6-A7B0-B7952B535F66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20023878" y="1569065"/>
            <a:ext cx="4815354" cy="10283575"/>
          </a:xfrm>
          <a:custGeom>
            <a:avLst/>
            <a:gdLst>
              <a:gd name="connsiteX0" fmla="*/ 540818 w 3856038"/>
              <a:gd name="connsiteY0" fmla="*/ 33 h 8234879"/>
              <a:gd name="connsiteX1" fmla="*/ 790982 w 3856038"/>
              <a:gd name="connsiteY1" fmla="*/ 4667 h 8234879"/>
              <a:gd name="connsiteX2" fmla="*/ 845532 w 3856038"/>
              <a:gd name="connsiteY2" fmla="*/ 82184 h 8234879"/>
              <a:gd name="connsiteX3" fmla="*/ 937586 w 3856038"/>
              <a:gd name="connsiteY3" fmla="*/ 281030 h 8234879"/>
              <a:gd name="connsiteX4" fmla="*/ 1070554 w 3856038"/>
              <a:gd name="connsiteY4" fmla="*/ 328214 h 8234879"/>
              <a:gd name="connsiteX5" fmla="*/ 2754800 w 3856038"/>
              <a:gd name="connsiteY5" fmla="*/ 324844 h 8234879"/>
              <a:gd name="connsiteX6" fmla="*/ 3000278 w 3856038"/>
              <a:gd name="connsiteY6" fmla="*/ 115886 h 8234879"/>
              <a:gd name="connsiteX7" fmla="*/ 3133244 w 3856038"/>
              <a:gd name="connsiteY7" fmla="*/ 4667 h 8234879"/>
              <a:gd name="connsiteX8" fmla="*/ 3515098 w 3856038"/>
              <a:gd name="connsiteY8" fmla="*/ 14778 h 8234879"/>
              <a:gd name="connsiteX9" fmla="*/ 3842400 w 3856038"/>
              <a:gd name="connsiteY9" fmla="*/ 318103 h 8234879"/>
              <a:gd name="connsiteX10" fmla="*/ 3856038 w 3856038"/>
              <a:gd name="connsiteY10" fmla="*/ 486617 h 8234879"/>
              <a:gd name="connsiteX11" fmla="*/ 3856038 w 3856038"/>
              <a:gd name="connsiteY11" fmla="*/ 7749560 h 8234879"/>
              <a:gd name="connsiteX12" fmla="*/ 3821944 w 3856038"/>
              <a:gd name="connsiteY12" fmla="*/ 7995590 h 8234879"/>
              <a:gd name="connsiteX13" fmla="*/ 3634426 w 3856038"/>
              <a:gd name="connsiteY13" fmla="*/ 8194436 h 8234879"/>
              <a:gd name="connsiteX14" fmla="*/ 3378722 w 3856038"/>
              <a:gd name="connsiteY14" fmla="*/ 8234879 h 8234879"/>
              <a:gd name="connsiteX15" fmla="*/ 470498 w 3856038"/>
              <a:gd name="connsiteY15" fmla="*/ 8234879 h 8234879"/>
              <a:gd name="connsiteX16" fmla="*/ 279571 w 3856038"/>
              <a:gd name="connsiteY16" fmla="*/ 8214658 h 8234879"/>
              <a:gd name="connsiteX17" fmla="*/ 10228 w 3856038"/>
              <a:gd name="connsiteY17" fmla="*/ 7897852 h 8234879"/>
              <a:gd name="connsiteX18" fmla="*/ 0 w 3856038"/>
              <a:gd name="connsiteY18" fmla="*/ 7709116 h 8234879"/>
              <a:gd name="connsiteX19" fmla="*/ 0 w 3856038"/>
              <a:gd name="connsiteY19" fmla="*/ 4109662 h 8234879"/>
              <a:gd name="connsiteX20" fmla="*/ 0 w 3856038"/>
              <a:gd name="connsiteY20" fmla="*/ 513579 h 8234879"/>
              <a:gd name="connsiteX21" fmla="*/ 40913 w 3856038"/>
              <a:gd name="connsiteY21" fmla="*/ 220365 h 8234879"/>
              <a:gd name="connsiteX22" fmla="*/ 293209 w 3856038"/>
              <a:gd name="connsiteY22" fmla="*/ 18149 h 8234879"/>
              <a:gd name="connsiteX23" fmla="*/ 540818 w 3856038"/>
              <a:gd name="connsiteY23" fmla="*/ 33 h 823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3856038" h="8234879">
                <a:moveTo>
                  <a:pt x="540818" y="33"/>
                </a:moveTo>
                <a:cubicBezTo>
                  <a:pt x="623922" y="455"/>
                  <a:pt x="707452" y="4667"/>
                  <a:pt x="790982" y="4667"/>
                </a:cubicBezTo>
                <a:cubicBezTo>
                  <a:pt x="842124" y="4667"/>
                  <a:pt x="842124" y="45111"/>
                  <a:pt x="845532" y="82184"/>
                </a:cubicBezTo>
                <a:cubicBezTo>
                  <a:pt x="855760" y="159700"/>
                  <a:pt x="862580" y="233846"/>
                  <a:pt x="937586" y="281030"/>
                </a:cubicBezTo>
                <a:cubicBezTo>
                  <a:pt x="978500" y="307992"/>
                  <a:pt x="1019412" y="328214"/>
                  <a:pt x="1070554" y="328214"/>
                </a:cubicBezTo>
                <a:cubicBezTo>
                  <a:pt x="1633106" y="324844"/>
                  <a:pt x="2192248" y="328214"/>
                  <a:pt x="2754800" y="324844"/>
                </a:cubicBezTo>
                <a:cubicBezTo>
                  <a:pt x="2908224" y="324844"/>
                  <a:pt x="2976412" y="264179"/>
                  <a:pt x="3000278" y="115886"/>
                </a:cubicBezTo>
                <a:cubicBezTo>
                  <a:pt x="3020734" y="4667"/>
                  <a:pt x="3020734" y="1297"/>
                  <a:pt x="3133244" y="4667"/>
                </a:cubicBezTo>
                <a:cubicBezTo>
                  <a:pt x="3259392" y="4667"/>
                  <a:pt x="3385540" y="-2073"/>
                  <a:pt x="3515098" y="14778"/>
                </a:cubicBezTo>
                <a:cubicBezTo>
                  <a:pt x="3702614" y="35000"/>
                  <a:pt x="3811716" y="132738"/>
                  <a:pt x="3842400" y="318103"/>
                </a:cubicBezTo>
                <a:cubicBezTo>
                  <a:pt x="3849220" y="372027"/>
                  <a:pt x="3856038" y="429322"/>
                  <a:pt x="3856038" y="486617"/>
                </a:cubicBezTo>
                <a:cubicBezTo>
                  <a:pt x="3856038" y="2906474"/>
                  <a:pt x="3856038" y="5326332"/>
                  <a:pt x="3856038" y="7749560"/>
                </a:cubicBezTo>
                <a:cubicBezTo>
                  <a:pt x="3856038" y="7833816"/>
                  <a:pt x="3845810" y="7914703"/>
                  <a:pt x="3821944" y="7995590"/>
                </a:cubicBezTo>
                <a:cubicBezTo>
                  <a:pt x="3794668" y="8093328"/>
                  <a:pt x="3729890" y="8157362"/>
                  <a:pt x="3634426" y="8194436"/>
                </a:cubicBezTo>
                <a:cubicBezTo>
                  <a:pt x="3552602" y="8224768"/>
                  <a:pt x="3467366" y="8234879"/>
                  <a:pt x="3378722" y="8234879"/>
                </a:cubicBezTo>
                <a:cubicBezTo>
                  <a:pt x="2410450" y="8234879"/>
                  <a:pt x="1438770" y="8234879"/>
                  <a:pt x="470498" y="8234879"/>
                </a:cubicBezTo>
                <a:cubicBezTo>
                  <a:pt x="405719" y="8234879"/>
                  <a:pt x="340941" y="8231508"/>
                  <a:pt x="279571" y="8214658"/>
                </a:cubicBezTo>
                <a:cubicBezTo>
                  <a:pt x="115920" y="8170844"/>
                  <a:pt x="30685" y="8062995"/>
                  <a:pt x="10228" y="7897852"/>
                </a:cubicBezTo>
                <a:cubicBezTo>
                  <a:pt x="3409" y="7833816"/>
                  <a:pt x="0" y="7773152"/>
                  <a:pt x="0" y="7709116"/>
                </a:cubicBezTo>
                <a:cubicBezTo>
                  <a:pt x="0" y="6509298"/>
                  <a:pt x="0" y="5309480"/>
                  <a:pt x="0" y="4109662"/>
                </a:cubicBezTo>
                <a:cubicBezTo>
                  <a:pt x="0" y="2909845"/>
                  <a:pt x="0" y="1713397"/>
                  <a:pt x="0" y="513579"/>
                </a:cubicBezTo>
                <a:cubicBezTo>
                  <a:pt x="0" y="412471"/>
                  <a:pt x="0" y="314733"/>
                  <a:pt x="40913" y="220365"/>
                </a:cubicBezTo>
                <a:cubicBezTo>
                  <a:pt x="88645" y="105775"/>
                  <a:pt x="173880" y="41741"/>
                  <a:pt x="293209" y="18149"/>
                </a:cubicBezTo>
                <a:cubicBezTo>
                  <a:pt x="375035" y="2982"/>
                  <a:pt x="457713" y="-388"/>
                  <a:pt x="540818" y="33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  <a:ln>
            <a:noFill/>
          </a:ln>
          <a:effectLst/>
          <a:scene3d>
            <a:camera prst="isometricBottomDown"/>
            <a:lightRig rig="threePt" dir="t"/>
          </a:scene3d>
        </p:spPr>
        <p:txBody>
          <a:bodyPr wrap="square" anchor="ctr">
            <a:noAutofit/>
          </a:bodyPr>
          <a:lstStyle>
            <a:lvl1pPr>
              <a:defRPr lang="en-US" sz="44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en-US"/>
              <a:t>Drop in here your images </a:t>
            </a:r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D0A9357A-2328-4772-ACFB-502367CA9F74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10755547" y="6989685"/>
            <a:ext cx="4815354" cy="10283575"/>
          </a:xfrm>
          <a:custGeom>
            <a:avLst/>
            <a:gdLst>
              <a:gd name="connsiteX0" fmla="*/ 540818 w 3856038"/>
              <a:gd name="connsiteY0" fmla="*/ 33 h 8234879"/>
              <a:gd name="connsiteX1" fmla="*/ 790982 w 3856038"/>
              <a:gd name="connsiteY1" fmla="*/ 4667 h 8234879"/>
              <a:gd name="connsiteX2" fmla="*/ 845532 w 3856038"/>
              <a:gd name="connsiteY2" fmla="*/ 82184 h 8234879"/>
              <a:gd name="connsiteX3" fmla="*/ 937586 w 3856038"/>
              <a:gd name="connsiteY3" fmla="*/ 281030 h 8234879"/>
              <a:gd name="connsiteX4" fmla="*/ 1070554 w 3856038"/>
              <a:gd name="connsiteY4" fmla="*/ 328214 h 8234879"/>
              <a:gd name="connsiteX5" fmla="*/ 2754800 w 3856038"/>
              <a:gd name="connsiteY5" fmla="*/ 324844 h 8234879"/>
              <a:gd name="connsiteX6" fmla="*/ 3000278 w 3856038"/>
              <a:gd name="connsiteY6" fmla="*/ 115886 h 8234879"/>
              <a:gd name="connsiteX7" fmla="*/ 3133244 w 3856038"/>
              <a:gd name="connsiteY7" fmla="*/ 4667 h 8234879"/>
              <a:gd name="connsiteX8" fmla="*/ 3515098 w 3856038"/>
              <a:gd name="connsiteY8" fmla="*/ 14778 h 8234879"/>
              <a:gd name="connsiteX9" fmla="*/ 3842400 w 3856038"/>
              <a:gd name="connsiteY9" fmla="*/ 318103 h 8234879"/>
              <a:gd name="connsiteX10" fmla="*/ 3856038 w 3856038"/>
              <a:gd name="connsiteY10" fmla="*/ 486617 h 8234879"/>
              <a:gd name="connsiteX11" fmla="*/ 3856038 w 3856038"/>
              <a:gd name="connsiteY11" fmla="*/ 7749560 h 8234879"/>
              <a:gd name="connsiteX12" fmla="*/ 3821944 w 3856038"/>
              <a:gd name="connsiteY12" fmla="*/ 7995590 h 8234879"/>
              <a:gd name="connsiteX13" fmla="*/ 3634426 w 3856038"/>
              <a:gd name="connsiteY13" fmla="*/ 8194436 h 8234879"/>
              <a:gd name="connsiteX14" fmla="*/ 3378722 w 3856038"/>
              <a:gd name="connsiteY14" fmla="*/ 8234879 h 8234879"/>
              <a:gd name="connsiteX15" fmla="*/ 470498 w 3856038"/>
              <a:gd name="connsiteY15" fmla="*/ 8234879 h 8234879"/>
              <a:gd name="connsiteX16" fmla="*/ 279571 w 3856038"/>
              <a:gd name="connsiteY16" fmla="*/ 8214658 h 8234879"/>
              <a:gd name="connsiteX17" fmla="*/ 10228 w 3856038"/>
              <a:gd name="connsiteY17" fmla="*/ 7897852 h 8234879"/>
              <a:gd name="connsiteX18" fmla="*/ 0 w 3856038"/>
              <a:gd name="connsiteY18" fmla="*/ 7709116 h 8234879"/>
              <a:gd name="connsiteX19" fmla="*/ 0 w 3856038"/>
              <a:gd name="connsiteY19" fmla="*/ 4109662 h 8234879"/>
              <a:gd name="connsiteX20" fmla="*/ 0 w 3856038"/>
              <a:gd name="connsiteY20" fmla="*/ 513579 h 8234879"/>
              <a:gd name="connsiteX21" fmla="*/ 40913 w 3856038"/>
              <a:gd name="connsiteY21" fmla="*/ 220365 h 8234879"/>
              <a:gd name="connsiteX22" fmla="*/ 293209 w 3856038"/>
              <a:gd name="connsiteY22" fmla="*/ 18149 h 8234879"/>
              <a:gd name="connsiteX23" fmla="*/ 540818 w 3856038"/>
              <a:gd name="connsiteY23" fmla="*/ 33 h 823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3856038" h="8234879">
                <a:moveTo>
                  <a:pt x="540818" y="33"/>
                </a:moveTo>
                <a:cubicBezTo>
                  <a:pt x="623922" y="455"/>
                  <a:pt x="707452" y="4667"/>
                  <a:pt x="790982" y="4667"/>
                </a:cubicBezTo>
                <a:cubicBezTo>
                  <a:pt x="842124" y="4667"/>
                  <a:pt x="842124" y="45111"/>
                  <a:pt x="845532" y="82184"/>
                </a:cubicBezTo>
                <a:cubicBezTo>
                  <a:pt x="855760" y="159700"/>
                  <a:pt x="862580" y="233846"/>
                  <a:pt x="937586" y="281030"/>
                </a:cubicBezTo>
                <a:cubicBezTo>
                  <a:pt x="978500" y="307992"/>
                  <a:pt x="1019412" y="328214"/>
                  <a:pt x="1070554" y="328214"/>
                </a:cubicBezTo>
                <a:cubicBezTo>
                  <a:pt x="1633106" y="324844"/>
                  <a:pt x="2192248" y="328214"/>
                  <a:pt x="2754800" y="324844"/>
                </a:cubicBezTo>
                <a:cubicBezTo>
                  <a:pt x="2908224" y="324844"/>
                  <a:pt x="2976412" y="264179"/>
                  <a:pt x="3000278" y="115886"/>
                </a:cubicBezTo>
                <a:cubicBezTo>
                  <a:pt x="3020734" y="4667"/>
                  <a:pt x="3020734" y="1297"/>
                  <a:pt x="3133244" y="4667"/>
                </a:cubicBezTo>
                <a:cubicBezTo>
                  <a:pt x="3259392" y="4667"/>
                  <a:pt x="3385540" y="-2073"/>
                  <a:pt x="3515098" y="14778"/>
                </a:cubicBezTo>
                <a:cubicBezTo>
                  <a:pt x="3702614" y="35000"/>
                  <a:pt x="3811716" y="132738"/>
                  <a:pt x="3842400" y="318103"/>
                </a:cubicBezTo>
                <a:cubicBezTo>
                  <a:pt x="3849220" y="372027"/>
                  <a:pt x="3856038" y="429322"/>
                  <a:pt x="3856038" y="486617"/>
                </a:cubicBezTo>
                <a:cubicBezTo>
                  <a:pt x="3856038" y="2906474"/>
                  <a:pt x="3856038" y="5326332"/>
                  <a:pt x="3856038" y="7749560"/>
                </a:cubicBezTo>
                <a:cubicBezTo>
                  <a:pt x="3856038" y="7833816"/>
                  <a:pt x="3845810" y="7914703"/>
                  <a:pt x="3821944" y="7995590"/>
                </a:cubicBezTo>
                <a:cubicBezTo>
                  <a:pt x="3794668" y="8093328"/>
                  <a:pt x="3729890" y="8157362"/>
                  <a:pt x="3634426" y="8194436"/>
                </a:cubicBezTo>
                <a:cubicBezTo>
                  <a:pt x="3552602" y="8224768"/>
                  <a:pt x="3467366" y="8234879"/>
                  <a:pt x="3378722" y="8234879"/>
                </a:cubicBezTo>
                <a:cubicBezTo>
                  <a:pt x="2410450" y="8234879"/>
                  <a:pt x="1438770" y="8234879"/>
                  <a:pt x="470498" y="8234879"/>
                </a:cubicBezTo>
                <a:cubicBezTo>
                  <a:pt x="405719" y="8234879"/>
                  <a:pt x="340941" y="8231508"/>
                  <a:pt x="279571" y="8214658"/>
                </a:cubicBezTo>
                <a:cubicBezTo>
                  <a:pt x="115920" y="8170844"/>
                  <a:pt x="30685" y="8062995"/>
                  <a:pt x="10228" y="7897852"/>
                </a:cubicBezTo>
                <a:cubicBezTo>
                  <a:pt x="3409" y="7833816"/>
                  <a:pt x="0" y="7773152"/>
                  <a:pt x="0" y="7709116"/>
                </a:cubicBezTo>
                <a:cubicBezTo>
                  <a:pt x="0" y="6509298"/>
                  <a:pt x="0" y="5309480"/>
                  <a:pt x="0" y="4109662"/>
                </a:cubicBezTo>
                <a:cubicBezTo>
                  <a:pt x="0" y="2909845"/>
                  <a:pt x="0" y="1713397"/>
                  <a:pt x="0" y="513579"/>
                </a:cubicBezTo>
                <a:cubicBezTo>
                  <a:pt x="0" y="412471"/>
                  <a:pt x="0" y="314733"/>
                  <a:pt x="40913" y="220365"/>
                </a:cubicBezTo>
                <a:cubicBezTo>
                  <a:pt x="88645" y="105775"/>
                  <a:pt x="173880" y="41741"/>
                  <a:pt x="293209" y="18149"/>
                </a:cubicBezTo>
                <a:cubicBezTo>
                  <a:pt x="375035" y="2982"/>
                  <a:pt x="457713" y="-388"/>
                  <a:pt x="540818" y="33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  <a:ln>
            <a:noFill/>
          </a:ln>
          <a:effectLst/>
          <a:scene3d>
            <a:camera prst="isometricBottomDown"/>
            <a:lightRig rig="threePt" dir="t"/>
          </a:scene3d>
        </p:spPr>
        <p:txBody>
          <a:bodyPr wrap="square" anchor="ctr">
            <a:noAutofit/>
          </a:bodyPr>
          <a:lstStyle>
            <a:lvl1pPr>
              <a:defRPr lang="en-US" sz="44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en-US"/>
              <a:t>Drop in here your images </a:t>
            </a:r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27DBCCB7-6EA6-4E72-950B-7C3B221CF6F4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72798" y="6723552"/>
            <a:ext cx="4815354" cy="10283575"/>
          </a:xfrm>
          <a:custGeom>
            <a:avLst/>
            <a:gdLst>
              <a:gd name="connsiteX0" fmla="*/ 540818 w 3856038"/>
              <a:gd name="connsiteY0" fmla="*/ 33 h 8234879"/>
              <a:gd name="connsiteX1" fmla="*/ 790982 w 3856038"/>
              <a:gd name="connsiteY1" fmla="*/ 4667 h 8234879"/>
              <a:gd name="connsiteX2" fmla="*/ 845532 w 3856038"/>
              <a:gd name="connsiteY2" fmla="*/ 82184 h 8234879"/>
              <a:gd name="connsiteX3" fmla="*/ 937586 w 3856038"/>
              <a:gd name="connsiteY3" fmla="*/ 281030 h 8234879"/>
              <a:gd name="connsiteX4" fmla="*/ 1070554 w 3856038"/>
              <a:gd name="connsiteY4" fmla="*/ 328214 h 8234879"/>
              <a:gd name="connsiteX5" fmla="*/ 2754800 w 3856038"/>
              <a:gd name="connsiteY5" fmla="*/ 324844 h 8234879"/>
              <a:gd name="connsiteX6" fmla="*/ 3000278 w 3856038"/>
              <a:gd name="connsiteY6" fmla="*/ 115886 h 8234879"/>
              <a:gd name="connsiteX7" fmla="*/ 3133244 w 3856038"/>
              <a:gd name="connsiteY7" fmla="*/ 4667 h 8234879"/>
              <a:gd name="connsiteX8" fmla="*/ 3515098 w 3856038"/>
              <a:gd name="connsiteY8" fmla="*/ 14778 h 8234879"/>
              <a:gd name="connsiteX9" fmla="*/ 3842400 w 3856038"/>
              <a:gd name="connsiteY9" fmla="*/ 318103 h 8234879"/>
              <a:gd name="connsiteX10" fmla="*/ 3856038 w 3856038"/>
              <a:gd name="connsiteY10" fmla="*/ 486617 h 8234879"/>
              <a:gd name="connsiteX11" fmla="*/ 3856038 w 3856038"/>
              <a:gd name="connsiteY11" fmla="*/ 7749560 h 8234879"/>
              <a:gd name="connsiteX12" fmla="*/ 3821944 w 3856038"/>
              <a:gd name="connsiteY12" fmla="*/ 7995590 h 8234879"/>
              <a:gd name="connsiteX13" fmla="*/ 3634426 w 3856038"/>
              <a:gd name="connsiteY13" fmla="*/ 8194436 h 8234879"/>
              <a:gd name="connsiteX14" fmla="*/ 3378722 w 3856038"/>
              <a:gd name="connsiteY14" fmla="*/ 8234879 h 8234879"/>
              <a:gd name="connsiteX15" fmla="*/ 470498 w 3856038"/>
              <a:gd name="connsiteY15" fmla="*/ 8234879 h 8234879"/>
              <a:gd name="connsiteX16" fmla="*/ 279571 w 3856038"/>
              <a:gd name="connsiteY16" fmla="*/ 8214658 h 8234879"/>
              <a:gd name="connsiteX17" fmla="*/ 10228 w 3856038"/>
              <a:gd name="connsiteY17" fmla="*/ 7897852 h 8234879"/>
              <a:gd name="connsiteX18" fmla="*/ 0 w 3856038"/>
              <a:gd name="connsiteY18" fmla="*/ 7709116 h 8234879"/>
              <a:gd name="connsiteX19" fmla="*/ 0 w 3856038"/>
              <a:gd name="connsiteY19" fmla="*/ 4109662 h 8234879"/>
              <a:gd name="connsiteX20" fmla="*/ 0 w 3856038"/>
              <a:gd name="connsiteY20" fmla="*/ 513579 h 8234879"/>
              <a:gd name="connsiteX21" fmla="*/ 40913 w 3856038"/>
              <a:gd name="connsiteY21" fmla="*/ 220365 h 8234879"/>
              <a:gd name="connsiteX22" fmla="*/ 293209 w 3856038"/>
              <a:gd name="connsiteY22" fmla="*/ 18149 h 8234879"/>
              <a:gd name="connsiteX23" fmla="*/ 540818 w 3856038"/>
              <a:gd name="connsiteY23" fmla="*/ 33 h 823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3856038" h="8234879">
                <a:moveTo>
                  <a:pt x="540818" y="33"/>
                </a:moveTo>
                <a:cubicBezTo>
                  <a:pt x="623922" y="455"/>
                  <a:pt x="707452" y="4667"/>
                  <a:pt x="790982" y="4667"/>
                </a:cubicBezTo>
                <a:cubicBezTo>
                  <a:pt x="842124" y="4667"/>
                  <a:pt x="842124" y="45111"/>
                  <a:pt x="845532" y="82184"/>
                </a:cubicBezTo>
                <a:cubicBezTo>
                  <a:pt x="855760" y="159700"/>
                  <a:pt x="862580" y="233846"/>
                  <a:pt x="937586" y="281030"/>
                </a:cubicBezTo>
                <a:cubicBezTo>
                  <a:pt x="978500" y="307992"/>
                  <a:pt x="1019412" y="328214"/>
                  <a:pt x="1070554" y="328214"/>
                </a:cubicBezTo>
                <a:cubicBezTo>
                  <a:pt x="1633106" y="324844"/>
                  <a:pt x="2192248" y="328214"/>
                  <a:pt x="2754800" y="324844"/>
                </a:cubicBezTo>
                <a:cubicBezTo>
                  <a:pt x="2908224" y="324844"/>
                  <a:pt x="2976412" y="264179"/>
                  <a:pt x="3000278" y="115886"/>
                </a:cubicBezTo>
                <a:cubicBezTo>
                  <a:pt x="3020734" y="4667"/>
                  <a:pt x="3020734" y="1297"/>
                  <a:pt x="3133244" y="4667"/>
                </a:cubicBezTo>
                <a:cubicBezTo>
                  <a:pt x="3259392" y="4667"/>
                  <a:pt x="3385540" y="-2073"/>
                  <a:pt x="3515098" y="14778"/>
                </a:cubicBezTo>
                <a:cubicBezTo>
                  <a:pt x="3702614" y="35000"/>
                  <a:pt x="3811716" y="132738"/>
                  <a:pt x="3842400" y="318103"/>
                </a:cubicBezTo>
                <a:cubicBezTo>
                  <a:pt x="3849220" y="372027"/>
                  <a:pt x="3856038" y="429322"/>
                  <a:pt x="3856038" y="486617"/>
                </a:cubicBezTo>
                <a:cubicBezTo>
                  <a:pt x="3856038" y="2906474"/>
                  <a:pt x="3856038" y="5326332"/>
                  <a:pt x="3856038" y="7749560"/>
                </a:cubicBezTo>
                <a:cubicBezTo>
                  <a:pt x="3856038" y="7833816"/>
                  <a:pt x="3845810" y="7914703"/>
                  <a:pt x="3821944" y="7995590"/>
                </a:cubicBezTo>
                <a:cubicBezTo>
                  <a:pt x="3794668" y="8093328"/>
                  <a:pt x="3729890" y="8157362"/>
                  <a:pt x="3634426" y="8194436"/>
                </a:cubicBezTo>
                <a:cubicBezTo>
                  <a:pt x="3552602" y="8224768"/>
                  <a:pt x="3467366" y="8234879"/>
                  <a:pt x="3378722" y="8234879"/>
                </a:cubicBezTo>
                <a:cubicBezTo>
                  <a:pt x="2410450" y="8234879"/>
                  <a:pt x="1438770" y="8234879"/>
                  <a:pt x="470498" y="8234879"/>
                </a:cubicBezTo>
                <a:cubicBezTo>
                  <a:pt x="405719" y="8234879"/>
                  <a:pt x="340941" y="8231508"/>
                  <a:pt x="279571" y="8214658"/>
                </a:cubicBezTo>
                <a:cubicBezTo>
                  <a:pt x="115920" y="8170844"/>
                  <a:pt x="30685" y="8062995"/>
                  <a:pt x="10228" y="7897852"/>
                </a:cubicBezTo>
                <a:cubicBezTo>
                  <a:pt x="3409" y="7833816"/>
                  <a:pt x="0" y="7773152"/>
                  <a:pt x="0" y="7709116"/>
                </a:cubicBezTo>
                <a:cubicBezTo>
                  <a:pt x="0" y="6509298"/>
                  <a:pt x="0" y="5309480"/>
                  <a:pt x="0" y="4109662"/>
                </a:cubicBezTo>
                <a:cubicBezTo>
                  <a:pt x="0" y="2909845"/>
                  <a:pt x="0" y="1713397"/>
                  <a:pt x="0" y="513579"/>
                </a:cubicBezTo>
                <a:cubicBezTo>
                  <a:pt x="0" y="412471"/>
                  <a:pt x="0" y="314733"/>
                  <a:pt x="40913" y="220365"/>
                </a:cubicBezTo>
                <a:cubicBezTo>
                  <a:pt x="88645" y="105775"/>
                  <a:pt x="173880" y="41741"/>
                  <a:pt x="293209" y="18149"/>
                </a:cubicBezTo>
                <a:cubicBezTo>
                  <a:pt x="375035" y="2982"/>
                  <a:pt x="457713" y="-388"/>
                  <a:pt x="540818" y="33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  <a:ln>
            <a:noFill/>
          </a:ln>
          <a:effectLst/>
          <a:scene3d>
            <a:camera prst="isometricBottomDown"/>
            <a:lightRig rig="threePt" dir="t"/>
          </a:scene3d>
        </p:spPr>
        <p:txBody>
          <a:bodyPr wrap="square" anchor="ctr">
            <a:noAutofit/>
          </a:bodyPr>
          <a:lstStyle>
            <a:lvl1pPr>
              <a:defRPr lang="en-US" sz="44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en-US"/>
              <a:t>Drop in here your images </a:t>
            </a: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6687E59D-80A1-42F6-8D0F-2B38FAADDA89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-2024916" y="1366852"/>
            <a:ext cx="4815354" cy="10283575"/>
          </a:xfrm>
          <a:custGeom>
            <a:avLst/>
            <a:gdLst>
              <a:gd name="connsiteX0" fmla="*/ 540818 w 3856038"/>
              <a:gd name="connsiteY0" fmla="*/ 33 h 8234879"/>
              <a:gd name="connsiteX1" fmla="*/ 790982 w 3856038"/>
              <a:gd name="connsiteY1" fmla="*/ 4667 h 8234879"/>
              <a:gd name="connsiteX2" fmla="*/ 845532 w 3856038"/>
              <a:gd name="connsiteY2" fmla="*/ 82184 h 8234879"/>
              <a:gd name="connsiteX3" fmla="*/ 937586 w 3856038"/>
              <a:gd name="connsiteY3" fmla="*/ 281030 h 8234879"/>
              <a:gd name="connsiteX4" fmla="*/ 1070554 w 3856038"/>
              <a:gd name="connsiteY4" fmla="*/ 328214 h 8234879"/>
              <a:gd name="connsiteX5" fmla="*/ 2754800 w 3856038"/>
              <a:gd name="connsiteY5" fmla="*/ 324844 h 8234879"/>
              <a:gd name="connsiteX6" fmla="*/ 3000278 w 3856038"/>
              <a:gd name="connsiteY6" fmla="*/ 115886 h 8234879"/>
              <a:gd name="connsiteX7" fmla="*/ 3133244 w 3856038"/>
              <a:gd name="connsiteY7" fmla="*/ 4667 h 8234879"/>
              <a:gd name="connsiteX8" fmla="*/ 3515098 w 3856038"/>
              <a:gd name="connsiteY8" fmla="*/ 14778 h 8234879"/>
              <a:gd name="connsiteX9" fmla="*/ 3842400 w 3856038"/>
              <a:gd name="connsiteY9" fmla="*/ 318103 h 8234879"/>
              <a:gd name="connsiteX10" fmla="*/ 3856038 w 3856038"/>
              <a:gd name="connsiteY10" fmla="*/ 486617 h 8234879"/>
              <a:gd name="connsiteX11" fmla="*/ 3856038 w 3856038"/>
              <a:gd name="connsiteY11" fmla="*/ 7749560 h 8234879"/>
              <a:gd name="connsiteX12" fmla="*/ 3821944 w 3856038"/>
              <a:gd name="connsiteY12" fmla="*/ 7995590 h 8234879"/>
              <a:gd name="connsiteX13" fmla="*/ 3634426 w 3856038"/>
              <a:gd name="connsiteY13" fmla="*/ 8194436 h 8234879"/>
              <a:gd name="connsiteX14" fmla="*/ 3378722 w 3856038"/>
              <a:gd name="connsiteY14" fmla="*/ 8234879 h 8234879"/>
              <a:gd name="connsiteX15" fmla="*/ 470498 w 3856038"/>
              <a:gd name="connsiteY15" fmla="*/ 8234879 h 8234879"/>
              <a:gd name="connsiteX16" fmla="*/ 279571 w 3856038"/>
              <a:gd name="connsiteY16" fmla="*/ 8214658 h 8234879"/>
              <a:gd name="connsiteX17" fmla="*/ 10228 w 3856038"/>
              <a:gd name="connsiteY17" fmla="*/ 7897852 h 8234879"/>
              <a:gd name="connsiteX18" fmla="*/ 0 w 3856038"/>
              <a:gd name="connsiteY18" fmla="*/ 7709116 h 8234879"/>
              <a:gd name="connsiteX19" fmla="*/ 0 w 3856038"/>
              <a:gd name="connsiteY19" fmla="*/ 4109662 h 8234879"/>
              <a:gd name="connsiteX20" fmla="*/ 0 w 3856038"/>
              <a:gd name="connsiteY20" fmla="*/ 513579 h 8234879"/>
              <a:gd name="connsiteX21" fmla="*/ 40913 w 3856038"/>
              <a:gd name="connsiteY21" fmla="*/ 220365 h 8234879"/>
              <a:gd name="connsiteX22" fmla="*/ 293209 w 3856038"/>
              <a:gd name="connsiteY22" fmla="*/ 18149 h 8234879"/>
              <a:gd name="connsiteX23" fmla="*/ 540818 w 3856038"/>
              <a:gd name="connsiteY23" fmla="*/ 33 h 823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3856038" h="8234879">
                <a:moveTo>
                  <a:pt x="540818" y="33"/>
                </a:moveTo>
                <a:cubicBezTo>
                  <a:pt x="623922" y="455"/>
                  <a:pt x="707452" y="4667"/>
                  <a:pt x="790982" y="4667"/>
                </a:cubicBezTo>
                <a:cubicBezTo>
                  <a:pt x="842124" y="4667"/>
                  <a:pt x="842124" y="45111"/>
                  <a:pt x="845532" y="82184"/>
                </a:cubicBezTo>
                <a:cubicBezTo>
                  <a:pt x="855760" y="159700"/>
                  <a:pt x="862580" y="233846"/>
                  <a:pt x="937586" y="281030"/>
                </a:cubicBezTo>
                <a:cubicBezTo>
                  <a:pt x="978500" y="307992"/>
                  <a:pt x="1019412" y="328214"/>
                  <a:pt x="1070554" y="328214"/>
                </a:cubicBezTo>
                <a:cubicBezTo>
                  <a:pt x="1633106" y="324844"/>
                  <a:pt x="2192248" y="328214"/>
                  <a:pt x="2754800" y="324844"/>
                </a:cubicBezTo>
                <a:cubicBezTo>
                  <a:pt x="2908224" y="324844"/>
                  <a:pt x="2976412" y="264179"/>
                  <a:pt x="3000278" y="115886"/>
                </a:cubicBezTo>
                <a:cubicBezTo>
                  <a:pt x="3020734" y="4667"/>
                  <a:pt x="3020734" y="1297"/>
                  <a:pt x="3133244" y="4667"/>
                </a:cubicBezTo>
                <a:cubicBezTo>
                  <a:pt x="3259392" y="4667"/>
                  <a:pt x="3385540" y="-2073"/>
                  <a:pt x="3515098" y="14778"/>
                </a:cubicBezTo>
                <a:cubicBezTo>
                  <a:pt x="3702614" y="35000"/>
                  <a:pt x="3811716" y="132738"/>
                  <a:pt x="3842400" y="318103"/>
                </a:cubicBezTo>
                <a:cubicBezTo>
                  <a:pt x="3849220" y="372027"/>
                  <a:pt x="3856038" y="429322"/>
                  <a:pt x="3856038" y="486617"/>
                </a:cubicBezTo>
                <a:cubicBezTo>
                  <a:pt x="3856038" y="2906474"/>
                  <a:pt x="3856038" y="5326332"/>
                  <a:pt x="3856038" y="7749560"/>
                </a:cubicBezTo>
                <a:cubicBezTo>
                  <a:pt x="3856038" y="7833816"/>
                  <a:pt x="3845810" y="7914703"/>
                  <a:pt x="3821944" y="7995590"/>
                </a:cubicBezTo>
                <a:cubicBezTo>
                  <a:pt x="3794668" y="8093328"/>
                  <a:pt x="3729890" y="8157362"/>
                  <a:pt x="3634426" y="8194436"/>
                </a:cubicBezTo>
                <a:cubicBezTo>
                  <a:pt x="3552602" y="8224768"/>
                  <a:pt x="3467366" y="8234879"/>
                  <a:pt x="3378722" y="8234879"/>
                </a:cubicBezTo>
                <a:cubicBezTo>
                  <a:pt x="2410450" y="8234879"/>
                  <a:pt x="1438770" y="8234879"/>
                  <a:pt x="470498" y="8234879"/>
                </a:cubicBezTo>
                <a:cubicBezTo>
                  <a:pt x="405719" y="8234879"/>
                  <a:pt x="340941" y="8231508"/>
                  <a:pt x="279571" y="8214658"/>
                </a:cubicBezTo>
                <a:cubicBezTo>
                  <a:pt x="115920" y="8170844"/>
                  <a:pt x="30685" y="8062995"/>
                  <a:pt x="10228" y="7897852"/>
                </a:cubicBezTo>
                <a:cubicBezTo>
                  <a:pt x="3409" y="7833816"/>
                  <a:pt x="0" y="7773152"/>
                  <a:pt x="0" y="7709116"/>
                </a:cubicBezTo>
                <a:cubicBezTo>
                  <a:pt x="0" y="6509298"/>
                  <a:pt x="0" y="5309480"/>
                  <a:pt x="0" y="4109662"/>
                </a:cubicBezTo>
                <a:cubicBezTo>
                  <a:pt x="0" y="2909845"/>
                  <a:pt x="0" y="1713397"/>
                  <a:pt x="0" y="513579"/>
                </a:cubicBezTo>
                <a:cubicBezTo>
                  <a:pt x="0" y="412471"/>
                  <a:pt x="0" y="314733"/>
                  <a:pt x="40913" y="220365"/>
                </a:cubicBezTo>
                <a:cubicBezTo>
                  <a:pt x="88645" y="105775"/>
                  <a:pt x="173880" y="41741"/>
                  <a:pt x="293209" y="18149"/>
                </a:cubicBezTo>
                <a:cubicBezTo>
                  <a:pt x="375035" y="2982"/>
                  <a:pt x="457713" y="-388"/>
                  <a:pt x="540818" y="33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  <a:ln>
            <a:noFill/>
          </a:ln>
          <a:effectLst/>
          <a:scene3d>
            <a:camera prst="isometricBottomDown"/>
            <a:lightRig rig="threePt" dir="t"/>
          </a:scene3d>
        </p:spPr>
        <p:txBody>
          <a:bodyPr wrap="square" anchor="ctr">
            <a:noAutofit/>
          </a:bodyPr>
          <a:lstStyle>
            <a:lvl1pPr>
              <a:defRPr lang="en-US" sz="44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en-US"/>
              <a:t>Drop in here your images </a:t>
            </a:r>
          </a:p>
        </p:txBody>
      </p:sp>
      <p:sp>
        <p:nvSpPr>
          <p:cNvPr id="22" name="Picture Placeholder 4">
            <a:extLst>
              <a:ext uri="{FF2B5EF4-FFF2-40B4-BE49-F238E27FC236}">
                <a16:creationId xmlns:a16="http://schemas.microsoft.com/office/drawing/2014/main" id="{7E715FB8-53EA-4919-B1E4-B609DAC360A8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7280630" y="-4310984"/>
            <a:ext cx="4815354" cy="10283575"/>
          </a:xfrm>
          <a:custGeom>
            <a:avLst/>
            <a:gdLst>
              <a:gd name="connsiteX0" fmla="*/ 540818 w 3856038"/>
              <a:gd name="connsiteY0" fmla="*/ 33 h 8234879"/>
              <a:gd name="connsiteX1" fmla="*/ 790982 w 3856038"/>
              <a:gd name="connsiteY1" fmla="*/ 4667 h 8234879"/>
              <a:gd name="connsiteX2" fmla="*/ 845532 w 3856038"/>
              <a:gd name="connsiteY2" fmla="*/ 82184 h 8234879"/>
              <a:gd name="connsiteX3" fmla="*/ 937586 w 3856038"/>
              <a:gd name="connsiteY3" fmla="*/ 281030 h 8234879"/>
              <a:gd name="connsiteX4" fmla="*/ 1070554 w 3856038"/>
              <a:gd name="connsiteY4" fmla="*/ 328214 h 8234879"/>
              <a:gd name="connsiteX5" fmla="*/ 2754800 w 3856038"/>
              <a:gd name="connsiteY5" fmla="*/ 324844 h 8234879"/>
              <a:gd name="connsiteX6" fmla="*/ 3000278 w 3856038"/>
              <a:gd name="connsiteY6" fmla="*/ 115886 h 8234879"/>
              <a:gd name="connsiteX7" fmla="*/ 3133244 w 3856038"/>
              <a:gd name="connsiteY7" fmla="*/ 4667 h 8234879"/>
              <a:gd name="connsiteX8" fmla="*/ 3515098 w 3856038"/>
              <a:gd name="connsiteY8" fmla="*/ 14778 h 8234879"/>
              <a:gd name="connsiteX9" fmla="*/ 3842400 w 3856038"/>
              <a:gd name="connsiteY9" fmla="*/ 318103 h 8234879"/>
              <a:gd name="connsiteX10" fmla="*/ 3856038 w 3856038"/>
              <a:gd name="connsiteY10" fmla="*/ 486617 h 8234879"/>
              <a:gd name="connsiteX11" fmla="*/ 3856038 w 3856038"/>
              <a:gd name="connsiteY11" fmla="*/ 7749560 h 8234879"/>
              <a:gd name="connsiteX12" fmla="*/ 3821944 w 3856038"/>
              <a:gd name="connsiteY12" fmla="*/ 7995590 h 8234879"/>
              <a:gd name="connsiteX13" fmla="*/ 3634426 w 3856038"/>
              <a:gd name="connsiteY13" fmla="*/ 8194436 h 8234879"/>
              <a:gd name="connsiteX14" fmla="*/ 3378722 w 3856038"/>
              <a:gd name="connsiteY14" fmla="*/ 8234879 h 8234879"/>
              <a:gd name="connsiteX15" fmla="*/ 470498 w 3856038"/>
              <a:gd name="connsiteY15" fmla="*/ 8234879 h 8234879"/>
              <a:gd name="connsiteX16" fmla="*/ 279571 w 3856038"/>
              <a:gd name="connsiteY16" fmla="*/ 8214658 h 8234879"/>
              <a:gd name="connsiteX17" fmla="*/ 10228 w 3856038"/>
              <a:gd name="connsiteY17" fmla="*/ 7897852 h 8234879"/>
              <a:gd name="connsiteX18" fmla="*/ 0 w 3856038"/>
              <a:gd name="connsiteY18" fmla="*/ 7709116 h 8234879"/>
              <a:gd name="connsiteX19" fmla="*/ 0 w 3856038"/>
              <a:gd name="connsiteY19" fmla="*/ 4109662 h 8234879"/>
              <a:gd name="connsiteX20" fmla="*/ 0 w 3856038"/>
              <a:gd name="connsiteY20" fmla="*/ 513579 h 8234879"/>
              <a:gd name="connsiteX21" fmla="*/ 40913 w 3856038"/>
              <a:gd name="connsiteY21" fmla="*/ 220365 h 8234879"/>
              <a:gd name="connsiteX22" fmla="*/ 293209 w 3856038"/>
              <a:gd name="connsiteY22" fmla="*/ 18149 h 8234879"/>
              <a:gd name="connsiteX23" fmla="*/ 540818 w 3856038"/>
              <a:gd name="connsiteY23" fmla="*/ 33 h 823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3856038" h="8234879">
                <a:moveTo>
                  <a:pt x="540818" y="33"/>
                </a:moveTo>
                <a:cubicBezTo>
                  <a:pt x="623922" y="455"/>
                  <a:pt x="707452" y="4667"/>
                  <a:pt x="790982" y="4667"/>
                </a:cubicBezTo>
                <a:cubicBezTo>
                  <a:pt x="842124" y="4667"/>
                  <a:pt x="842124" y="45111"/>
                  <a:pt x="845532" y="82184"/>
                </a:cubicBezTo>
                <a:cubicBezTo>
                  <a:pt x="855760" y="159700"/>
                  <a:pt x="862580" y="233846"/>
                  <a:pt x="937586" y="281030"/>
                </a:cubicBezTo>
                <a:cubicBezTo>
                  <a:pt x="978500" y="307992"/>
                  <a:pt x="1019412" y="328214"/>
                  <a:pt x="1070554" y="328214"/>
                </a:cubicBezTo>
                <a:cubicBezTo>
                  <a:pt x="1633106" y="324844"/>
                  <a:pt x="2192248" y="328214"/>
                  <a:pt x="2754800" y="324844"/>
                </a:cubicBezTo>
                <a:cubicBezTo>
                  <a:pt x="2908224" y="324844"/>
                  <a:pt x="2976412" y="264179"/>
                  <a:pt x="3000278" y="115886"/>
                </a:cubicBezTo>
                <a:cubicBezTo>
                  <a:pt x="3020734" y="4667"/>
                  <a:pt x="3020734" y="1297"/>
                  <a:pt x="3133244" y="4667"/>
                </a:cubicBezTo>
                <a:cubicBezTo>
                  <a:pt x="3259392" y="4667"/>
                  <a:pt x="3385540" y="-2073"/>
                  <a:pt x="3515098" y="14778"/>
                </a:cubicBezTo>
                <a:cubicBezTo>
                  <a:pt x="3702614" y="35000"/>
                  <a:pt x="3811716" y="132738"/>
                  <a:pt x="3842400" y="318103"/>
                </a:cubicBezTo>
                <a:cubicBezTo>
                  <a:pt x="3849220" y="372027"/>
                  <a:pt x="3856038" y="429322"/>
                  <a:pt x="3856038" y="486617"/>
                </a:cubicBezTo>
                <a:cubicBezTo>
                  <a:pt x="3856038" y="2906474"/>
                  <a:pt x="3856038" y="5326332"/>
                  <a:pt x="3856038" y="7749560"/>
                </a:cubicBezTo>
                <a:cubicBezTo>
                  <a:pt x="3856038" y="7833816"/>
                  <a:pt x="3845810" y="7914703"/>
                  <a:pt x="3821944" y="7995590"/>
                </a:cubicBezTo>
                <a:cubicBezTo>
                  <a:pt x="3794668" y="8093328"/>
                  <a:pt x="3729890" y="8157362"/>
                  <a:pt x="3634426" y="8194436"/>
                </a:cubicBezTo>
                <a:cubicBezTo>
                  <a:pt x="3552602" y="8224768"/>
                  <a:pt x="3467366" y="8234879"/>
                  <a:pt x="3378722" y="8234879"/>
                </a:cubicBezTo>
                <a:cubicBezTo>
                  <a:pt x="2410450" y="8234879"/>
                  <a:pt x="1438770" y="8234879"/>
                  <a:pt x="470498" y="8234879"/>
                </a:cubicBezTo>
                <a:cubicBezTo>
                  <a:pt x="405719" y="8234879"/>
                  <a:pt x="340941" y="8231508"/>
                  <a:pt x="279571" y="8214658"/>
                </a:cubicBezTo>
                <a:cubicBezTo>
                  <a:pt x="115920" y="8170844"/>
                  <a:pt x="30685" y="8062995"/>
                  <a:pt x="10228" y="7897852"/>
                </a:cubicBezTo>
                <a:cubicBezTo>
                  <a:pt x="3409" y="7833816"/>
                  <a:pt x="0" y="7773152"/>
                  <a:pt x="0" y="7709116"/>
                </a:cubicBezTo>
                <a:cubicBezTo>
                  <a:pt x="0" y="6509298"/>
                  <a:pt x="0" y="5309480"/>
                  <a:pt x="0" y="4109662"/>
                </a:cubicBezTo>
                <a:cubicBezTo>
                  <a:pt x="0" y="2909845"/>
                  <a:pt x="0" y="1713397"/>
                  <a:pt x="0" y="513579"/>
                </a:cubicBezTo>
                <a:cubicBezTo>
                  <a:pt x="0" y="412471"/>
                  <a:pt x="0" y="314733"/>
                  <a:pt x="40913" y="220365"/>
                </a:cubicBezTo>
                <a:cubicBezTo>
                  <a:pt x="88645" y="105775"/>
                  <a:pt x="173880" y="41741"/>
                  <a:pt x="293209" y="18149"/>
                </a:cubicBezTo>
                <a:cubicBezTo>
                  <a:pt x="375035" y="2982"/>
                  <a:pt x="457713" y="-388"/>
                  <a:pt x="540818" y="33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  <a:ln>
            <a:noFill/>
          </a:ln>
          <a:effectLst/>
          <a:scene3d>
            <a:camera prst="isometricBottomDown"/>
            <a:lightRig rig="threePt" dir="t"/>
          </a:scene3d>
        </p:spPr>
        <p:txBody>
          <a:bodyPr wrap="square" anchor="ctr">
            <a:noAutofit/>
          </a:bodyPr>
          <a:lstStyle>
            <a:lvl1pPr>
              <a:defRPr lang="en-US" sz="44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en-US"/>
              <a:t>Drop in here your images </a:t>
            </a:r>
          </a:p>
        </p:txBody>
      </p:sp>
      <p:sp>
        <p:nvSpPr>
          <p:cNvPr id="23" name="Picture Placeholder 4">
            <a:extLst>
              <a:ext uri="{FF2B5EF4-FFF2-40B4-BE49-F238E27FC236}">
                <a16:creationId xmlns:a16="http://schemas.microsoft.com/office/drawing/2014/main" id="{C46817BB-A669-43D4-9706-C0D2D144FE50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18755210" y="-4350177"/>
            <a:ext cx="4815354" cy="10283575"/>
          </a:xfrm>
          <a:custGeom>
            <a:avLst/>
            <a:gdLst>
              <a:gd name="connsiteX0" fmla="*/ 540818 w 3856038"/>
              <a:gd name="connsiteY0" fmla="*/ 33 h 8234879"/>
              <a:gd name="connsiteX1" fmla="*/ 790982 w 3856038"/>
              <a:gd name="connsiteY1" fmla="*/ 4667 h 8234879"/>
              <a:gd name="connsiteX2" fmla="*/ 845532 w 3856038"/>
              <a:gd name="connsiteY2" fmla="*/ 82184 h 8234879"/>
              <a:gd name="connsiteX3" fmla="*/ 937586 w 3856038"/>
              <a:gd name="connsiteY3" fmla="*/ 281030 h 8234879"/>
              <a:gd name="connsiteX4" fmla="*/ 1070554 w 3856038"/>
              <a:gd name="connsiteY4" fmla="*/ 328214 h 8234879"/>
              <a:gd name="connsiteX5" fmla="*/ 2754800 w 3856038"/>
              <a:gd name="connsiteY5" fmla="*/ 324844 h 8234879"/>
              <a:gd name="connsiteX6" fmla="*/ 3000278 w 3856038"/>
              <a:gd name="connsiteY6" fmla="*/ 115886 h 8234879"/>
              <a:gd name="connsiteX7" fmla="*/ 3133244 w 3856038"/>
              <a:gd name="connsiteY7" fmla="*/ 4667 h 8234879"/>
              <a:gd name="connsiteX8" fmla="*/ 3515098 w 3856038"/>
              <a:gd name="connsiteY8" fmla="*/ 14778 h 8234879"/>
              <a:gd name="connsiteX9" fmla="*/ 3842400 w 3856038"/>
              <a:gd name="connsiteY9" fmla="*/ 318103 h 8234879"/>
              <a:gd name="connsiteX10" fmla="*/ 3856038 w 3856038"/>
              <a:gd name="connsiteY10" fmla="*/ 486617 h 8234879"/>
              <a:gd name="connsiteX11" fmla="*/ 3856038 w 3856038"/>
              <a:gd name="connsiteY11" fmla="*/ 7749560 h 8234879"/>
              <a:gd name="connsiteX12" fmla="*/ 3821944 w 3856038"/>
              <a:gd name="connsiteY12" fmla="*/ 7995590 h 8234879"/>
              <a:gd name="connsiteX13" fmla="*/ 3634426 w 3856038"/>
              <a:gd name="connsiteY13" fmla="*/ 8194436 h 8234879"/>
              <a:gd name="connsiteX14" fmla="*/ 3378722 w 3856038"/>
              <a:gd name="connsiteY14" fmla="*/ 8234879 h 8234879"/>
              <a:gd name="connsiteX15" fmla="*/ 470498 w 3856038"/>
              <a:gd name="connsiteY15" fmla="*/ 8234879 h 8234879"/>
              <a:gd name="connsiteX16" fmla="*/ 279571 w 3856038"/>
              <a:gd name="connsiteY16" fmla="*/ 8214658 h 8234879"/>
              <a:gd name="connsiteX17" fmla="*/ 10228 w 3856038"/>
              <a:gd name="connsiteY17" fmla="*/ 7897852 h 8234879"/>
              <a:gd name="connsiteX18" fmla="*/ 0 w 3856038"/>
              <a:gd name="connsiteY18" fmla="*/ 7709116 h 8234879"/>
              <a:gd name="connsiteX19" fmla="*/ 0 w 3856038"/>
              <a:gd name="connsiteY19" fmla="*/ 4109662 h 8234879"/>
              <a:gd name="connsiteX20" fmla="*/ 0 w 3856038"/>
              <a:gd name="connsiteY20" fmla="*/ 513579 h 8234879"/>
              <a:gd name="connsiteX21" fmla="*/ 40913 w 3856038"/>
              <a:gd name="connsiteY21" fmla="*/ 220365 h 8234879"/>
              <a:gd name="connsiteX22" fmla="*/ 293209 w 3856038"/>
              <a:gd name="connsiteY22" fmla="*/ 18149 h 8234879"/>
              <a:gd name="connsiteX23" fmla="*/ 540818 w 3856038"/>
              <a:gd name="connsiteY23" fmla="*/ 33 h 823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3856038" h="8234879">
                <a:moveTo>
                  <a:pt x="540818" y="33"/>
                </a:moveTo>
                <a:cubicBezTo>
                  <a:pt x="623922" y="455"/>
                  <a:pt x="707452" y="4667"/>
                  <a:pt x="790982" y="4667"/>
                </a:cubicBezTo>
                <a:cubicBezTo>
                  <a:pt x="842124" y="4667"/>
                  <a:pt x="842124" y="45111"/>
                  <a:pt x="845532" y="82184"/>
                </a:cubicBezTo>
                <a:cubicBezTo>
                  <a:pt x="855760" y="159700"/>
                  <a:pt x="862580" y="233846"/>
                  <a:pt x="937586" y="281030"/>
                </a:cubicBezTo>
                <a:cubicBezTo>
                  <a:pt x="978500" y="307992"/>
                  <a:pt x="1019412" y="328214"/>
                  <a:pt x="1070554" y="328214"/>
                </a:cubicBezTo>
                <a:cubicBezTo>
                  <a:pt x="1633106" y="324844"/>
                  <a:pt x="2192248" y="328214"/>
                  <a:pt x="2754800" y="324844"/>
                </a:cubicBezTo>
                <a:cubicBezTo>
                  <a:pt x="2908224" y="324844"/>
                  <a:pt x="2976412" y="264179"/>
                  <a:pt x="3000278" y="115886"/>
                </a:cubicBezTo>
                <a:cubicBezTo>
                  <a:pt x="3020734" y="4667"/>
                  <a:pt x="3020734" y="1297"/>
                  <a:pt x="3133244" y="4667"/>
                </a:cubicBezTo>
                <a:cubicBezTo>
                  <a:pt x="3259392" y="4667"/>
                  <a:pt x="3385540" y="-2073"/>
                  <a:pt x="3515098" y="14778"/>
                </a:cubicBezTo>
                <a:cubicBezTo>
                  <a:pt x="3702614" y="35000"/>
                  <a:pt x="3811716" y="132738"/>
                  <a:pt x="3842400" y="318103"/>
                </a:cubicBezTo>
                <a:cubicBezTo>
                  <a:pt x="3849220" y="372027"/>
                  <a:pt x="3856038" y="429322"/>
                  <a:pt x="3856038" y="486617"/>
                </a:cubicBezTo>
                <a:cubicBezTo>
                  <a:pt x="3856038" y="2906474"/>
                  <a:pt x="3856038" y="5326332"/>
                  <a:pt x="3856038" y="7749560"/>
                </a:cubicBezTo>
                <a:cubicBezTo>
                  <a:pt x="3856038" y="7833816"/>
                  <a:pt x="3845810" y="7914703"/>
                  <a:pt x="3821944" y="7995590"/>
                </a:cubicBezTo>
                <a:cubicBezTo>
                  <a:pt x="3794668" y="8093328"/>
                  <a:pt x="3729890" y="8157362"/>
                  <a:pt x="3634426" y="8194436"/>
                </a:cubicBezTo>
                <a:cubicBezTo>
                  <a:pt x="3552602" y="8224768"/>
                  <a:pt x="3467366" y="8234879"/>
                  <a:pt x="3378722" y="8234879"/>
                </a:cubicBezTo>
                <a:cubicBezTo>
                  <a:pt x="2410450" y="8234879"/>
                  <a:pt x="1438770" y="8234879"/>
                  <a:pt x="470498" y="8234879"/>
                </a:cubicBezTo>
                <a:cubicBezTo>
                  <a:pt x="405719" y="8234879"/>
                  <a:pt x="340941" y="8231508"/>
                  <a:pt x="279571" y="8214658"/>
                </a:cubicBezTo>
                <a:cubicBezTo>
                  <a:pt x="115920" y="8170844"/>
                  <a:pt x="30685" y="8062995"/>
                  <a:pt x="10228" y="7897852"/>
                </a:cubicBezTo>
                <a:cubicBezTo>
                  <a:pt x="3409" y="7833816"/>
                  <a:pt x="0" y="7773152"/>
                  <a:pt x="0" y="7709116"/>
                </a:cubicBezTo>
                <a:cubicBezTo>
                  <a:pt x="0" y="6509298"/>
                  <a:pt x="0" y="5309480"/>
                  <a:pt x="0" y="4109662"/>
                </a:cubicBezTo>
                <a:cubicBezTo>
                  <a:pt x="0" y="2909845"/>
                  <a:pt x="0" y="1713397"/>
                  <a:pt x="0" y="513579"/>
                </a:cubicBezTo>
                <a:cubicBezTo>
                  <a:pt x="0" y="412471"/>
                  <a:pt x="0" y="314733"/>
                  <a:pt x="40913" y="220365"/>
                </a:cubicBezTo>
                <a:cubicBezTo>
                  <a:pt x="88645" y="105775"/>
                  <a:pt x="173880" y="41741"/>
                  <a:pt x="293209" y="18149"/>
                </a:cubicBezTo>
                <a:cubicBezTo>
                  <a:pt x="375035" y="2982"/>
                  <a:pt x="457713" y="-388"/>
                  <a:pt x="540818" y="33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  <a:ln>
            <a:noFill/>
          </a:ln>
          <a:effectLst/>
          <a:scene3d>
            <a:camera prst="isometricBottomDown"/>
            <a:lightRig rig="threePt" dir="t"/>
          </a:scene3d>
        </p:spPr>
        <p:txBody>
          <a:bodyPr wrap="square" anchor="ctr">
            <a:noAutofit/>
          </a:bodyPr>
          <a:lstStyle>
            <a:lvl1pPr>
              <a:defRPr lang="en-US" sz="44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en-US"/>
              <a:t>Drop in here your images </a:t>
            </a:r>
          </a:p>
        </p:txBody>
      </p:sp>
    </p:spTree>
    <p:extLst>
      <p:ext uri="{BB962C8B-B14F-4D97-AF65-F5344CB8AC3E}">
        <p14:creationId xmlns:p14="http://schemas.microsoft.com/office/powerpoint/2010/main" val="3866539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3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3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3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3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4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3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3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</p:bld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632618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83C36FF-5F8D-4BA8-B289-E005C16E137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170218" y="2832943"/>
            <a:ext cx="8046736" cy="8050114"/>
          </a:xfrm>
          <a:custGeom>
            <a:avLst/>
            <a:gdLst>
              <a:gd name="connsiteX0" fmla="*/ 4023368 w 8046736"/>
              <a:gd name="connsiteY0" fmla="*/ 0 h 8050114"/>
              <a:gd name="connsiteX1" fmla="*/ 6418353 w 8046736"/>
              <a:gd name="connsiteY1" fmla="*/ 991982 h 8050114"/>
              <a:gd name="connsiteX2" fmla="*/ 7055171 w 8046736"/>
              <a:gd name="connsiteY2" fmla="*/ 1629066 h 8050114"/>
              <a:gd name="connsiteX3" fmla="*/ 7055171 w 8046736"/>
              <a:gd name="connsiteY3" fmla="*/ 6421048 h 8050114"/>
              <a:gd name="connsiteX4" fmla="*/ 6418353 w 8046736"/>
              <a:gd name="connsiteY4" fmla="*/ 7058133 h 8050114"/>
              <a:gd name="connsiteX5" fmla="*/ 1628382 w 8046736"/>
              <a:gd name="connsiteY5" fmla="*/ 7058133 h 8050114"/>
              <a:gd name="connsiteX6" fmla="*/ 991565 w 8046736"/>
              <a:gd name="connsiteY6" fmla="*/ 6421048 h 8050114"/>
              <a:gd name="connsiteX7" fmla="*/ 991565 w 8046736"/>
              <a:gd name="connsiteY7" fmla="*/ 1629066 h 8050114"/>
              <a:gd name="connsiteX8" fmla="*/ 1628382 w 8046736"/>
              <a:gd name="connsiteY8" fmla="*/ 991982 h 8050114"/>
              <a:gd name="connsiteX9" fmla="*/ 4023368 w 8046736"/>
              <a:gd name="connsiteY9" fmla="*/ 0 h 8050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046736" h="8050114">
                <a:moveTo>
                  <a:pt x="4023368" y="0"/>
                </a:moveTo>
                <a:cubicBezTo>
                  <a:pt x="4890339" y="0"/>
                  <a:pt x="5757309" y="330660"/>
                  <a:pt x="6418353" y="991982"/>
                </a:cubicBezTo>
                <a:cubicBezTo>
                  <a:pt x="7055171" y="1629066"/>
                  <a:pt x="7055171" y="1629066"/>
                  <a:pt x="7055171" y="1629066"/>
                </a:cubicBezTo>
                <a:cubicBezTo>
                  <a:pt x="8377258" y="2951708"/>
                  <a:pt x="8377258" y="5098406"/>
                  <a:pt x="7055171" y="6421048"/>
                </a:cubicBezTo>
                <a:cubicBezTo>
                  <a:pt x="6418353" y="7058133"/>
                  <a:pt x="6418353" y="7058133"/>
                  <a:pt x="6418353" y="7058133"/>
                </a:cubicBezTo>
                <a:cubicBezTo>
                  <a:pt x="5096266" y="8380775"/>
                  <a:pt x="2950470" y="8380775"/>
                  <a:pt x="1628382" y="7058133"/>
                </a:cubicBezTo>
                <a:cubicBezTo>
                  <a:pt x="991565" y="6421048"/>
                  <a:pt x="991565" y="6421048"/>
                  <a:pt x="991565" y="6421048"/>
                </a:cubicBezTo>
                <a:cubicBezTo>
                  <a:pt x="-330522" y="5098406"/>
                  <a:pt x="-330522" y="2951708"/>
                  <a:pt x="991565" y="1629066"/>
                </a:cubicBezTo>
                <a:cubicBezTo>
                  <a:pt x="1628382" y="991982"/>
                  <a:pt x="1628382" y="991982"/>
                  <a:pt x="1628382" y="991982"/>
                </a:cubicBezTo>
                <a:cubicBezTo>
                  <a:pt x="2289426" y="330660"/>
                  <a:pt x="3156397" y="0"/>
                  <a:pt x="4023368" y="0"/>
                </a:cubicBez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24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01952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81CAACFA-A336-43D7-8F2B-E1DE7FE1C47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470125" y="3134676"/>
            <a:ext cx="3619429" cy="3619010"/>
          </a:xfrm>
          <a:custGeom>
            <a:avLst/>
            <a:gdLst>
              <a:gd name="connsiteX0" fmla="*/ 3619429 w 3619429"/>
              <a:gd name="connsiteY0" fmla="*/ 0 h 3619010"/>
              <a:gd name="connsiteX1" fmla="*/ 3619429 w 3619429"/>
              <a:gd name="connsiteY1" fmla="*/ 3619010 h 3619010"/>
              <a:gd name="connsiteX2" fmla="*/ 0 w 3619429"/>
              <a:gd name="connsiteY2" fmla="*/ 3619010 h 3619010"/>
              <a:gd name="connsiteX3" fmla="*/ 917060 w 3619429"/>
              <a:gd name="connsiteY3" fmla="*/ 1505980 h 3619010"/>
              <a:gd name="connsiteX4" fmla="*/ 1507235 w 3619429"/>
              <a:gd name="connsiteY4" fmla="*/ 916362 h 3619010"/>
              <a:gd name="connsiteX5" fmla="*/ 3619429 w 3619429"/>
              <a:gd name="connsiteY5" fmla="*/ 0 h 3619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19429" h="3619010">
                <a:moveTo>
                  <a:pt x="3619429" y="0"/>
                </a:moveTo>
                <a:lnTo>
                  <a:pt x="3619429" y="3619010"/>
                </a:lnTo>
                <a:lnTo>
                  <a:pt x="0" y="3619010"/>
                </a:lnTo>
                <a:cubicBezTo>
                  <a:pt x="25520" y="2851308"/>
                  <a:pt x="331207" y="2091415"/>
                  <a:pt x="917060" y="1505980"/>
                </a:cubicBezTo>
                <a:cubicBezTo>
                  <a:pt x="1507235" y="916362"/>
                  <a:pt x="1507235" y="916362"/>
                  <a:pt x="1507235" y="916362"/>
                </a:cubicBezTo>
                <a:cubicBezTo>
                  <a:pt x="2092530" y="331486"/>
                  <a:pt x="2852145" y="25939"/>
                  <a:pt x="3619429" y="0"/>
                </a:cubicBez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2400"/>
            </a:lvl1pPr>
          </a:lstStyle>
          <a:p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F06080D-C429-48A8-B843-92D33ECB5B7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2298736" y="3134537"/>
            <a:ext cx="3623892" cy="3619150"/>
          </a:xfrm>
          <a:custGeom>
            <a:avLst/>
            <a:gdLst>
              <a:gd name="connsiteX0" fmla="*/ 0 w 3623892"/>
              <a:gd name="connsiteY0" fmla="*/ 0 h 3619150"/>
              <a:gd name="connsiteX1" fmla="*/ 2116795 w 3623892"/>
              <a:gd name="connsiteY1" fmla="*/ 916502 h 3619150"/>
              <a:gd name="connsiteX2" fmla="*/ 2706832 w 3623892"/>
              <a:gd name="connsiteY2" fmla="*/ 1506120 h 3619150"/>
              <a:gd name="connsiteX3" fmla="*/ 3623892 w 3623892"/>
              <a:gd name="connsiteY3" fmla="*/ 3619150 h 3619150"/>
              <a:gd name="connsiteX4" fmla="*/ 0 w 3623892"/>
              <a:gd name="connsiteY4" fmla="*/ 3619150 h 3619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23892" h="3619150">
                <a:moveTo>
                  <a:pt x="0" y="0"/>
                </a:moveTo>
                <a:cubicBezTo>
                  <a:pt x="768958" y="24823"/>
                  <a:pt x="1530385" y="330370"/>
                  <a:pt x="2116795" y="916502"/>
                </a:cubicBezTo>
                <a:cubicBezTo>
                  <a:pt x="2706832" y="1506120"/>
                  <a:pt x="2706832" y="1506120"/>
                  <a:pt x="2706832" y="1506120"/>
                </a:cubicBezTo>
                <a:cubicBezTo>
                  <a:pt x="3292684" y="2091554"/>
                  <a:pt x="3598371" y="2851447"/>
                  <a:pt x="3623892" y="3619150"/>
                </a:cubicBezTo>
                <a:lnTo>
                  <a:pt x="0" y="3619150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2400"/>
            </a:lvl1pPr>
          </a:lstStyle>
          <a:p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3097419-BD92-4E3B-9C5D-9A5A67E294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298736" y="6962871"/>
            <a:ext cx="3623892" cy="3618871"/>
          </a:xfrm>
          <a:custGeom>
            <a:avLst/>
            <a:gdLst>
              <a:gd name="connsiteX0" fmla="*/ 0 w 3623892"/>
              <a:gd name="connsiteY0" fmla="*/ 0 h 3618871"/>
              <a:gd name="connsiteX1" fmla="*/ 3623892 w 3623892"/>
              <a:gd name="connsiteY1" fmla="*/ 0 h 3618871"/>
              <a:gd name="connsiteX2" fmla="*/ 2706832 w 3623892"/>
              <a:gd name="connsiteY2" fmla="*/ 2112891 h 3618871"/>
              <a:gd name="connsiteX3" fmla="*/ 2116795 w 3623892"/>
              <a:gd name="connsiteY3" fmla="*/ 2702509 h 3618871"/>
              <a:gd name="connsiteX4" fmla="*/ 0 w 3623892"/>
              <a:gd name="connsiteY4" fmla="*/ 3618871 h 36188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23892" h="3618871">
                <a:moveTo>
                  <a:pt x="0" y="0"/>
                </a:moveTo>
                <a:lnTo>
                  <a:pt x="3623892" y="0"/>
                </a:lnTo>
                <a:cubicBezTo>
                  <a:pt x="3598371" y="767563"/>
                  <a:pt x="3292684" y="1527456"/>
                  <a:pt x="2706832" y="2112891"/>
                </a:cubicBezTo>
                <a:cubicBezTo>
                  <a:pt x="2116795" y="2702509"/>
                  <a:pt x="2116795" y="2702509"/>
                  <a:pt x="2116795" y="2702509"/>
                </a:cubicBezTo>
                <a:cubicBezTo>
                  <a:pt x="1530385" y="3288640"/>
                  <a:pt x="768958" y="3594048"/>
                  <a:pt x="0" y="3618871"/>
                </a:cubicBez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2400"/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8122979-052C-4C34-8F77-81BE4B1E399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70125" y="6962870"/>
            <a:ext cx="3619429" cy="3618732"/>
          </a:xfrm>
          <a:custGeom>
            <a:avLst/>
            <a:gdLst>
              <a:gd name="connsiteX0" fmla="*/ 0 w 3619429"/>
              <a:gd name="connsiteY0" fmla="*/ 0 h 3618732"/>
              <a:gd name="connsiteX1" fmla="*/ 3619429 w 3619429"/>
              <a:gd name="connsiteY1" fmla="*/ 0 h 3618732"/>
              <a:gd name="connsiteX2" fmla="*/ 3619429 w 3619429"/>
              <a:gd name="connsiteY2" fmla="*/ 3618732 h 3618732"/>
              <a:gd name="connsiteX3" fmla="*/ 1507235 w 3619429"/>
              <a:gd name="connsiteY3" fmla="*/ 2702509 h 3618732"/>
              <a:gd name="connsiteX4" fmla="*/ 917060 w 3619429"/>
              <a:gd name="connsiteY4" fmla="*/ 2112891 h 3618732"/>
              <a:gd name="connsiteX5" fmla="*/ 0 w 3619429"/>
              <a:gd name="connsiteY5" fmla="*/ 0 h 3618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19429" h="3618732">
                <a:moveTo>
                  <a:pt x="0" y="0"/>
                </a:moveTo>
                <a:lnTo>
                  <a:pt x="3619429" y="0"/>
                </a:lnTo>
                <a:lnTo>
                  <a:pt x="3619429" y="3618732"/>
                </a:lnTo>
                <a:cubicBezTo>
                  <a:pt x="2852145" y="3592793"/>
                  <a:pt x="2092530" y="3287385"/>
                  <a:pt x="1507235" y="2702509"/>
                </a:cubicBezTo>
                <a:cubicBezTo>
                  <a:pt x="917060" y="2112891"/>
                  <a:pt x="917060" y="2112891"/>
                  <a:pt x="917060" y="2112891"/>
                </a:cubicBezTo>
                <a:cubicBezTo>
                  <a:pt x="331207" y="1527456"/>
                  <a:pt x="25520" y="767563"/>
                  <a:pt x="0" y="0"/>
                </a:cubicBez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24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0163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9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3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6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4" grpId="0" animBg="1"/>
      <p:bldP spid="5" grpId="0" animBg="1"/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023170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1">
          <p15:clr>
            <a:srgbClr val="FBAE40"/>
          </p15:clr>
        </p15:guide>
        <p15:guide id="3" pos="985">
          <p15:clr>
            <a:srgbClr val="FBAE40"/>
          </p15:clr>
        </p15:guide>
        <p15:guide id="4" pos="1437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C5A564FA-DF57-406B-AA52-35DAE3ECA25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264581" y="2634511"/>
            <a:ext cx="4593771" cy="4085303"/>
          </a:xfrm>
          <a:custGeom>
            <a:avLst/>
            <a:gdLst>
              <a:gd name="connsiteX0" fmla="*/ 0 w 4593771"/>
              <a:gd name="connsiteY0" fmla="*/ 0 h 4085303"/>
              <a:gd name="connsiteX1" fmla="*/ 4593771 w 4593771"/>
              <a:gd name="connsiteY1" fmla="*/ 0 h 4085303"/>
              <a:gd name="connsiteX2" fmla="*/ 4593771 w 4593771"/>
              <a:gd name="connsiteY2" fmla="*/ 4085303 h 4085303"/>
              <a:gd name="connsiteX3" fmla="*/ 0 w 4593771"/>
              <a:gd name="connsiteY3" fmla="*/ 4085303 h 4085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93771" h="4085303">
                <a:moveTo>
                  <a:pt x="0" y="0"/>
                </a:moveTo>
                <a:lnTo>
                  <a:pt x="4593771" y="0"/>
                </a:lnTo>
                <a:lnTo>
                  <a:pt x="4593771" y="4085303"/>
                </a:lnTo>
                <a:lnTo>
                  <a:pt x="0" y="4085303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2400"/>
            </a:lvl1pPr>
          </a:lstStyle>
          <a:p>
            <a:endParaRPr lang="en-US"/>
          </a:p>
        </p:txBody>
      </p:sp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178CB79B-A821-4975-B3CF-C5631EBE391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887177" y="2634511"/>
            <a:ext cx="4593771" cy="4085303"/>
          </a:xfrm>
          <a:custGeom>
            <a:avLst/>
            <a:gdLst>
              <a:gd name="connsiteX0" fmla="*/ 0 w 4593771"/>
              <a:gd name="connsiteY0" fmla="*/ 0 h 4085303"/>
              <a:gd name="connsiteX1" fmla="*/ 4593771 w 4593771"/>
              <a:gd name="connsiteY1" fmla="*/ 0 h 4085303"/>
              <a:gd name="connsiteX2" fmla="*/ 4593771 w 4593771"/>
              <a:gd name="connsiteY2" fmla="*/ 4085303 h 4085303"/>
              <a:gd name="connsiteX3" fmla="*/ 0 w 4593771"/>
              <a:gd name="connsiteY3" fmla="*/ 4085303 h 4085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93771" h="4085303">
                <a:moveTo>
                  <a:pt x="0" y="0"/>
                </a:moveTo>
                <a:lnTo>
                  <a:pt x="4593771" y="0"/>
                </a:lnTo>
                <a:lnTo>
                  <a:pt x="4593771" y="4085303"/>
                </a:lnTo>
                <a:lnTo>
                  <a:pt x="0" y="4085303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2400"/>
            </a:lvl1pPr>
          </a:lstStyle>
          <a:p>
            <a:endParaRPr lang="en-US"/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55BC2ECA-3A89-4ACF-A651-BD8BD09C705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6505691" y="2634511"/>
            <a:ext cx="4593771" cy="4085303"/>
          </a:xfrm>
          <a:custGeom>
            <a:avLst/>
            <a:gdLst>
              <a:gd name="connsiteX0" fmla="*/ 0 w 4593771"/>
              <a:gd name="connsiteY0" fmla="*/ 0 h 4085303"/>
              <a:gd name="connsiteX1" fmla="*/ 4593771 w 4593771"/>
              <a:gd name="connsiteY1" fmla="*/ 0 h 4085303"/>
              <a:gd name="connsiteX2" fmla="*/ 4593771 w 4593771"/>
              <a:gd name="connsiteY2" fmla="*/ 4085303 h 4085303"/>
              <a:gd name="connsiteX3" fmla="*/ 0 w 4593771"/>
              <a:gd name="connsiteY3" fmla="*/ 4085303 h 4085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93771" h="4085303">
                <a:moveTo>
                  <a:pt x="0" y="0"/>
                </a:moveTo>
                <a:lnTo>
                  <a:pt x="4593771" y="0"/>
                </a:lnTo>
                <a:lnTo>
                  <a:pt x="4593771" y="4085303"/>
                </a:lnTo>
                <a:lnTo>
                  <a:pt x="0" y="4085303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24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26899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991EFD73-3EFC-4E7E-977E-6045C0E97022}"/>
              </a:ext>
            </a:extLst>
          </p:cNvPr>
          <p:cNvSpPr txBox="1"/>
          <p:nvPr userDrawn="1"/>
        </p:nvSpPr>
        <p:spPr>
          <a:xfrm rot="16200000">
            <a:off x="-1151185" y="6311280"/>
            <a:ext cx="4303999" cy="40011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US" sz="2000" b="1">
                <a:solidFill>
                  <a:schemeClr val="tx1"/>
                </a:solidFill>
                <a:latin typeface="+mj-lt"/>
              </a:rPr>
              <a:t>Nova</a:t>
            </a:r>
            <a:r>
              <a:rPr lang="en-US" sz="2000">
                <a:solidFill>
                  <a:schemeClr val="tx1"/>
                </a:solidFill>
              </a:rPr>
              <a:t> presentation to DesignTuts team</a:t>
            </a:r>
          </a:p>
        </p:txBody>
      </p:sp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70C2095F-97D9-4094-BD36-0951741A08F7}"/>
              </a:ext>
            </a:extLst>
          </p:cNvPr>
          <p:cNvSpPr/>
          <p:nvPr userDrawn="1"/>
        </p:nvSpPr>
        <p:spPr>
          <a:xfrm rot="5400000">
            <a:off x="-1196240" y="10738435"/>
            <a:ext cx="4173803" cy="178132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5B3ED305-11AC-4DF6-95E5-0D658AC4E0A0}"/>
              </a:ext>
            </a:extLst>
          </p:cNvPr>
          <p:cNvSpPr/>
          <p:nvPr userDrawn="1"/>
        </p:nvSpPr>
        <p:spPr>
          <a:xfrm rot="2700000">
            <a:off x="499426" y="9056575"/>
            <a:ext cx="1002776" cy="1002776"/>
          </a:xfrm>
          <a:prstGeom prst="roundRect">
            <a:avLst>
              <a:gd name="adj" fmla="val 21316"/>
            </a:avLst>
          </a:prstGeom>
          <a:solidFill>
            <a:schemeClr val="accent1"/>
          </a:solidFill>
          <a:ln>
            <a:noFill/>
          </a:ln>
          <a:effectLst>
            <a:outerShdw blurRad="685800" sx="102000" sy="102000" algn="ctr" rotWithShape="0">
              <a:schemeClr val="accent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822A108-D151-4EA8-9380-3C6EB288932B}"/>
              </a:ext>
            </a:extLst>
          </p:cNvPr>
          <p:cNvSpPr/>
          <p:nvPr userDrawn="1"/>
        </p:nvSpPr>
        <p:spPr>
          <a:xfrm rot="2700000">
            <a:off x="586444" y="9143594"/>
            <a:ext cx="828741" cy="828741"/>
          </a:xfrm>
          <a:prstGeom prst="roundRect">
            <a:avLst>
              <a:gd name="adj" fmla="val 21316"/>
            </a:avLst>
          </a:prstGeom>
          <a:solidFill>
            <a:schemeClr val="accent1"/>
          </a:solidFill>
          <a:ln>
            <a:noFill/>
          </a:ln>
          <a:effectLst>
            <a:outerShdw blurRad="685800" sx="102000" sy="102000" algn="ctr" rotWithShape="0">
              <a:schemeClr val="accent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503DE27B-C85C-4D54-A022-976B2D0DD19A}"/>
              </a:ext>
            </a:extLst>
          </p:cNvPr>
          <p:cNvSpPr/>
          <p:nvPr userDrawn="1"/>
        </p:nvSpPr>
        <p:spPr>
          <a:xfrm rot="2700000">
            <a:off x="689492" y="9249392"/>
            <a:ext cx="622645" cy="619422"/>
          </a:xfrm>
          <a:prstGeom prst="roundRect">
            <a:avLst>
              <a:gd name="adj" fmla="val 21316"/>
            </a:avLst>
          </a:prstGeom>
          <a:solidFill>
            <a:schemeClr val="accent1"/>
          </a:solidFill>
          <a:ln>
            <a:noFill/>
          </a:ln>
          <a:effectLst>
            <a:outerShdw blurRad="685800" sx="102000" sy="102000" algn="ctr" rotWithShape="0">
              <a:schemeClr val="accent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40B9A2B0-4CF5-4B3C-8C18-E65E2B8C917A}"/>
              </a:ext>
            </a:extLst>
          </p:cNvPr>
          <p:cNvSpPr/>
          <p:nvPr userDrawn="1"/>
        </p:nvSpPr>
        <p:spPr>
          <a:xfrm rot="2700000">
            <a:off x="788177" y="9345328"/>
            <a:ext cx="425275" cy="425275"/>
          </a:xfrm>
          <a:prstGeom prst="roundRect">
            <a:avLst>
              <a:gd name="adj" fmla="val 21316"/>
            </a:avLst>
          </a:prstGeom>
          <a:solidFill>
            <a:schemeClr val="accent1"/>
          </a:solidFill>
          <a:ln>
            <a:noFill/>
          </a:ln>
          <a:effectLst>
            <a:outerShdw blurRad="685800" sx="102000" sy="102000" algn="ctr" rotWithShape="0">
              <a:schemeClr val="accent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F81A6E2-5B09-457E-812E-51511A381940}"/>
              </a:ext>
            </a:extLst>
          </p:cNvPr>
          <p:cNvSpPr txBox="1">
            <a:spLocks/>
          </p:cNvSpPr>
          <p:nvPr userDrawn="1"/>
        </p:nvSpPr>
        <p:spPr>
          <a:xfrm>
            <a:off x="877068" y="9239707"/>
            <a:ext cx="247493" cy="582761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2000" b="1" smtClean="0">
                <a:solidFill>
                  <a:schemeClr val="bg1"/>
                </a:solidFill>
                <a:latin typeface="+mj-lt"/>
              </a:rPr>
              <a:pPr algn="ctr"/>
              <a:t>‹#›</a:t>
            </a:fld>
            <a:endParaRPr lang="en-US" sz="12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9" name="Rectangle 8">
            <a:hlinkClick r:id="rId2"/>
            <a:extLst>
              <a:ext uri="{FF2B5EF4-FFF2-40B4-BE49-F238E27FC236}">
                <a16:creationId xmlns:a16="http://schemas.microsoft.com/office/drawing/2014/main" id="{DFEF7234-7D16-4547-AD06-EF442D231C26}"/>
              </a:ext>
            </a:extLst>
          </p:cNvPr>
          <p:cNvSpPr/>
          <p:nvPr userDrawn="1"/>
        </p:nvSpPr>
        <p:spPr>
          <a:xfrm>
            <a:off x="23362766" y="6501135"/>
            <a:ext cx="713731" cy="713731"/>
          </a:xfrm>
          <a:prstGeom prst="rect">
            <a:avLst/>
          </a:prstGeom>
          <a:solidFill>
            <a:srgbClr val="00CAC5">
              <a:alpha val="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35756953-F73D-473A-AAB6-F6742A70FB12}"/>
              </a:ext>
            </a:extLst>
          </p:cNvPr>
          <p:cNvSpPr/>
          <p:nvPr userDrawn="1"/>
        </p:nvSpPr>
        <p:spPr>
          <a:xfrm rot="2700000">
            <a:off x="23436611" y="6581333"/>
            <a:ext cx="566041" cy="566041"/>
          </a:xfrm>
          <a:prstGeom prst="ellipse">
            <a:avLst/>
          </a:prstGeom>
          <a:noFill/>
          <a:ln w="6350">
            <a:solidFill>
              <a:schemeClr val="tx1"/>
            </a:solidFill>
          </a:ln>
          <a:effectLst>
            <a:outerShdw blurRad="685800" sx="102000" sy="102000" algn="ctr" rotWithShape="0">
              <a:schemeClr val="accent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reeform 6">
            <a:extLst>
              <a:ext uri="{FF2B5EF4-FFF2-40B4-BE49-F238E27FC236}">
                <a16:creationId xmlns:a16="http://schemas.microsoft.com/office/drawing/2014/main" id="{9E41AB32-3111-45E8-A763-621C6AB956B7}"/>
              </a:ext>
            </a:extLst>
          </p:cNvPr>
          <p:cNvSpPr>
            <a:spLocks/>
          </p:cNvSpPr>
          <p:nvPr userDrawn="1"/>
        </p:nvSpPr>
        <p:spPr bwMode="auto">
          <a:xfrm>
            <a:off x="23662745" y="6742125"/>
            <a:ext cx="113773" cy="244458"/>
          </a:xfrm>
          <a:custGeom>
            <a:avLst/>
            <a:gdLst>
              <a:gd name="T0" fmla="*/ 573 w 704"/>
              <a:gd name="T1" fmla="*/ 255 h 1506"/>
              <a:gd name="T2" fmla="*/ 573 w 704"/>
              <a:gd name="T3" fmla="*/ 255 h 1506"/>
              <a:gd name="T4" fmla="*/ 704 w 704"/>
              <a:gd name="T5" fmla="*/ 255 h 1506"/>
              <a:gd name="T6" fmla="*/ 704 w 704"/>
              <a:gd name="T7" fmla="*/ 0 h 1506"/>
              <a:gd name="T8" fmla="*/ 492 w 704"/>
              <a:gd name="T9" fmla="*/ 0 h 1506"/>
              <a:gd name="T10" fmla="*/ 155 w 704"/>
              <a:gd name="T11" fmla="*/ 336 h 1506"/>
              <a:gd name="T12" fmla="*/ 155 w 704"/>
              <a:gd name="T13" fmla="*/ 493 h 1506"/>
              <a:gd name="T14" fmla="*/ 0 w 704"/>
              <a:gd name="T15" fmla="*/ 493 h 1506"/>
              <a:gd name="T16" fmla="*/ 0 w 704"/>
              <a:gd name="T17" fmla="*/ 749 h 1506"/>
              <a:gd name="T18" fmla="*/ 155 w 704"/>
              <a:gd name="T19" fmla="*/ 749 h 1506"/>
              <a:gd name="T20" fmla="*/ 155 w 704"/>
              <a:gd name="T21" fmla="*/ 1506 h 1506"/>
              <a:gd name="T22" fmla="*/ 467 w 704"/>
              <a:gd name="T23" fmla="*/ 1506 h 1506"/>
              <a:gd name="T24" fmla="*/ 467 w 704"/>
              <a:gd name="T25" fmla="*/ 749 h 1506"/>
              <a:gd name="T26" fmla="*/ 679 w 704"/>
              <a:gd name="T27" fmla="*/ 749 h 1506"/>
              <a:gd name="T28" fmla="*/ 704 w 704"/>
              <a:gd name="T29" fmla="*/ 493 h 1506"/>
              <a:gd name="T30" fmla="*/ 467 w 704"/>
              <a:gd name="T31" fmla="*/ 493 h 1506"/>
              <a:gd name="T32" fmla="*/ 467 w 704"/>
              <a:gd name="T33" fmla="*/ 362 h 1506"/>
              <a:gd name="T34" fmla="*/ 573 w 704"/>
              <a:gd name="T35" fmla="*/ 255 h 1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04" h="1506">
                <a:moveTo>
                  <a:pt x="573" y="255"/>
                </a:moveTo>
                <a:lnTo>
                  <a:pt x="573" y="255"/>
                </a:lnTo>
                <a:lnTo>
                  <a:pt x="704" y="255"/>
                </a:lnTo>
                <a:lnTo>
                  <a:pt x="704" y="0"/>
                </a:lnTo>
                <a:lnTo>
                  <a:pt x="492" y="0"/>
                </a:lnTo>
                <a:cubicBezTo>
                  <a:pt x="243" y="0"/>
                  <a:pt x="155" y="124"/>
                  <a:pt x="155" y="336"/>
                </a:cubicBezTo>
                <a:lnTo>
                  <a:pt x="155" y="493"/>
                </a:lnTo>
                <a:lnTo>
                  <a:pt x="0" y="493"/>
                </a:lnTo>
                <a:lnTo>
                  <a:pt x="0" y="749"/>
                </a:lnTo>
                <a:lnTo>
                  <a:pt x="155" y="749"/>
                </a:lnTo>
                <a:lnTo>
                  <a:pt x="155" y="1506"/>
                </a:lnTo>
                <a:lnTo>
                  <a:pt x="467" y="1506"/>
                </a:lnTo>
                <a:lnTo>
                  <a:pt x="467" y="749"/>
                </a:lnTo>
                <a:lnTo>
                  <a:pt x="679" y="749"/>
                </a:lnTo>
                <a:lnTo>
                  <a:pt x="704" y="493"/>
                </a:lnTo>
                <a:lnTo>
                  <a:pt x="467" y="493"/>
                </a:lnTo>
                <a:lnTo>
                  <a:pt x="467" y="362"/>
                </a:lnTo>
                <a:cubicBezTo>
                  <a:pt x="467" y="293"/>
                  <a:pt x="473" y="255"/>
                  <a:pt x="573" y="255"/>
                </a:cubicBez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3200"/>
          </a:p>
        </p:txBody>
      </p:sp>
      <p:sp>
        <p:nvSpPr>
          <p:cNvPr id="12" name="Rectangle 11">
            <a:hlinkClick r:id="rId3"/>
            <a:extLst>
              <a:ext uri="{FF2B5EF4-FFF2-40B4-BE49-F238E27FC236}">
                <a16:creationId xmlns:a16="http://schemas.microsoft.com/office/drawing/2014/main" id="{A53A1220-5AB6-40B6-A7C2-28F939B5D56E}"/>
              </a:ext>
            </a:extLst>
          </p:cNvPr>
          <p:cNvSpPr/>
          <p:nvPr userDrawn="1"/>
        </p:nvSpPr>
        <p:spPr>
          <a:xfrm>
            <a:off x="23362766" y="5679998"/>
            <a:ext cx="713731" cy="713731"/>
          </a:xfrm>
          <a:prstGeom prst="rect">
            <a:avLst/>
          </a:prstGeom>
          <a:solidFill>
            <a:srgbClr val="00CAC5">
              <a:alpha val="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Freeform 7">
            <a:extLst>
              <a:ext uri="{FF2B5EF4-FFF2-40B4-BE49-F238E27FC236}">
                <a16:creationId xmlns:a16="http://schemas.microsoft.com/office/drawing/2014/main" id="{2407B0DC-8427-4721-AAA2-A667E86D7C2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3593484" y="5915790"/>
            <a:ext cx="252294" cy="242147"/>
          </a:xfrm>
          <a:custGeom>
            <a:avLst/>
            <a:gdLst>
              <a:gd name="T0" fmla="*/ 1176 w 1562"/>
              <a:gd name="T1" fmla="*/ 466 h 1491"/>
              <a:gd name="T2" fmla="*/ 1176 w 1562"/>
              <a:gd name="T3" fmla="*/ 466 h 1491"/>
              <a:gd name="T4" fmla="*/ 871 w 1562"/>
              <a:gd name="T5" fmla="*/ 636 h 1491"/>
              <a:gd name="T6" fmla="*/ 871 w 1562"/>
              <a:gd name="T7" fmla="*/ 488 h 1491"/>
              <a:gd name="T8" fmla="*/ 538 w 1562"/>
              <a:gd name="T9" fmla="*/ 488 h 1491"/>
              <a:gd name="T10" fmla="*/ 538 w 1562"/>
              <a:gd name="T11" fmla="*/ 1491 h 1491"/>
              <a:gd name="T12" fmla="*/ 871 w 1562"/>
              <a:gd name="T13" fmla="*/ 1491 h 1491"/>
              <a:gd name="T14" fmla="*/ 871 w 1562"/>
              <a:gd name="T15" fmla="*/ 931 h 1491"/>
              <a:gd name="T16" fmla="*/ 886 w 1562"/>
              <a:gd name="T17" fmla="*/ 850 h 1491"/>
              <a:gd name="T18" fmla="*/ 1057 w 1562"/>
              <a:gd name="T19" fmla="*/ 724 h 1491"/>
              <a:gd name="T20" fmla="*/ 1228 w 1562"/>
              <a:gd name="T21" fmla="*/ 953 h 1491"/>
              <a:gd name="T22" fmla="*/ 1228 w 1562"/>
              <a:gd name="T23" fmla="*/ 1491 h 1491"/>
              <a:gd name="T24" fmla="*/ 1562 w 1562"/>
              <a:gd name="T25" fmla="*/ 1491 h 1491"/>
              <a:gd name="T26" fmla="*/ 1562 w 1562"/>
              <a:gd name="T27" fmla="*/ 916 h 1491"/>
              <a:gd name="T28" fmla="*/ 1176 w 1562"/>
              <a:gd name="T29" fmla="*/ 466 h 1491"/>
              <a:gd name="T30" fmla="*/ 22 w 1562"/>
              <a:gd name="T31" fmla="*/ 1491 h 1491"/>
              <a:gd name="T32" fmla="*/ 22 w 1562"/>
              <a:gd name="T33" fmla="*/ 1491 h 1491"/>
              <a:gd name="T34" fmla="*/ 357 w 1562"/>
              <a:gd name="T35" fmla="*/ 1491 h 1491"/>
              <a:gd name="T36" fmla="*/ 357 w 1562"/>
              <a:gd name="T37" fmla="*/ 487 h 1491"/>
              <a:gd name="T38" fmla="*/ 22 w 1562"/>
              <a:gd name="T39" fmla="*/ 487 h 1491"/>
              <a:gd name="T40" fmla="*/ 22 w 1562"/>
              <a:gd name="T41" fmla="*/ 1491 h 1491"/>
              <a:gd name="T42" fmla="*/ 193 w 1562"/>
              <a:gd name="T43" fmla="*/ 0 h 1491"/>
              <a:gd name="T44" fmla="*/ 193 w 1562"/>
              <a:gd name="T45" fmla="*/ 0 h 1491"/>
              <a:gd name="T46" fmla="*/ 0 w 1562"/>
              <a:gd name="T47" fmla="*/ 178 h 1491"/>
              <a:gd name="T48" fmla="*/ 186 w 1562"/>
              <a:gd name="T49" fmla="*/ 347 h 1491"/>
              <a:gd name="T50" fmla="*/ 379 w 1562"/>
              <a:gd name="T51" fmla="*/ 178 h 1491"/>
              <a:gd name="T52" fmla="*/ 193 w 1562"/>
              <a:gd name="T53" fmla="*/ 0 h 14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562" h="1491">
                <a:moveTo>
                  <a:pt x="1176" y="466"/>
                </a:moveTo>
                <a:lnTo>
                  <a:pt x="1176" y="466"/>
                </a:lnTo>
                <a:cubicBezTo>
                  <a:pt x="990" y="466"/>
                  <a:pt x="916" y="562"/>
                  <a:pt x="871" y="636"/>
                </a:cubicBezTo>
                <a:lnTo>
                  <a:pt x="871" y="488"/>
                </a:lnTo>
                <a:lnTo>
                  <a:pt x="538" y="488"/>
                </a:lnTo>
                <a:cubicBezTo>
                  <a:pt x="545" y="584"/>
                  <a:pt x="538" y="1491"/>
                  <a:pt x="538" y="1491"/>
                </a:cubicBezTo>
                <a:lnTo>
                  <a:pt x="871" y="1491"/>
                </a:lnTo>
                <a:lnTo>
                  <a:pt x="871" y="931"/>
                </a:lnTo>
                <a:cubicBezTo>
                  <a:pt x="871" y="901"/>
                  <a:pt x="871" y="872"/>
                  <a:pt x="886" y="850"/>
                </a:cubicBezTo>
                <a:cubicBezTo>
                  <a:pt x="909" y="791"/>
                  <a:pt x="961" y="724"/>
                  <a:pt x="1057" y="724"/>
                </a:cubicBezTo>
                <a:cubicBezTo>
                  <a:pt x="1176" y="724"/>
                  <a:pt x="1228" y="820"/>
                  <a:pt x="1228" y="953"/>
                </a:cubicBezTo>
                <a:lnTo>
                  <a:pt x="1228" y="1491"/>
                </a:lnTo>
                <a:lnTo>
                  <a:pt x="1562" y="1491"/>
                </a:lnTo>
                <a:lnTo>
                  <a:pt x="1562" y="916"/>
                </a:lnTo>
                <a:cubicBezTo>
                  <a:pt x="1562" y="606"/>
                  <a:pt x="1398" y="466"/>
                  <a:pt x="1176" y="466"/>
                </a:cubicBezTo>
                <a:close/>
                <a:moveTo>
                  <a:pt x="22" y="1491"/>
                </a:moveTo>
                <a:lnTo>
                  <a:pt x="22" y="1491"/>
                </a:lnTo>
                <a:lnTo>
                  <a:pt x="357" y="1491"/>
                </a:lnTo>
                <a:lnTo>
                  <a:pt x="357" y="487"/>
                </a:lnTo>
                <a:lnTo>
                  <a:pt x="22" y="487"/>
                </a:lnTo>
                <a:lnTo>
                  <a:pt x="22" y="1491"/>
                </a:lnTo>
                <a:close/>
                <a:moveTo>
                  <a:pt x="193" y="0"/>
                </a:moveTo>
                <a:lnTo>
                  <a:pt x="193" y="0"/>
                </a:lnTo>
                <a:cubicBezTo>
                  <a:pt x="74" y="0"/>
                  <a:pt x="0" y="82"/>
                  <a:pt x="0" y="178"/>
                </a:cubicBezTo>
                <a:cubicBezTo>
                  <a:pt x="0" y="273"/>
                  <a:pt x="74" y="347"/>
                  <a:pt x="186" y="347"/>
                </a:cubicBezTo>
                <a:cubicBezTo>
                  <a:pt x="305" y="347"/>
                  <a:pt x="379" y="273"/>
                  <a:pt x="379" y="178"/>
                </a:cubicBezTo>
                <a:cubicBezTo>
                  <a:pt x="379" y="82"/>
                  <a:pt x="305" y="0"/>
                  <a:pt x="193" y="0"/>
                </a:cubicBez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320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26298F93-E28A-4A6A-B4B1-5DB8B90DBD4D}"/>
              </a:ext>
            </a:extLst>
          </p:cNvPr>
          <p:cNvSpPr/>
          <p:nvPr userDrawn="1"/>
        </p:nvSpPr>
        <p:spPr>
          <a:xfrm rot="2700000">
            <a:off x="23436611" y="5760196"/>
            <a:ext cx="566041" cy="566041"/>
          </a:xfrm>
          <a:prstGeom prst="ellipse">
            <a:avLst/>
          </a:prstGeom>
          <a:noFill/>
          <a:ln w="6350">
            <a:solidFill>
              <a:schemeClr val="tx1"/>
            </a:solidFill>
          </a:ln>
          <a:effectLst>
            <a:outerShdw blurRad="685800" sx="102000" sy="102000" algn="ctr" rotWithShape="0">
              <a:schemeClr val="accent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hlinkClick r:id="rId4"/>
            <a:extLst>
              <a:ext uri="{FF2B5EF4-FFF2-40B4-BE49-F238E27FC236}">
                <a16:creationId xmlns:a16="http://schemas.microsoft.com/office/drawing/2014/main" id="{C85C7F75-41AD-4A3A-8E42-56FFCC54EA35}"/>
              </a:ext>
            </a:extLst>
          </p:cNvPr>
          <p:cNvSpPr/>
          <p:nvPr userDrawn="1"/>
        </p:nvSpPr>
        <p:spPr>
          <a:xfrm>
            <a:off x="23362766" y="7322271"/>
            <a:ext cx="713731" cy="713731"/>
          </a:xfrm>
          <a:prstGeom prst="rect">
            <a:avLst/>
          </a:prstGeom>
          <a:solidFill>
            <a:srgbClr val="00CAC5">
              <a:alpha val="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reeform 8">
            <a:extLst>
              <a:ext uri="{FF2B5EF4-FFF2-40B4-BE49-F238E27FC236}">
                <a16:creationId xmlns:a16="http://schemas.microsoft.com/office/drawing/2014/main" id="{7405FD7B-4C67-4C0D-A50B-CD501A6FFE60}"/>
              </a:ext>
            </a:extLst>
          </p:cNvPr>
          <p:cNvSpPr>
            <a:spLocks/>
          </p:cNvSpPr>
          <p:nvPr userDrawn="1"/>
        </p:nvSpPr>
        <p:spPr bwMode="auto">
          <a:xfrm>
            <a:off x="23583068" y="7580059"/>
            <a:ext cx="273127" cy="223096"/>
          </a:xfrm>
          <a:custGeom>
            <a:avLst/>
            <a:gdLst>
              <a:gd name="T0" fmla="*/ 1491 w 1690"/>
              <a:gd name="T1" fmla="*/ 223 h 1374"/>
              <a:gd name="T2" fmla="*/ 1491 w 1690"/>
              <a:gd name="T3" fmla="*/ 223 h 1374"/>
              <a:gd name="T4" fmla="*/ 1647 w 1690"/>
              <a:gd name="T5" fmla="*/ 30 h 1374"/>
              <a:gd name="T6" fmla="*/ 1424 w 1690"/>
              <a:gd name="T7" fmla="*/ 108 h 1374"/>
              <a:gd name="T8" fmla="*/ 1171 w 1690"/>
              <a:gd name="T9" fmla="*/ 0 h 1374"/>
              <a:gd name="T10" fmla="*/ 821 w 1690"/>
              <a:gd name="T11" fmla="*/ 356 h 1374"/>
              <a:gd name="T12" fmla="*/ 827 w 1690"/>
              <a:gd name="T13" fmla="*/ 428 h 1374"/>
              <a:gd name="T14" fmla="*/ 114 w 1690"/>
              <a:gd name="T15" fmla="*/ 66 h 1374"/>
              <a:gd name="T16" fmla="*/ 72 w 1690"/>
              <a:gd name="T17" fmla="*/ 241 h 1374"/>
              <a:gd name="T18" fmla="*/ 223 w 1690"/>
              <a:gd name="T19" fmla="*/ 530 h 1374"/>
              <a:gd name="T20" fmla="*/ 66 w 1690"/>
              <a:gd name="T21" fmla="*/ 488 h 1374"/>
              <a:gd name="T22" fmla="*/ 66 w 1690"/>
              <a:gd name="T23" fmla="*/ 494 h 1374"/>
              <a:gd name="T24" fmla="*/ 344 w 1690"/>
              <a:gd name="T25" fmla="*/ 832 h 1374"/>
              <a:gd name="T26" fmla="*/ 253 w 1690"/>
              <a:gd name="T27" fmla="*/ 844 h 1374"/>
              <a:gd name="T28" fmla="*/ 187 w 1690"/>
              <a:gd name="T29" fmla="*/ 838 h 1374"/>
              <a:gd name="T30" fmla="*/ 513 w 1690"/>
              <a:gd name="T31" fmla="*/ 1079 h 1374"/>
              <a:gd name="T32" fmla="*/ 78 w 1690"/>
              <a:gd name="T33" fmla="*/ 1230 h 1374"/>
              <a:gd name="T34" fmla="*/ 0 w 1690"/>
              <a:gd name="T35" fmla="*/ 1224 h 1374"/>
              <a:gd name="T36" fmla="*/ 525 w 1690"/>
              <a:gd name="T37" fmla="*/ 1374 h 1374"/>
              <a:gd name="T38" fmla="*/ 1521 w 1690"/>
              <a:gd name="T39" fmla="*/ 392 h 1374"/>
              <a:gd name="T40" fmla="*/ 1521 w 1690"/>
              <a:gd name="T41" fmla="*/ 344 h 1374"/>
              <a:gd name="T42" fmla="*/ 1690 w 1690"/>
              <a:gd name="T43" fmla="*/ 163 h 1374"/>
              <a:gd name="T44" fmla="*/ 1491 w 1690"/>
              <a:gd name="T45" fmla="*/ 223 h 13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690" h="1374">
                <a:moveTo>
                  <a:pt x="1491" y="223"/>
                </a:moveTo>
                <a:lnTo>
                  <a:pt x="1491" y="223"/>
                </a:lnTo>
                <a:cubicBezTo>
                  <a:pt x="1569" y="175"/>
                  <a:pt x="1617" y="108"/>
                  <a:pt x="1647" y="30"/>
                </a:cubicBezTo>
                <a:cubicBezTo>
                  <a:pt x="1581" y="66"/>
                  <a:pt x="1509" y="96"/>
                  <a:pt x="1424" y="108"/>
                </a:cubicBezTo>
                <a:cubicBezTo>
                  <a:pt x="1358" y="42"/>
                  <a:pt x="1273" y="0"/>
                  <a:pt x="1171" y="0"/>
                </a:cubicBezTo>
                <a:cubicBezTo>
                  <a:pt x="977" y="0"/>
                  <a:pt x="821" y="157"/>
                  <a:pt x="821" y="356"/>
                </a:cubicBezTo>
                <a:cubicBezTo>
                  <a:pt x="821" y="374"/>
                  <a:pt x="827" y="404"/>
                  <a:pt x="827" y="428"/>
                </a:cubicBezTo>
                <a:cubicBezTo>
                  <a:pt x="543" y="410"/>
                  <a:pt x="283" y="277"/>
                  <a:pt x="114" y="66"/>
                </a:cubicBezTo>
                <a:cubicBezTo>
                  <a:pt x="84" y="120"/>
                  <a:pt x="72" y="175"/>
                  <a:pt x="72" y="241"/>
                </a:cubicBezTo>
                <a:cubicBezTo>
                  <a:pt x="72" y="362"/>
                  <a:pt x="132" y="470"/>
                  <a:pt x="223" y="530"/>
                </a:cubicBezTo>
                <a:cubicBezTo>
                  <a:pt x="169" y="530"/>
                  <a:pt x="114" y="512"/>
                  <a:pt x="66" y="488"/>
                </a:cubicBezTo>
                <a:lnTo>
                  <a:pt x="66" y="494"/>
                </a:lnTo>
                <a:cubicBezTo>
                  <a:pt x="66" y="663"/>
                  <a:pt x="187" y="802"/>
                  <a:pt x="344" y="832"/>
                </a:cubicBezTo>
                <a:cubicBezTo>
                  <a:pt x="313" y="838"/>
                  <a:pt x="283" y="844"/>
                  <a:pt x="253" y="844"/>
                </a:cubicBezTo>
                <a:cubicBezTo>
                  <a:pt x="235" y="844"/>
                  <a:pt x="211" y="838"/>
                  <a:pt x="187" y="838"/>
                </a:cubicBezTo>
                <a:cubicBezTo>
                  <a:pt x="235" y="977"/>
                  <a:pt x="356" y="1073"/>
                  <a:pt x="513" y="1079"/>
                </a:cubicBezTo>
                <a:cubicBezTo>
                  <a:pt x="392" y="1170"/>
                  <a:pt x="241" y="1230"/>
                  <a:pt x="78" y="1230"/>
                </a:cubicBezTo>
                <a:cubicBezTo>
                  <a:pt x="54" y="1230"/>
                  <a:pt x="24" y="1230"/>
                  <a:pt x="0" y="1224"/>
                </a:cubicBezTo>
                <a:cubicBezTo>
                  <a:pt x="151" y="1326"/>
                  <a:pt x="338" y="1374"/>
                  <a:pt x="525" y="1374"/>
                </a:cubicBezTo>
                <a:cubicBezTo>
                  <a:pt x="1171" y="1374"/>
                  <a:pt x="1521" y="844"/>
                  <a:pt x="1521" y="392"/>
                </a:cubicBezTo>
                <a:lnTo>
                  <a:pt x="1521" y="344"/>
                </a:lnTo>
                <a:cubicBezTo>
                  <a:pt x="1587" y="295"/>
                  <a:pt x="1647" y="235"/>
                  <a:pt x="1690" y="163"/>
                </a:cubicBezTo>
                <a:cubicBezTo>
                  <a:pt x="1635" y="193"/>
                  <a:pt x="1569" y="211"/>
                  <a:pt x="1491" y="223"/>
                </a:cubicBez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3200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91468AF2-4BDF-494C-8E68-D8622BC33408}"/>
              </a:ext>
            </a:extLst>
          </p:cNvPr>
          <p:cNvSpPr/>
          <p:nvPr userDrawn="1"/>
        </p:nvSpPr>
        <p:spPr>
          <a:xfrm rot="2700000">
            <a:off x="23436611" y="7402469"/>
            <a:ext cx="566041" cy="566041"/>
          </a:xfrm>
          <a:prstGeom prst="ellipse">
            <a:avLst/>
          </a:prstGeom>
          <a:noFill/>
          <a:ln w="6350">
            <a:solidFill>
              <a:schemeClr val="tx1"/>
            </a:solidFill>
          </a:ln>
          <a:effectLst>
            <a:outerShdw blurRad="685800" sx="102000" sy="102000" algn="ctr" rotWithShape="0">
              <a:schemeClr val="accent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5FB5C87-D273-4741-B8BC-9DDDF4ACCED6}"/>
              </a:ext>
            </a:extLst>
          </p:cNvPr>
          <p:cNvGrpSpPr/>
          <p:nvPr userDrawn="1"/>
        </p:nvGrpSpPr>
        <p:grpSpPr>
          <a:xfrm>
            <a:off x="949541" y="840709"/>
            <a:ext cx="102546" cy="1150016"/>
            <a:chOff x="447517" y="840709"/>
            <a:chExt cx="102546" cy="1150016"/>
          </a:xfrm>
        </p:grpSpPr>
        <p:sp>
          <p:nvSpPr>
            <p:cNvPr id="19" name="Oval 28">
              <a:extLst>
                <a:ext uri="{FF2B5EF4-FFF2-40B4-BE49-F238E27FC236}">
                  <a16:creationId xmlns:a16="http://schemas.microsoft.com/office/drawing/2014/main" id="{77A9FED8-8494-4471-996B-444CA69B5905}"/>
                </a:ext>
              </a:extLst>
            </p:cNvPr>
            <p:cNvSpPr/>
            <p:nvPr userDrawn="1"/>
          </p:nvSpPr>
          <p:spPr>
            <a:xfrm>
              <a:off x="447517" y="840709"/>
              <a:ext cx="102546" cy="10254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accent3"/>
                </a:solidFill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1456D321-15D2-4AFE-99BB-E6FF0048B358}"/>
                </a:ext>
              </a:extLst>
            </p:cNvPr>
            <p:cNvSpPr/>
            <p:nvPr userDrawn="1"/>
          </p:nvSpPr>
          <p:spPr>
            <a:xfrm>
              <a:off x="447517" y="1192253"/>
              <a:ext cx="102546" cy="10254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accent3"/>
                </a:solidFill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3DF4838A-6FF2-49AF-9BE3-76AE8F2D9BC2}"/>
                </a:ext>
              </a:extLst>
            </p:cNvPr>
            <p:cNvSpPr/>
            <p:nvPr userDrawn="1"/>
          </p:nvSpPr>
          <p:spPr>
            <a:xfrm>
              <a:off x="447517" y="1540216"/>
              <a:ext cx="102546" cy="10254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accent3"/>
                </a:solidFill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8B0876AB-E2E5-4728-B737-74306782D9BA}"/>
                </a:ext>
              </a:extLst>
            </p:cNvPr>
            <p:cNvSpPr/>
            <p:nvPr userDrawn="1"/>
          </p:nvSpPr>
          <p:spPr>
            <a:xfrm>
              <a:off x="447517" y="1888179"/>
              <a:ext cx="102546" cy="10254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accent3"/>
                </a:solidFill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075F4416-25C5-4530-A8BB-0DB995984C1E}"/>
              </a:ext>
            </a:extLst>
          </p:cNvPr>
          <p:cNvGrpSpPr/>
          <p:nvPr userDrawn="1"/>
        </p:nvGrpSpPr>
        <p:grpSpPr>
          <a:xfrm>
            <a:off x="23668358" y="12034374"/>
            <a:ext cx="102546" cy="1150016"/>
            <a:chOff x="447517" y="840709"/>
            <a:chExt cx="102546" cy="1150016"/>
          </a:xfrm>
          <a:solidFill>
            <a:schemeClr val="bg1">
              <a:lumMod val="65000"/>
            </a:schemeClr>
          </a:solidFill>
        </p:grpSpPr>
        <p:sp>
          <p:nvSpPr>
            <p:cNvPr id="24" name="Oval 28">
              <a:extLst>
                <a:ext uri="{FF2B5EF4-FFF2-40B4-BE49-F238E27FC236}">
                  <a16:creationId xmlns:a16="http://schemas.microsoft.com/office/drawing/2014/main" id="{3B70F7E5-CE4C-4884-B385-0FE696B474DF}"/>
                </a:ext>
              </a:extLst>
            </p:cNvPr>
            <p:cNvSpPr/>
            <p:nvPr userDrawn="1"/>
          </p:nvSpPr>
          <p:spPr>
            <a:xfrm>
              <a:off x="447517" y="840709"/>
              <a:ext cx="102546" cy="10254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accent3"/>
                </a:solidFill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DF4C602B-647A-493F-B078-429D1685D74E}"/>
                </a:ext>
              </a:extLst>
            </p:cNvPr>
            <p:cNvSpPr/>
            <p:nvPr userDrawn="1"/>
          </p:nvSpPr>
          <p:spPr>
            <a:xfrm>
              <a:off x="447517" y="1192253"/>
              <a:ext cx="102546" cy="10254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accent3"/>
                </a:solidFill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30110167-0DC5-4BDE-AF07-ADF6A3882B86}"/>
                </a:ext>
              </a:extLst>
            </p:cNvPr>
            <p:cNvSpPr/>
            <p:nvPr userDrawn="1"/>
          </p:nvSpPr>
          <p:spPr>
            <a:xfrm>
              <a:off x="447517" y="1540216"/>
              <a:ext cx="102546" cy="10254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accent3"/>
                </a:solidFill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F472FD95-278B-4473-9721-0ED692FED85A}"/>
                </a:ext>
              </a:extLst>
            </p:cNvPr>
            <p:cNvSpPr/>
            <p:nvPr userDrawn="1"/>
          </p:nvSpPr>
          <p:spPr>
            <a:xfrm>
              <a:off x="447517" y="1888179"/>
              <a:ext cx="102546" cy="10254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accent3"/>
                </a:solidFill>
              </a:endParaRPr>
            </a:p>
          </p:txBody>
        </p:sp>
      </p:grp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7F699BD0-E3CD-4B7D-9308-5545CC5626C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2" y="0"/>
            <a:ext cx="24387177" cy="13716000"/>
          </a:xfrm>
          <a:custGeom>
            <a:avLst/>
            <a:gdLst>
              <a:gd name="connsiteX0" fmla="*/ 0 w 4593771"/>
              <a:gd name="connsiteY0" fmla="*/ 0 h 4085303"/>
              <a:gd name="connsiteX1" fmla="*/ 4593771 w 4593771"/>
              <a:gd name="connsiteY1" fmla="*/ 0 h 4085303"/>
              <a:gd name="connsiteX2" fmla="*/ 4593771 w 4593771"/>
              <a:gd name="connsiteY2" fmla="*/ 4085303 h 4085303"/>
              <a:gd name="connsiteX3" fmla="*/ 0 w 4593771"/>
              <a:gd name="connsiteY3" fmla="*/ 4085303 h 4085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93771" h="4085303">
                <a:moveTo>
                  <a:pt x="0" y="0"/>
                </a:moveTo>
                <a:lnTo>
                  <a:pt x="4593771" y="0"/>
                </a:lnTo>
                <a:lnTo>
                  <a:pt x="4593771" y="4085303"/>
                </a:lnTo>
                <a:lnTo>
                  <a:pt x="0" y="4085303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24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86239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9" presetClass="entr" presetSubtype="0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9" presetClass="entr" presetSubtype="0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9" presetClass="entr" presetSubtype="0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8" presetClass="emph" presetSubtype="0" repeatCount="indefinite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Rot by="21600000">
                                      <p:cBhvr>
                                        <p:cTn id="30" dur="6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1" presetID="8" presetClass="emph" presetSubtype="0" repeatCount="indefinite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21600000">
                                      <p:cBhvr>
                                        <p:cTn id="32" dur="5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3" presetID="8" presetClass="emph" presetSubtype="0" repeatCount="indefinite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Rot by="21600000">
                                      <p:cBhvr>
                                        <p:cTn id="34" dur="4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5" presetID="8" presetClass="emph" presetSubtype="0" repeatCount="indefinite" fill="hold" grpId="1" nodeType="withEffect">
                                  <p:stCondLst>
                                    <p:cond delay="900"/>
                                  </p:stCondLst>
                                  <p:childTnLst>
                                    <p:animRot by="21600000">
                                      <p:cBhvr>
                                        <p:cTn id="36" dur="3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7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49" presetClass="entr" presetSubtype="0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49" presetClass="entr" presetSubtype="0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49" presetClass="entr" presetSubtype="0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49" presetClass="entr" presetSubtype="0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49" presetClass="entr" presetSubtype="0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23" presetClass="entr" presetSubtype="28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9" dur="16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16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 animBg="1"/>
      <p:bldP spid="4" grpId="1" animBg="1"/>
      <p:bldP spid="5" grpId="0" animBg="1"/>
      <p:bldP spid="5" grpId="1" animBg="1"/>
      <p:bldP spid="6" grpId="0" animBg="1"/>
      <p:bldP spid="6" grpId="1" animBg="1"/>
      <p:bldP spid="7" grpId="0" animBg="1"/>
      <p:bldP spid="7" grpId="1" animBg="1"/>
      <p:bldP spid="10" grpId="0" animBg="1"/>
      <p:bldP spid="11" grpId="0" animBg="1"/>
      <p:bldP spid="13" grpId="0" animBg="1"/>
      <p:bldP spid="14" grpId="0" animBg="1"/>
      <p:bldP spid="16" grpId="0" animBg="1"/>
      <p:bldP spid="17" grpId="0" animBg="1"/>
      <p:bldP spid="28" grpId="0" animBg="1"/>
    </p:bld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3F2F8012-EE85-4E61-B325-F04045D1F0A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62800" y="1295400"/>
            <a:ext cx="15889288" cy="11010900"/>
          </a:xfrm>
          <a:custGeom>
            <a:avLst/>
            <a:gdLst>
              <a:gd name="connsiteX0" fmla="*/ 0 w 15889288"/>
              <a:gd name="connsiteY0" fmla="*/ 0 h 11010900"/>
              <a:gd name="connsiteX1" fmla="*/ 15889288 w 15889288"/>
              <a:gd name="connsiteY1" fmla="*/ 0 h 11010900"/>
              <a:gd name="connsiteX2" fmla="*/ 15889288 w 15889288"/>
              <a:gd name="connsiteY2" fmla="*/ 11010900 h 11010900"/>
              <a:gd name="connsiteX3" fmla="*/ 0 w 15889288"/>
              <a:gd name="connsiteY3" fmla="*/ 11010900 h 11010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889288" h="11010900">
                <a:moveTo>
                  <a:pt x="0" y="0"/>
                </a:moveTo>
                <a:lnTo>
                  <a:pt x="15889288" y="0"/>
                </a:lnTo>
                <a:lnTo>
                  <a:pt x="15889288" y="11010900"/>
                </a:lnTo>
                <a:lnTo>
                  <a:pt x="0" y="11010900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2400"/>
            </a:lvl1pPr>
          </a:lstStyle>
          <a:p>
            <a:endParaRPr lang="en-US"/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FCCFAD53-D99C-4483-BBC4-1C6952C442A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62800" y="14024763"/>
            <a:ext cx="15889288" cy="11010900"/>
          </a:xfrm>
          <a:custGeom>
            <a:avLst/>
            <a:gdLst>
              <a:gd name="connsiteX0" fmla="*/ 0 w 15889288"/>
              <a:gd name="connsiteY0" fmla="*/ 0 h 11010900"/>
              <a:gd name="connsiteX1" fmla="*/ 15889288 w 15889288"/>
              <a:gd name="connsiteY1" fmla="*/ 0 h 11010900"/>
              <a:gd name="connsiteX2" fmla="*/ 15889288 w 15889288"/>
              <a:gd name="connsiteY2" fmla="*/ 11010900 h 11010900"/>
              <a:gd name="connsiteX3" fmla="*/ 0 w 15889288"/>
              <a:gd name="connsiteY3" fmla="*/ 11010900 h 11010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889288" h="11010900">
                <a:moveTo>
                  <a:pt x="0" y="0"/>
                </a:moveTo>
                <a:lnTo>
                  <a:pt x="15889288" y="0"/>
                </a:lnTo>
                <a:lnTo>
                  <a:pt x="15889288" y="11010900"/>
                </a:lnTo>
                <a:lnTo>
                  <a:pt x="0" y="11010900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2400"/>
            </a:lvl1pPr>
          </a:lstStyle>
          <a:p>
            <a:endParaRPr lang="en-US"/>
          </a:p>
        </p:txBody>
      </p:sp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2B27640E-DC5B-4F3D-B3BD-3BD42A3AC63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62800" y="-11576304"/>
            <a:ext cx="15889288" cy="11010900"/>
          </a:xfrm>
          <a:custGeom>
            <a:avLst/>
            <a:gdLst>
              <a:gd name="connsiteX0" fmla="*/ 0 w 15889288"/>
              <a:gd name="connsiteY0" fmla="*/ 0 h 11010900"/>
              <a:gd name="connsiteX1" fmla="*/ 15889288 w 15889288"/>
              <a:gd name="connsiteY1" fmla="*/ 0 h 11010900"/>
              <a:gd name="connsiteX2" fmla="*/ 15889288 w 15889288"/>
              <a:gd name="connsiteY2" fmla="*/ 11010900 h 11010900"/>
              <a:gd name="connsiteX3" fmla="*/ 0 w 15889288"/>
              <a:gd name="connsiteY3" fmla="*/ 11010900 h 11010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889288" h="11010900">
                <a:moveTo>
                  <a:pt x="0" y="0"/>
                </a:moveTo>
                <a:lnTo>
                  <a:pt x="15889288" y="0"/>
                </a:lnTo>
                <a:lnTo>
                  <a:pt x="15889288" y="11010900"/>
                </a:lnTo>
                <a:lnTo>
                  <a:pt x="0" y="11010900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2400"/>
            </a:lvl1pPr>
          </a:lstStyle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91EFD73-3EFC-4E7E-977E-6045C0E97022}"/>
              </a:ext>
            </a:extLst>
          </p:cNvPr>
          <p:cNvSpPr txBox="1"/>
          <p:nvPr userDrawn="1"/>
        </p:nvSpPr>
        <p:spPr>
          <a:xfrm rot="16200000">
            <a:off x="-1151185" y="6311280"/>
            <a:ext cx="4303999" cy="40011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US" sz="2000" b="1">
                <a:solidFill>
                  <a:schemeClr val="tx1"/>
                </a:solidFill>
                <a:latin typeface="+mj-lt"/>
              </a:rPr>
              <a:t>Nova</a:t>
            </a:r>
            <a:r>
              <a:rPr lang="en-US" sz="2000">
                <a:solidFill>
                  <a:schemeClr val="tx1"/>
                </a:solidFill>
              </a:rPr>
              <a:t> presentation to DesignTuts team</a:t>
            </a:r>
          </a:p>
        </p:txBody>
      </p:sp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70C2095F-97D9-4094-BD36-0951741A08F7}"/>
              </a:ext>
            </a:extLst>
          </p:cNvPr>
          <p:cNvSpPr/>
          <p:nvPr userDrawn="1"/>
        </p:nvSpPr>
        <p:spPr>
          <a:xfrm rot="5400000">
            <a:off x="-1196240" y="10738435"/>
            <a:ext cx="4173803" cy="178132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5B3ED305-11AC-4DF6-95E5-0D658AC4E0A0}"/>
              </a:ext>
            </a:extLst>
          </p:cNvPr>
          <p:cNvSpPr/>
          <p:nvPr userDrawn="1"/>
        </p:nvSpPr>
        <p:spPr>
          <a:xfrm rot="2700000">
            <a:off x="499426" y="9056575"/>
            <a:ext cx="1002776" cy="1002776"/>
          </a:xfrm>
          <a:prstGeom prst="roundRect">
            <a:avLst>
              <a:gd name="adj" fmla="val 21316"/>
            </a:avLst>
          </a:prstGeom>
          <a:solidFill>
            <a:schemeClr val="accent1"/>
          </a:solidFill>
          <a:ln>
            <a:noFill/>
          </a:ln>
          <a:effectLst>
            <a:outerShdw blurRad="685800" sx="102000" sy="102000" algn="ctr" rotWithShape="0">
              <a:schemeClr val="accent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822A108-D151-4EA8-9380-3C6EB288932B}"/>
              </a:ext>
            </a:extLst>
          </p:cNvPr>
          <p:cNvSpPr/>
          <p:nvPr userDrawn="1"/>
        </p:nvSpPr>
        <p:spPr>
          <a:xfrm rot="2700000">
            <a:off x="586444" y="9143594"/>
            <a:ext cx="828741" cy="828741"/>
          </a:xfrm>
          <a:prstGeom prst="roundRect">
            <a:avLst>
              <a:gd name="adj" fmla="val 21316"/>
            </a:avLst>
          </a:prstGeom>
          <a:solidFill>
            <a:schemeClr val="accent1"/>
          </a:solidFill>
          <a:ln>
            <a:noFill/>
          </a:ln>
          <a:effectLst>
            <a:outerShdw blurRad="685800" sx="102000" sy="102000" algn="ctr" rotWithShape="0">
              <a:schemeClr val="accent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503DE27B-C85C-4D54-A022-976B2D0DD19A}"/>
              </a:ext>
            </a:extLst>
          </p:cNvPr>
          <p:cNvSpPr/>
          <p:nvPr userDrawn="1"/>
        </p:nvSpPr>
        <p:spPr>
          <a:xfrm rot="2700000">
            <a:off x="689492" y="9249392"/>
            <a:ext cx="622645" cy="619422"/>
          </a:xfrm>
          <a:prstGeom prst="roundRect">
            <a:avLst>
              <a:gd name="adj" fmla="val 21316"/>
            </a:avLst>
          </a:prstGeom>
          <a:solidFill>
            <a:schemeClr val="accent1"/>
          </a:solidFill>
          <a:ln>
            <a:noFill/>
          </a:ln>
          <a:effectLst>
            <a:outerShdw blurRad="685800" sx="102000" sy="102000" algn="ctr" rotWithShape="0">
              <a:schemeClr val="accent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40B9A2B0-4CF5-4B3C-8C18-E65E2B8C917A}"/>
              </a:ext>
            </a:extLst>
          </p:cNvPr>
          <p:cNvSpPr/>
          <p:nvPr userDrawn="1"/>
        </p:nvSpPr>
        <p:spPr>
          <a:xfrm rot="2700000">
            <a:off x="788177" y="9345328"/>
            <a:ext cx="425275" cy="425275"/>
          </a:xfrm>
          <a:prstGeom prst="roundRect">
            <a:avLst>
              <a:gd name="adj" fmla="val 21316"/>
            </a:avLst>
          </a:prstGeom>
          <a:solidFill>
            <a:schemeClr val="accent1"/>
          </a:solidFill>
          <a:ln>
            <a:noFill/>
          </a:ln>
          <a:effectLst>
            <a:outerShdw blurRad="685800" sx="102000" sy="102000" algn="ctr" rotWithShape="0">
              <a:schemeClr val="accent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F81A6E2-5B09-457E-812E-51511A381940}"/>
              </a:ext>
            </a:extLst>
          </p:cNvPr>
          <p:cNvSpPr txBox="1">
            <a:spLocks/>
          </p:cNvSpPr>
          <p:nvPr userDrawn="1"/>
        </p:nvSpPr>
        <p:spPr>
          <a:xfrm>
            <a:off x="877068" y="9239707"/>
            <a:ext cx="247493" cy="582761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2000" b="1" smtClean="0">
                <a:solidFill>
                  <a:schemeClr val="bg1"/>
                </a:solidFill>
                <a:latin typeface="+mj-lt"/>
              </a:rPr>
              <a:pPr algn="ctr"/>
              <a:t>‹#›</a:t>
            </a:fld>
            <a:endParaRPr lang="en-US" sz="12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9" name="Rectangle 8">
            <a:hlinkClick r:id="rId2"/>
            <a:extLst>
              <a:ext uri="{FF2B5EF4-FFF2-40B4-BE49-F238E27FC236}">
                <a16:creationId xmlns:a16="http://schemas.microsoft.com/office/drawing/2014/main" id="{DFEF7234-7D16-4547-AD06-EF442D231C26}"/>
              </a:ext>
            </a:extLst>
          </p:cNvPr>
          <p:cNvSpPr/>
          <p:nvPr userDrawn="1"/>
        </p:nvSpPr>
        <p:spPr>
          <a:xfrm>
            <a:off x="23362766" y="6501135"/>
            <a:ext cx="713731" cy="713731"/>
          </a:xfrm>
          <a:prstGeom prst="rect">
            <a:avLst/>
          </a:prstGeom>
          <a:solidFill>
            <a:srgbClr val="00CAC5">
              <a:alpha val="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35756953-F73D-473A-AAB6-F6742A70FB12}"/>
              </a:ext>
            </a:extLst>
          </p:cNvPr>
          <p:cNvSpPr/>
          <p:nvPr userDrawn="1"/>
        </p:nvSpPr>
        <p:spPr>
          <a:xfrm rot="2700000">
            <a:off x="23436611" y="6581333"/>
            <a:ext cx="566041" cy="566041"/>
          </a:xfrm>
          <a:prstGeom prst="ellipse">
            <a:avLst/>
          </a:prstGeom>
          <a:noFill/>
          <a:ln w="6350">
            <a:solidFill>
              <a:schemeClr val="tx1"/>
            </a:solidFill>
          </a:ln>
          <a:effectLst>
            <a:outerShdw blurRad="685800" sx="102000" sy="102000" algn="ctr" rotWithShape="0">
              <a:schemeClr val="accent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reeform 6">
            <a:extLst>
              <a:ext uri="{FF2B5EF4-FFF2-40B4-BE49-F238E27FC236}">
                <a16:creationId xmlns:a16="http://schemas.microsoft.com/office/drawing/2014/main" id="{9E41AB32-3111-45E8-A763-621C6AB956B7}"/>
              </a:ext>
            </a:extLst>
          </p:cNvPr>
          <p:cNvSpPr>
            <a:spLocks/>
          </p:cNvSpPr>
          <p:nvPr userDrawn="1"/>
        </p:nvSpPr>
        <p:spPr bwMode="auto">
          <a:xfrm>
            <a:off x="23662745" y="6742125"/>
            <a:ext cx="113773" cy="244458"/>
          </a:xfrm>
          <a:custGeom>
            <a:avLst/>
            <a:gdLst>
              <a:gd name="T0" fmla="*/ 573 w 704"/>
              <a:gd name="T1" fmla="*/ 255 h 1506"/>
              <a:gd name="T2" fmla="*/ 573 w 704"/>
              <a:gd name="T3" fmla="*/ 255 h 1506"/>
              <a:gd name="T4" fmla="*/ 704 w 704"/>
              <a:gd name="T5" fmla="*/ 255 h 1506"/>
              <a:gd name="T6" fmla="*/ 704 w 704"/>
              <a:gd name="T7" fmla="*/ 0 h 1506"/>
              <a:gd name="T8" fmla="*/ 492 w 704"/>
              <a:gd name="T9" fmla="*/ 0 h 1506"/>
              <a:gd name="T10" fmla="*/ 155 w 704"/>
              <a:gd name="T11" fmla="*/ 336 h 1506"/>
              <a:gd name="T12" fmla="*/ 155 w 704"/>
              <a:gd name="T13" fmla="*/ 493 h 1506"/>
              <a:gd name="T14" fmla="*/ 0 w 704"/>
              <a:gd name="T15" fmla="*/ 493 h 1506"/>
              <a:gd name="T16" fmla="*/ 0 w 704"/>
              <a:gd name="T17" fmla="*/ 749 h 1506"/>
              <a:gd name="T18" fmla="*/ 155 w 704"/>
              <a:gd name="T19" fmla="*/ 749 h 1506"/>
              <a:gd name="T20" fmla="*/ 155 w 704"/>
              <a:gd name="T21" fmla="*/ 1506 h 1506"/>
              <a:gd name="T22" fmla="*/ 467 w 704"/>
              <a:gd name="T23" fmla="*/ 1506 h 1506"/>
              <a:gd name="T24" fmla="*/ 467 w 704"/>
              <a:gd name="T25" fmla="*/ 749 h 1506"/>
              <a:gd name="T26" fmla="*/ 679 w 704"/>
              <a:gd name="T27" fmla="*/ 749 h 1506"/>
              <a:gd name="T28" fmla="*/ 704 w 704"/>
              <a:gd name="T29" fmla="*/ 493 h 1506"/>
              <a:gd name="T30" fmla="*/ 467 w 704"/>
              <a:gd name="T31" fmla="*/ 493 h 1506"/>
              <a:gd name="T32" fmla="*/ 467 w 704"/>
              <a:gd name="T33" fmla="*/ 362 h 1506"/>
              <a:gd name="T34" fmla="*/ 573 w 704"/>
              <a:gd name="T35" fmla="*/ 255 h 1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04" h="1506">
                <a:moveTo>
                  <a:pt x="573" y="255"/>
                </a:moveTo>
                <a:lnTo>
                  <a:pt x="573" y="255"/>
                </a:lnTo>
                <a:lnTo>
                  <a:pt x="704" y="255"/>
                </a:lnTo>
                <a:lnTo>
                  <a:pt x="704" y="0"/>
                </a:lnTo>
                <a:lnTo>
                  <a:pt x="492" y="0"/>
                </a:lnTo>
                <a:cubicBezTo>
                  <a:pt x="243" y="0"/>
                  <a:pt x="155" y="124"/>
                  <a:pt x="155" y="336"/>
                </a:cubicBezTo>
                <a:lnTo>
                  <a:pt x="155" y="493"/>
                </a:lnTo>
                <a:lnTo>
                  <a:pt x="0" y="493"/>
                </a:lnTo>
                <a:lnTo>
                  <a:pt x="0" y="749"/>
                </a:lnTo>
                <a:lnTo>
                  <a:pt x="155" y="749"/>
                </a:lnTo>
                <a:lnTo>
                  <a:pt x="155" y="1506"/>
                </a:lnTo>
                <a:lnTo>
                  <a:pt x="467" y="1506"/>
                </a:lnTo>
                <a:lnTo>
                  <a:pt x="467" y="749"/>
                </a:lnTo>
                <a:lnTo>
                  <a:pt x="679" y="749"/>
                </a:lnTo>
                <a:lnTo>
                  <a:pt x="704" y="493"/>
                </a:lnTo>
                <a:lnTo>
                  <a:pt x="467" y="493"/>
                </a:lnTo>
                <a:lnTo>
                  <a:pt x="467" y="362"/>
                </a:lnTo>
                <a:cubicBezTo>
                  <a:pt x="467" y="293"/>
                  <a:pt x="473" y="255"/>
                  <a:pt x="573" y="255"/>
                </a:cubicBez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3200"/>
          </a:p>
        </p:txBody>
      </p:sp>
      <p:sp>
        <p:nvSpPr>
          <p:cNvPr id="12" name="Rectangle 11">
            <a:hlinkClick r:id="rId3"/>
            <a:extLst>
              <a:ext uri="{FF2B5EF4-FFF2-40B4-BE49-F238E27FC236}">
                <a16:creationId xmlns:a16="http://schemas.microsoft.com/office/drawing/2014/main" id="{A53A1220-5AB6-40B6-A7C2-28F939B5D56E}"/>
              </a:ext>
            </a:extLst>
          </p:cNvPr>
          <p:cNvSpPr/>
          <p:nvPr userDrawn="1"/>
        </p:nvSpPr>
        <p:spPr>
          <a:xfrm>
            <a:off x="23362766" y="5679998"/>
            <a:ext cx="713731" cy="713731"/>
          </a:xfrm>
          <a:prstGeom prst="rect">
            <a:avLst/>
          </a:prstGeom>
          <a:solidFill>
            <a:srgbClr val="00CAC5">
              <a:alpha val="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Freeform 7">
            <a:extLst>
              <a:ext uri="{FF2B5EF4-FFF2-40B4-BE49-F238E27FC236}">
                <a16:creationId xmlns:a16="http://schemas.microsoft.com/office/drawing/2014/main" id="{2407B0DC-8427-4721-AAA2-A667E86D7C2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23593484" y="5915790"/>
            <a:ext cx="252294" cy="242147"/>
          </a:xfrm>
          <a:custGeom>
            <a:avLst/>
            <a:gdLst>
              <a:gd name="T0" fmla="*/ 1176 w 1562"/>
              <a:gd name="T1" fmla="*/ 466 h 1491"/>
              <a:gd name="T2" fmla="*/ 1176 w 1562"/>
              <a:gd name="T3" fmla="*/ 466 h 1491"/>
              <a:gd name="T4" fmla="*/ 871 w 1562"/>
              <a:gd name="T5" fmla="*/ 636 h 1491"/>
              <a:gd name="T6" fmla="*/ 871 w 1562"/>
              <a:gd name="T7" fmla="*/ 488 h 1491"/>
              <a:gd name="T8" fmla="*/ 538 w 1562"/>
              <a:gd name="T9" fmla="*/ 488 h 1491"/>
              <a:gd name="T10" fmla="*/ 538 w 1562"/>
              <a:gd name="T11" fmla="*/ 1491 h 1491"/>
              <a:gd name="T12" fmla="*/ 871 w 1562"/>
              <a:gd name="T13" fmla="*/ 1491 h 1491"/>
              <a:gd name="T14" fmla="*/ 871 w 1562"/>
              <a:gd name="T15" fmla="*/ 931 h 1491"/>
              <a:gd name="T16" fmla="*/ 886 w 1562"/>
              <a:gd name="T17" fmla="*/ 850 h 1491"/>
              <a:gd name="T18" fmla="*/ 1057 w 1562"/>
              <a:gd name="T19" fmla="*/ 724 h 1491"/>
              <a:gd name="T20" fmla="*/ 1228 w 1562"/>
              <a:gd name="T21" fmla="*/ 953 h 1491"/>
              <a:gd name="T22" fmla="*/ 1228 w 1562"/>
              <a:gd name="T23" fmla="*/ 1491 h 1491"/>
              <a:gd name="T24" fmla="*/ 1562 w 1562"/>
              <a:gd name="T25" fmla="*/ 1491 h 1491"/>
              <a:gd name="T26" fmla="*/ 1562 w 1562"/>
              <a:gd name="T27" fmla="*/ 916 h 1491"/>
              <a:gd name="T28" fmla="*/ 1176 w 1562"/>
              <a:gd name="T29" fmla="*/ 466 h 1491"/>
              <a:gd name="T30" fmla="*/ 22 w 1562"/>
              <a:gd name="T31" fmla="*/ 1491 h 1491"/>
              <a:gd name="T32" fmla="*/ 22 w 1562"/>
              <a:gd name="T33" fmla="*/ 1491 h 1491"/>
              <a:gd name="T34" fmla="*/ 357 w 1562"/>
              <a:gd name="T35" fmla="*/ 1491 h 1491"/>
              <a:gd name="T36" fmla="*/ 357 w 1562"/>
              <a:gd name="T37" fmla="*/ 487 h 1491"/>
              <a:gd name="T38" fmla="*/ 22 w 1562"/>
              <a:gd name="T39" fmla="*/ 487 h 1491"/>
              <a:gd name="T40" fmla="*/ 22 w 1562"/>
              <a:gd name="T41" fmla="*/ 1491 h 1491"/>
              <a:gd name="T42" fmla="*/ 193 w 1562"/>
              <a:gd name="T43" fmla="*/ 0 h 1491"/>
              <a:gd name="T44" fmla="*/ 193 w 1562"/>
              <a:gd name="T45" fmla="*/ 0 h 1491"/>
              <a:gd name="T46" fmla="*/ 0 w 1562"/>
              <a:gd name="T47" fmla="*/ 178 h 1491"/>
              <a:gd name="T48" fmla="*/ 186 w 1562"/>
              <a:gd name="T49" fmla="*/ 347 h 1491"/>
              <a:gd name="T50" fmla="*/ 379 w 1562"/>
              <a:gd name="T51" fmla="*/ 178 h 1491"/>
              <a:gd name="T52" fmla="*/ 193 w 1562"/>
              <a:gd name="T53" fmla="*/ 0 h 14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562" h="1491">
                <a:moveTo>
                  <a:pt x="1176" y="466"/>
                </a:moveTo>
                <a:lnTo>
                  <a:pt x="1176" y="466"/>
                </a:lnTo>
                <a:cubicBezTo>
                  <a:pt x="990" y="466"/>
                  <a:pt x="916" y="562"/>
                  <a:pt x="871" y="636"/>
                </a:cubicBezTo>
                <a:lnTo>
                  <a:pt x="871" y="488"/>
                </a:lnTo>
                <a:lnTo>
                  <a:pt x="538" y="488"/>
                </a:lnTo>
                <a:cubicBezTo>
                  <a:pt x="545" y="584"/>
                  <a:pt x="538" y="1491"/>
                  <a:pt x="538" y="1491"/>
                </a:cubicBezTo>
                <a:lnTo>
                  <a:pt x="871" y="1491"/>
                </a:lnTo>
                <a:lnTo>
                  <a:pt x="871" y="931"/>
                </a:lnTo>
                <a:cubicBezTo>
                  <a:pt x="871" y="901"/>
                  <a:pt x="871" y="872"/>
                  <a:pt x="886" y="850"/>
                </a:cubicBezTo>
                <a:cubicBezTo>
                  <a:pt x="909" y="791"/>
                  <a:pt x="961" y="724"/>
                  <a:pt x="1057" y="724"/>
                </a:cubicBezTo>
                <a:cubicBezTo>
                  <a:pt x="1176" y="724"/>
                  <a:pt x="1228" y="820"/>
                  <a:pt x="1228" y="953"/>
                </a:cubicBezTo>
                <a:lnTo>
                  <a:pt x="1228" y="1491"/>
                </a:lnTo>
                <a:lnTo>
                  <a:pt x="1562" y="1491"/>
                </a:lnTo>
                <a:lnTo>
                  <a:pt x="1562" y="916"/>
                </a:lnTo>
                <a:cubicBezTo>
                  <a:pt x="1562" y="606"/>
                  <a:pt x="1398" y="466"/>
                  <a:pt x="1176" y="466"/>
                </a:cubicBezTo>
                <a:close/>
                <a:moveTo>
                  <a:pt x="22" y="1491"/>
                </a:moveTo>
                <a:lnTo>
                  <a:pt x="22" y="1491"/>
                </a:lnTo>
                <a:lnTo>
                  <a:pt x="357" y="1491"/>
                </a:lnTo>
                <a:lnTo>
                  <a:pt x="357" y="487"/>
                </a:lnTo>
                <a:lnTo>
                  <a:pt x="22" y="487"/>
                </a:lnTo>
                <a:lnTo>
                  <a:pt x="22" y="1491"/>
                </a:lnTo>
                <a:close/>
                <a:moveTo>
                  <a:pt x="193" y="0"/>
                </a:moveTo>
                <a:lnTo>
                  <a:pt x="193" y="0"/>
                </a:lnTo>
                <a:cubicBezTo>
                  <a:pt x="74" y="0"/>
                  <a:pt x="0" y="82"/>
                  <a:pt x="0" y="178"/>
                </a:cubicBezTo>
                <a:cubicBezTo>
                  <a:pt x="0" y="273"/>
                  <a:pt x="74" y="347"/>
                  <a:pt x="186" y="347"/>
                </a:cubicBezTo>
                <a:cubicBezTo>
                  <a:pt x="305" y="347"/>
                  <a:pt x="379" y="273"/>
                  <a:pt x="379" y="178"/>
                </a:cubicBezTo>
                <a:cubicBezTo>
                  <a:pt x="379" y="82"/>
                  <a:pt x="305" y="0"/>
                  <a:pt x="193" y="0"/>
                </a:cubicBez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320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26298F93-E28A-4A6A-B4B1-5DB8B90DBD4D}"/>
              </a:ext>
            </a:extLst>
          </p:cNvPr>
          <p:cNvSpPr/>
          <p:nvPr userDrawn="1"/>
        </p:nvSpPr>
        <p:spPr>
          <a:xfrm rot="2700000">
            <a:off x="23436611" y="5760196"/>
            <a:ext cx="566041" cy="566041"/>
          </a:xfrm>
          <a:prstGeom prst="ellipse">
            <a:avLst/>
          </a:prstGeom>
          <a:noFill/>
          <a:ln w="6350">
            <a:solidFill>
              <a:schemeClr val="tx1"/>
            </a:solidFill>
          </a:ln>
          <a:effectLst>
            <a:outerShdw blurRad="685800" sx="102000" sy="102000" algn="ctr" rotWithShape="0">
              <a:schemeClr val="accent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hlinkClick r:id="rId4"/>
            <a:extLst>
              <a:ext uri="{FF2B5EF4-FFF2-40B4-BE49-F238E27FC236}">
                <a16:creationId xmlns:a16="http://schemas.microsoft.com/office/drawing/2014/main" id="{C85C7F75-41AD-4A3A-8E42-56FFCC54EA35}"/>
              </a:ext>
            </a:extLst>
          </p:cNvPr>
          <p:cNvSpPr/>
          <p:nvPr userDrawn="1"/>
        </p:nvSpPr>
        <p:spPr>
          <a:xfrm>
            <a:off x="23362766" y="7322271"/>
            <a:ext cx="713731" cy="713731"/>
          </a:xfrm>
          <a:prstGeom prst="rect">
            <a:avLst/>
          </a:prstGeom>
          <a:solidFill>
            <a:srgbClr val="00CAC5">
              <a:alpha val="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reeform 8">
            <a:extLst>
              <a:ext uri="{FF2B5EF4-FFF2-40B4-BE49-F238E27FC236}">
                <a16:creationId xmlns:a16="http://schemas.microsoft.com/office/drawing/2014/main" id="{7405FD7B-4C67-4C0D-A50B-CD501A6FFE60}"/>
              </a:ext>
            </a:extLst>
          </p:cNvPr>
          <p:cNvSpPr>
            <a:spLocks/>
          </p:cNvSpPr>
          <p:nvPr userDrawn="1"/>
        </p:nvSpPr>
        <p:spPr bwMode="auto">
          <a:xfrm>
            <a:off x="23583068" y="7580059"/>
            <a:ext cx="273127" cy="223096"/>
          </a:xfrm>
          <a:custGeom>
            <a:avLst/>
            <a:gdLst>
              <a:gd name="T0" fmla="*/ 1491 w 1690"/>
              <a:gd name="T1" fmla="*/ 223 h 1374"/>
              <a:gd name="T2" fmla="*/ 1491 w 1690"/>
              <a:gd name="T3" fmla="*/ 223 h 1374"/>
              <a:gd name="T4" fmla="*/ 1647 w 1690"/>
              <a:gd name="T5" fmla="*/ 30 h 1374"/>
              <a:gd name="T6" fmla="*/ 1424 w 1690"/>
              <a:gd name="T7" fmla="*/ 108 h 1374"/>
              <a:gd name="T8" fmla="*/ 1171 w 1690"/>
              <a:gd name="T9" fmla="*/ 0 h 1374"/>
              <a:gd name="T10" fmla="*/ 821 w 1690"/>
              <a:gd name="T11" fmla="*/ 356 h 1374"/>
              <a:gd name="T12" fmla="*/ 827 w 1690"/>
              <a:gd name="T13" fmla="*/ 428 h 1374"/>
              <a:gd name="T14" fmla="*/ 114 w 1690"/>
              <a:gd name="T15" fmla="*/ 66 h 1374"/>
              <a:gd name="T16" fmla="*/ 72 w 1690"/>
              <a:gd name="T17" fmla="*/ 241 h 1374"/>
              <a:gd name="T18" fmla="*/ 223 w 1690"/>
              <a:gd name="T19" fmla="*/ 530 h 1374"/>
              <a:gd name="T20" fmla="*/ 66 w 1690"/>
              <a:gd name="T21" fmla="*/ 488 h 1374"/>
              <a:gd name="T22" fmla="*/ 66 w 1690"/>
              <a:gd name="T23" fmla="*/ 494 h 1374"/>
              <a:gd name="T24" fmla="*/ 344 w 1690"/>
              <a:gd name="T25" fmla="*/ 832 h 1374"/>
              <a:gd name="T26" fmla="*/ 253 w 1690"/>
              <a:gd name="T27" fmla="*/ 844 h 1374"/>
              <a:gd name="T28" fmla="*/ 187 w 1690"/>
              <a:gd name="T29" fmla="*/ 838 h 1374"/>
              <a:gd name="T30" fmla="*/ 513 w 1690"/>
              <a:gd name="T31" fmla="*/ 1079 h 1374"/>
              <a:gd name="T32" fmla="*/ 78 w 1690"/>
              <a:gd name="T33" fmla="*/ 1230 h 1374"/>
              <a:gd name="T34" fmla="*/ 0 w 1690"/>
              <a:gd name="T35" fmla="*/ 1224 h 1374"/>
              <a:gd name="T36" fmla="*/ 525 w 1690"/>
              <a:gd name="T37" fmla="*/ 1374 h 1374"/>
              <a:gd name="T38" fmla="*/ 1521 w 1690"/>
              <a:gd name="T39" fmla="*/ 392 h 1374"/>
              <a:gd name="T40" fmla="*/ 1521 w 1690"/>
              <a:gd name="T41" fmla="*/ 344 h 1374"/>
              <a:gd name="T42" fmla="*/ 1690 w 1690"/>
              <a:gd name="T43" fmla="*/ 163 h 1374"/>
              <a:gd name="T44" fmla="*/ 1491 w 1690"/>
              <a:gd name="T45" fmla="*/ 223 h 13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690" h="1374">
                <a:moveTo>
                  <a:pt x="1491" y="223"/>
                </a:moveTo>
                <a:lnTo>
                  <a:pt x="1491" y="223"/>
                </a:lnTo>
                <a:cubicBezTo>
                  <a:pt x="1569" y="175"/>
                  <a:pt x="1617" y="108"/>
                  <a:pt x="1647" y="30"/>
                </a:cubicBezTo>
                <a:cubicBezTo>
                  <a:pt x="1581" y="66"/>
                  <a:pt x="1509" y="96"/>
                  <a:pt x="1424" y="108"/>
                </a:cubicBezTo>
                <a:cubicBezTo>
                  <a:pt x="1358" y="42"/>
                  <a:pt x="1273" y="0"/>
                  <a:pt x="1171" y="0"/>
                </a:cubicBezTo>
                <a:cubicBezTo>
                  <a:pt x="977" y="0"/>
                  <a:pt x="821" y="157"/>
                  <a:pt x="821" y="356"/>
                </a:cubicBezTo>
                <a:cubicBezTo>
                  <a:pt x="821" y="374"/>
                  <a:pt x="827" y="404"/>
                  <a:pt x="827" y="428"/>
                </a:cubicBezTo>
                <a:cubicBezTo>
                  <a:pt x="543" y="410"/>
                  <a:pt x="283" y="277"/>
                  <a:pt x="114" y="66"/>
                </a:cubicBezTo>
                <a:cubicBezTo>
                  <a:pt x="84" y="120"/>
                  <a:pt x="72" y="175"/>
                  <a:pt x="72" y="241"/>
                </a:cubicBezTo>
                <a:cubicBezTo>
                  <a:pt x="72" y="362"/>
                  <a:pt x="132" y="470"/>
                  <a:pt x="223" y="530"/>
                </a:cubicBezTo>
                <a:cubicBezTo>
                  <a:pt x="169" y="530"/>
                  <a:pt x="114" y="512"/>
                  <a:pt x="66" y="488"/>
                </a:cubicBezTo>
                <a:lnTo>
                  <a:pt x="66" y="494"/>
                </a:lnTo>
                <a:cubicBezTo>
                  <a:pt x="66" y="663"/>
                  <a:pt x="187" y="802"/>
                  <a:pt x="344" y="832"/>
                </a:cubicBezTo>
                <a:cubicBezTo>
                  <a:pt x="313" y="838"/>
                  <a:pt x="283" y="844"/>
                  <a:pt x="253" y="844"/>
                </a:cubicBezTo>
                <a:cubicBezTo>
                  <a:pt x="235" y="844"/>
                  <a:pt x="211" y="838"/>
                  <a:pt x="187" y="838"/>
                </a:cubicBezTo>
                <a:cubicBezTo>
                  <a:pt x="235" y="977"/>
                  <a:pt x="356" y="1073"/>
                  <a:pt x="513" y="1079"/>
                </a:cubicBezTo>
                <a:cubicBezTo>
                  <a:pt x="392" y="1170"/>
                  <a:pt x="241" y="1230"/>
                  <a:pt x="78" y="1230"/>
                </a:cubicBezTo>
                <a:cubicBezTo>
                  <a:pt x="54" y="1230"/>
                  <a:pt x="24" y="1230"/>
                  <a:pt x="0" y="1224"/>
                </a:cubicBezTo>
                <a:cubicBezTo>
                  <a:pt x="151" y="1326"/>
                  <a:pt x="338" y="1374"/>
                  <a:pt x="525" y="1374"/>
                </a:cubicBezTo>
                <a:cubicBezTo>
                  <a:pt x="1171" y="1374"/>
                  <a:pt x="1521" y="844"/>
                  <a:pt x="1521" y="392"/>
                </a:cubicBezTo>
                <a:lnTo>
                  <a:pt x="1521" y="344"/>
                </a:lnTo>
                <a:cubicBezTo>
                  <a:pt x="1587" y="295"/>
                  <a:pt x="1647" y="235"/>
                  <a:pt x="1690" y="163"/>
                </a:cubicBezTo>
                <a:cubicBezTo>
                  <a:pt x="1635" y="193"/>
                  <a:pt x="1569" y="211"/>
                  <a:pt x="1491" y="223"/>
                </a:cubicBez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3200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91468AF2-4BDF-494C-8E68-D8622BC33408}"/>
              </a:ext>
            </a:extLst>
          </p:cNvPr>
          <p:cNvSpPr/>
          <p:nvPr userDrawn="1"/>
        </p:nvSpPr>
        <p:spPr>
          <a:xfrm rot="2700000">
            <a:off x="23436611" y="7402469"/>
            <a:ext cx="566041" cy="566041"/>
          </a:xfrm>
          <a:prstGeom prst="ellipse">
            <a:avLst/>
          </a:prstGeom>
          <a:noFill/>
          <a:ln w="6350">
            <a:solidFill>
              <a:schemeClr val="tx1"/>
            </a:solidFill>
          </a:ln>
          <a:effectLst>
            <a:outerShdw blurRad="685800" sx="102000" sy="102000" algn="ctr" rotWithShape="0">
              <a:schemeClr val="accent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5FB5C87-D273-4741-B8BC-9DDDF4ACCED6}"/>
              </a:ext>
            </a:extLst>
          </p:cNvPr>
          <p:cNvGrpSpPr/>
          <p:nvPr userDrawn="1"/>
        </p:nvGrpSpPr>
        <p:grpSpPr>
          <a:xfrm>
            <a:off x="949541" y="840709"/>
            <a:ext cx="102546" cy="1150016"/>
            <a:chOff x="447517" y="840709"/>
            <a:chExt cx="102546" cy="1150016"/>
          </a:xfrm>
        </p:grpSpPr>
        <p:sp>
          <p:nvSpPr>
            <p:cNvPr id="19" name="Oval 28">
              <a:extLst>
                <a:ext uri="{FF2B5EF4-FFF2-40B4-BE49-F238E27FC236}">
                  <a16:creationId xmlns:a16="http://schemas.microsoft.com/office/drawing/2014/main" id="{77A9FED8-8494-4471-996B-444CA69B5905}"/>
                </a:ext>
              </a:extLst>
            </p:cNvPr>
            <p:cNvSpPr/>
            <p:nvPr userDrawn="1"/>
          </p:nvSpPr>
          <p:spPr>
            <a:xfrm>
              <a:off x="447517" y="840709"/>
              <a:ext cx="102546" cy="10254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accent3"/>
                </a:solidFill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1456D321-15D2-4AFE-99BB-E6FF0048B358}"/>
                </a:ext>
              </a:extLst>
            </p:cNvPr>
            <p:cNvSpPr/>
            <p:nvPr userDrawn="1"/>
          </p:nvSpPr>
          <p:spPr>
            <a:xfrm>
              <a:off x="447517" y="1192253"/>
              <a:ext cx="102546" cy="10254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accent3"/>
                </a:solidFill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3DF4838A-6FF2-49AF-9BE3-76AE8F2D9BC2}"/>
                </a:ext>
              </a:extLst>
            </p:cNvPr>
            <p:cNvSpPr/>
            <p:nvPr userDrawn="1"/>
          </p:nvSpPr>
          <p:spPr>
            <a:xfrm>
              <a:off x="447517" y="1540216"/>
              <a:ext cx="102546" cy="10254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accent3"/>
                </a:solidFill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8B0876AB-E2E5-4728-B737-74306782D9BA}"/>
                </a:ext>
              </a:extLst>
            </p:cNvPr>
            <p:cNvSpPr/>
            <p:nvPr userDrawn="1"/>
          </p:nvSpPr>
          <p:spPr>
            <a:xfrm>
              <a:off x="447517" y="1888179"/>
              <a:ext cx="102546" cy="10254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accent3"/>
                </a:solidFill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075F4416-25C5-4530-A8BB-0DB995984C1E}"/>
              </a:ext>
            </a:extLst>
          </p:cNvPr>
          <p:cNvGrpSpPr/>
          <p:nvPr userDrawn="1"/>
        </p:nvGrpSpPr>
        <p:grpSpPr>
          <a:xfrm>
            <a:off x="23668358" y="12034374"/>
            <a:ext cx="102546" cy="1150016"/>
            <a:chOff x="447517" y="840709"/>
            <a:chExt cx="102546" cy="1150016"/>
          </a:xfrm>
          <a:solidFill>
            <a:schemeClr val="bg1">
              <a:lumMod val="65000"/>
            </a:schemeClr>
          </a:solidFill>
        </p:grpSpPr>
        <p:sp>
          <p:nvSpPr>
            <p:cNvPr id="24" name="Oval 28">
              <a:extLst>
                <a:ext uri="{FF2B5EF4-FFF2-40B4-BE49-F238E27FC236}">
                  <a16:creationId xmlns:a16="http://schemas.microsoft.com/office/drawing/2014/main" id="{3B70F7E5-CE4C-4884-B385-0FE696B474DF}"/>
                </a:ext>
              </a:extLst>
            </p:cNvPr>
            <p:cNvSpPr/>
            <p:nvPr userDrawn="1"/>
          </p:nvSpPr>
          <p:spPr>
            <a:xfrm>
              <a:off x="447517" y="840709"/>
              <a:ext cx="102546" cy="10254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accent3"/>
                </a:solidFill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DF4C602B-647A-493F-B078-429D1685D74E}"/>
                </a:ext>
              </a:extLst>
            </p:cNvPr>
            <p:cNvSpPr/>
            <p:nvPr userDrawn="1"/>
          </p:nvSpPr>
          <p:spPr>
            <a:xfrm>
              <a:off x="447517" y="1192253"/>
              <a:ext cx="102546" cy="10254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accent3"/>
                </a:solidFill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30110167-0DC5-4BDE-AF07-ADF6A3882B86}"/>
                </a:ext>
              </a:extLst>
            </p:cNvPr>
            <p:cNvSpPr/>
            <p:nvPr userDrawn="1"/>
          </p:nvSpPr>
          <p:spPr>
            <a:xfrm>
              <a:off x="447517" y="1540216"/>
              <a:ext cx="102546" cy="10254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accent3"/>
                </a:solidFill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F472FD95-278B-4473-9721-0ED692FED85A}"/>
                </a:ext>
              </a:extLst>
            </p:cNvPr>
            <p:cNvSpPr/>
            <p:nvPr userDrawn="1"/>
          </p:nvSpPr>
          <p:spPr>
            <a:xfrm>
              <a:off x="447517" y="1888179"/>
              <a:ext cx="102546" cy="102546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accent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110180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9" presetClass="entr" presetSubtype="0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9" presetClass="entr" presetSubtype="0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9" presetClass="entr" presetSubtype="0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8" presetClass="emph" presetSubtype="0" repeatCount="indefinite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Rot by="21600000">
                                      <p:cBhvr>
                                        <p:cTn id="30" dur="6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1" presetID="8" presetClass="emph" presetSubtype="0" repeatCount="indefinite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21600000">
                                      <p:cBhvr>
                                        <p:cTn id="32" dur="5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3" presetID="8" presetClass="emph" presetSubtype="0" repeatCount="indefinite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Rot by="21600000">
                                      <p:cBhvr>
                                        <p:cTn id="34" dur="4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5" presetID="8" presetClass="emph" presetSubtype="0" repeatCount="indefinite" fill="hold" grpId="1" nodeType="withEffect">
                                  <p:stCondLst>
                                    <p:cond delay="900"/>
                                  </p:stCondLst>
                                  <p:childTnLst>
                                    <p:animRot by="21600000">
                                      <p:cBhvr>
                                        <p:cTn id="36" dur="3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7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49" presetClass="entr" presetSubtype="0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49" presetClass="entr" presetSubtype="0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49" presetClass="entr" presetSubtype="0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49" presetClass="entr" presetSubtype="0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49" presetClass="entr" presetSubtype="0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42" presetClass="path" presetSubtype="0" accel="50000" decel="50000" fill="hold" grpId="0" nodeType="click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-5.92371E-7 -3.33333E-6 L -5.92371E-7 -0.92233 " pathEditMode="relative" rAng="0" ptsTypes="AA">
                                      <p:cBhvr>
                                        <p:cTn id="80" dur="23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6123"/>
                                    </p:animMotion>
                                  </p:childTnLst>
                                </p:cTn>
                              </p:par>
                              <p:par>
                                <p:cTn id="81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92371E-7 -2.59259E-6 L -5.92371E-7 -0.92801 " pathEditMode="relative" rAng="0" ptsTypes="AA">
                                      <p:cBhvr>
                                        <p:cTn id="82" dur="21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64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2" presetClass="exit" presetSubtype="4" accel="47619" decel="47619" fill="hold" grpId="1" nodeType="clickEffect">
                                  <p:stCondLst>
                                    <p:cond delay="5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86" dur="2100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7" dur="2100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20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92371E-7 2.59259E-6 L -5.92371E-7 0.93819 " pathEditMode="relative" rAng="0" ptsTypes="AA">
                                      <p:cBhvr>
                                        <p:cTn id="90" dur="24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91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36" grpId="0" animBg="1"/>
      <p:bldP spid="36" grpId="1" animBg="1"/>
      <p:bldP spid="37" grpId="0" animBg="1"/>
      <p:bldP spid="2" grpId="0"/>
      <p:bldP spid="4" grpId="0" animBg="1"/>
      <p:bldP spid="4" grpId="1" animBg="1"/>
      <p:bldP spid="5" grpId="0" animBg="1"/>
      <p:bldP spid="5" grpId="1" animBg="1"/>
      <p:bldP spid="6" grpId="0" animBg="1"/>
      <p:bldP spid="6" grpId="1" animBg="1"/>
      <p:bldP spid="7" grpId="0" animBg="1"/>
      <p:bldP spid="7" grpId="1" animBg="1"/>
      <p:bldP spid="10" grpId="0" animBg="1"/>
      <p:bldP spid="11" grpId="0" animBg="1"/>
      <p:bldP spid="13" grpId="0" animBg="1"/>
      <p:bldP spid="14" grpId="0" animBg="1"/>
      <p:bldP spid="16" grpId="0" animBg="1"/>
      <p:bldP spid="17" grpId="0" animBg="1"/>
    </p:bld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890886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B7649B2-2893-4336-9F6A-E261B8C7C7DB}"/>
              </a:ext>
            </a:extLst>
          </p:cNvPr>
          <p:cNvSpPr/>
          <p:nvPr userDrawn="1"/>
        </p:nvSpPr>
        <p:spPr>
          <a:xfrm>
            <a:off x="1563688" y="1295400"/>
            <a:ext cx="21259800" cy="11049000"/>
          </a:xfrm>
          <a:prstGeom prst="rect">
            <a:avLst/>
          </a:prstGeom>
          <a:solidFill>
            <a:schemeClr val="accent1">
              <a:alpha val="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B65CD39-C441-4C4E-B863-AA8AF4602A4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3480331" y="2832942"/>
            <a:ext cx="8046736" cy="8050114"/>
          </a:xfrm>
          <a:custGeom>
            <a:avLst/>
            <a:gdLst>
              <a:gd name="connsiteX0" fmla="*/ 4023368 w 8046736"/>
              <a:gd name="connsiteY0" fmla="*/ 0 h 8050114"/>
              <a:gd name="connsiteX1" fmla="*/ 6418354 w 8046736"/>
              <a:gd name="connsiteY1" fmla="*/ 991982 h 8050114"/>
              <a:gd name="connsiteX2" fmla="*/ 7055170 w 8046736"/>
              <a:gd name="connsiteY2" fmla="*/ 1629066 h 8050114"/>
              <a:gd name="connsiteX3" fmla="*/ 7055170 w 8046736"/>
              <a:gd name="connsiteY3" fmla="*/ 6421048 h 8050114"/>
              <a:gd name="connsiteX4" fmla="*/ 6418354 w 8046736"/>
              <a:gd name="connsiteY4" fmla="*/ 7058133 h 8050114"/>
              <a:gd name="connsiteX5" fmla="*/ 1628382 w 8046736"/>
              <a:gd name="connsiteY5" fmla="*/ 7058133 h 8050114"/>
              <a:gd name="connsiteX6" fmla="*/ 991565 w 8046736"/>
              <a:gd name="connsiteY6" fmla="*/ 6421048 h 8050114"/>
              <a:gd name="connsiteX7" fmla="*/ 991565 w 8046736"/>
              <a:gd name="connsiteY7" fmla="*/ 1629066 h 8050114"/>
              <a:gd name="connsiteX8" fmla="*/ 1628382 w 8046736"/>
              <a:gd name="connsiteY8" fmla="*/ 991982 h 8050114"/>
              <a:gd name="connsiteX9" fmla="*/ 4023368 w 8046736"/>
              <a:gd name="connsiteY9" fmla="*/ 0 h 8050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046736" h="8050114">
                <a:moveTo>
                  <a:pt x="4023368" y="0"/>
                </a:moveTo>
                <a:cubicBezTo>
                  <a:pt x="4890340" y="0"/>
                  <a:pt x="5757310" y="330660"/>
                  <a:pt x="6418354" y="991982"/>
                </a:cubicBezTo>
                <a:cubicBezTo>
                  <a:pt x="7055170" y="1629066"/>
                  <a:pt x="7055170" y="1629066"/>
                  <a:pt x="7055170" y="1629066"/>
                </a:cubicBezTo>
                <a:cubicBezTo>
                  <a:pt x="8377258" y="2951708"/>
                  <a:pt x="8377258" y="5098406"/>
                  <a:pt x="7055170" y="6421048"/>
                </a:cubicBezTo>
                <a:cubicBezTo>
                  <a:pt x="6418354" y="7058133"/>
                  <a:pt x="6418354" y="7058133"/>
                  <a:pt x="6418354" y="7058133"/>
                </a:cubicBezTo>
                <a:cubicBezTo>
                  <a:pt x="5096266" y="8380775"/>
                  <a:pt x="2950470" y="8380775"/>
                  <a:pt x="1628382" y="7058133"/>
                </a:cubicBezTo>
                <a:cubicBezTo>
                  <a:pt x="991565" y="6421048"/>
                  <a:pt x="991565" y="6421048"/>
                  <a:pt x="991565" y="6421048"/>
                </a:cubicBezTo>
                <a:cubicBezTo>
                  <a:pt x="-330522" y="5098406"/>
                  <a:pt x="-330522" y="2951708"/>
                  <a:pt x="991565" y="1629066"/>
                </a:cubicBezTo>
                <a:cubicBezTo>
                  <a:pt x="1628382" y="991982"/>
                  <a:pt x="1628382" y="991982"/>
                  <a:pt x="1628382" y="991982"/>
                </a:cubicBezTo>
                <a:cubicBezTo>
                  <a:pt x="2289426" y="330660"/>
                  <a:pt x="3156397" y="0"/>
                  <a:pt x="4023368" y="0"/>
                </a:cubicBez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24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40920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1">
          <p15:clr>
            <a:srgbClr val="FBAE40"/>
          </p15:clr>
        </p15:guide>
        <p15:guide id="3" pos="985">
          <p15:clr>
            <a:srgbClr val="FBAE40"/>
          </p15:clr>
        </p15:guide>
        <p15:guide id="4" pos="1437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83C36FF-5F8D-4BA8-B289-E005C16E137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170218" y="2832943"/>
            <a:ext cx="8046736" cy="8050114"/>
          </a:xfrm>
          <a:custGeom>
            <a:avLst/>
            <a:gdLst>
              <a:gd name="connsiteX0" fmla="*/ 4023368 w 8046736"/>
              <a:gd name="connsiteY0" fmla="*/ 0 h 8050114"/>
              <a:gd name="connsiteX1" fmla="*/ 6418353 w 8046736"/>
              <a:gd name="connsiteY1" fmla="*/ 991982 h 8050114"/>
              <a:gd name="connsiteX2" fmla="*/ 7055171 w 8046736"/>
              <a:gd name="connsiteY2" fmla="*/ 1629066 h 8050114"/>
              <a:gd name="connsiteX3" fmla="*/ 7055171 w 8046736"/>
              <a:gd name="connsiteY3" fmla="*/ 6421048 h 8050114"/>
              <a:gd name="connsiteX4" fmla="*/ 6418353 w 8046736"/>
              <a:gd name="connsiteY4" fmla="*/ 7058133 h 8050114"/>
              <a:gd name="connsiteX5" fmla="*/ 1628382 w 8046736"/>
              <a:gd name="connsiteY5" fmla="*/ 7058133 h 8050114"/>
              <a:gd name="connsiteX6" fmla="*/ 991565 w 8046736"/>
              <a:gd name="connsiteY6" fmla="*/ 6421048 h 8050114"/>
              <a:gd name="connsiteX7" fmla="*/ 991565 w 8046736"/>
              <a:gd name="connsiteY7" fmla="*/ 1629066 h 8050114"/>
              <a:gd name="connsiteX8" fmla="*/ 1628382 w 8046736"/>
              <a:gd name="connsiteY8" fmla="*/ 991982 h 8050114"/>
              <a:gd name="connsiteX9" fmla="*/ 4023368 w 8046736"/>
              <a:gd name="connsiteY9" fmla="*/ 0 h 8050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046736" h="8050114">
                <a:moveTo>
                  <a:pt x="4023368" y="0"/>
                </a:moveTo>
                <a:cubicBezTo>
                  <a:pt x="4890339" y="0"/>
                  <a:pt x="5757309" y="330660"/>
                  <a:pt x="6418353" y="991982"/>
                </a:cubicBezTo>
                <a:cubicBezTo>
                  <a:pt x="7055171" y="1629066"/>
                  <a:pt x="7055171" y="1629066"/>
                  <a:pt x="7055171" y="1629066"/>
                </a:cubicBezTo>
                <a:cubicBezTo>
                  <a:pt x="8377258" y="2951708"/>
                  <a:pt x="8377258" y="5098406"/>
                  <a:pt x="7055171" y="6421048"/>
                </a:cubicBezTo>
                <a:cubicBezTo>
                  <a:pt x="6418353" y="7058133"/>
                  <a:pt x="6418353" y="7058133"/>
                  <a:pt x="6418353" y="7058133"/>
                </a:cubicBezTo>
                <a:cubicBezTo>
                  <a:pt x="5096266" y="8380775"/>
                  <a:pt x="2950470" y="8380775"/>
                  <a:pt x="1628382" y="7058133"/>
                </a:cubicBezTo>
                <a:cubicBezTo>
                  <a:pt x="991565" y="6421048"/>
                  <a:pt x="991565" y="6421048"/>
                  <a:pt x="991565" y="6421048"/>
                </a:cubicBezTo>
                <a:cubicBezTo>
                  <a:pt x="-330522" y="5098406"/>
                  <a:pt x="-330522" y="2951708"/>
                  <a:pt x="991565" y="1629066"/>
                </a:cubicBezTo>
                <a:cubicBezTo>
                  <a:pt x="1628382" y="991982"/>
                  <a:pt x="1628382" y="991982"/>
                  <a:pt x="1628382" y="991982"/>
                </a:cubicBezTo>
                <a:cubicBezTo>
                  <a:pt x="2289426" y="330660"/>
                  <a:pt x="3156397" y="0"/>
                  <a:pt x="4023368" y="0"/>
                </a:cubicBez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24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782267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81CAACFA-A336-43D7-8F2B-E1DE7FE1C47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470125" y="3134676"/>
            <a:ext cx="3619429" cy="3619010"/>
          </a:xfrm>
          <a:custGeom>
            <a:avLst/>
            <a:gdLst>
              <a:gd name="connsiteX0" fmla="*/ 3619429 w 3619429"/>
              <a:gd name="connsiteY0" fmla="*/ 0 h 3619010"/>
              <a:gd name="connsiteX1" fmla="*/ 3619429 w 3619429"/>
              <a:gd name="connsiteY1" fmla="*/ 3619010 h 3619010"/>
              <a:gd name="connsiteX2" fmla="*/ 0 w 3619429"/>
              <a:gd name="connsiteY2" fmla="*/ 3619010 h 3619010"/>
              <a:gd name="connsiteX3" fmla="*/ 917060 w 3619429"/>
              <a:gd name="connsiteY3" fmla="*/ 1505980 h 3619010"/>
              <a:gd name="connsiteX4" fmla="*/ 1507235 w 3619429"/>
              <a:gd name="connsiteY4" fmla="*/ 916362 h 3619010"/>
              <a:gd name="connsiteX5" fmla="*/ 3619429 w 3619429"/>
              <a:gd name="connsiteY5" fmla="*/ 0 h 3619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19429" h="3619010">
                <a:moveTo>
                  <a:pt x="3619429" y="0"/>
                </a:moveTo>
                <a:lnTo>
                  <a:pt x="3619429" y="3619010"/>
                </a:lnTo>
                <a:lnTo>
                  <a:pt x="0" y="3619010"/>
                </a:lnTo>
                <a:cubicBezTo>
                  <a:pt x="25520" y="2851308"/>
                  <a:pt x="331207" y="2091415"/>
                  <a:pt x="917060" y="1505980"/>
                </a:cubicBezTo>
                <a:cubicBezTo>
                  <a:pt x="1507235" y="916362"/>
                  <a:pt x="1507235" y="916362"/>
                  <a:pt x="1507235" y="916362"/>
                </a:cubicBezTo>
                <a:cubicBezTo>
                  <a:pt x="2092530" y="331486"/>
                  <a:pt x="2852145" y="25939"/>
                  <a:pt x="3619429" y="0"/>
                </a:cubicBez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2400"/>
            </a:lvl1pPr>
          </a:lstStyle>
          <a:p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F06080D-C429-48A8-B843-92D33ECB5B7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2298736" y="3134537"/>
            <a:ext cx="3623892" cy="3619150"/>
          </a:xfrm>
          <a:custGeom>
            <a:avLst/>
            <a:gdLst>
              <a:gd name="connsiteX0" fmla="*/ 0 w 3623892"/>
              <a:gd name="connsiteY0" fmla="*/ 0 h 3619150"/>
              <a:gd name="connsiteX1" fmla="*/ 2116795 w 3623892"/>
              <a:gd name="connsiteY1" fmla="*/ 916502 h 3619150"/>
              <a:gd name="connsiteX2" fmla="*/ 2706832 w 3623892"/>
              <a:gd name="connsiteY2" fmla="*/ 1506120 h 3619150"/>
              <a:gd name="connsiteX3" fmla="*/ 3623892 w 3623892"/>
              <a:gd name="connsiteY3" fmla="*/ 3619150 h 3619150"/>
              <a:gd name="connsiteX4" fmla="*/ 0 w 3623892"/>
              <a:gd name="connsiteY4" fmla="*/ 3619150 h 3619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23892" h="3619150">
                <a:moveTo>
                  <a:pt x="0" y="0"/>
                </a:moveTo>
                <a:cubicBezTo>
                  <a:pt x="768958" y="24823"/>
                  <a:pt x="1530385" y="330370"/>
                  <a:pt x="2116795" y="916502"/>
                </a:cubicBezTo>
                <a:cubicBezTo>
                  <a:pt x="2706832" y="1506120"/>
                  <a:pt x="2706832" y="1506120"/>
                  <a:pt x="2706832" y="1506120"/>
                </a:cubicBezTo>
                <a:cubicBezTo>
                  <a:pt x="3292684" y="2091554"/>
                  <a:pt x="3598371" y="2851447"/>
                  <a:pt x="3623892" y="3619150"/>
                </a:cubicBezTo>
                <a:lnTo>
                  <a:pt x="0" y="3619150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2400"/>
            </a:lvl1pPr>
          </a:lstStyle>
          <a:p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3097419-BD92-4E3B-9C5D-9A5A67E294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298736" y="6962871"/>
            <a:ext cx="3623892" cy="3618871"/>
          </a:xfrm>
          <a:custGeom>
            <a:avLst/>
            <a:gdLst>
              <a:gd name="connsiteX0" fmla="*/ 0 w 3623892"/>
              <a:gd name="connsiteY0" fmla="*/ 0 h 3618871"/>
              <a:gd name="connsiteX1" fmla="*/ 3623892 w 3623892"/>
              <a:gd name="connsiteY1" fmla="*/ 0 h 3618871"/>
              <a:gd name="connsiteX2" fmla="*/ 2706832 w 3623892"/>
              <a:gd name="connsiteY2" fmla="*/ 2112891 h 3618871"/>
              <a:gd name="connsiteX3" fmla="*/ 2116795 w 3623892"/>
              <a:gd name="connsiteY3" fmla="*/ 2702509 h 3618871"/>
              <a:gd name="connsiteX4" fmla="*/ 0 w 3623892"/>
              <a:gd name="connsiteY4" fmla="*/ 3618871 h 36188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23892" h="3618871">
                <a:moveTo>
                  <a:pt x="0" y="0"/>
                </a:moveTo>
                <a:lnTo>
                  <a:pt x="3623892" y="0"/>
                </a:lnTo>
                <a:cubicBezTo>
                  <a:pt x="3598371" y="767563"/>
                  <a:pt x="3292684" y="1527456"/>
                  <a:pt x="2706832" y="2112891"/>
                </a:cubicBezTo>
                <a:cubicBezTo>
                  <a:pt x="2116795" y="2702509"/>
                  <a:pt x="2116795" y="2702509"/>
                  <a:pt x="2116795" y="2702509"/>
                </a:cubicBezTo>
                <a:cubicBezTo>
                  <a:pt x="1530385" y="3288640"/>
                  <a:pt x="768958" y="3594048"/>
                  <a:pt x="0" y="3618871"/>
                </a:cubicBez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2400"/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8122979-052C-4C34-8F77-81BE4B1E399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70125" y="6962870"/>
            <a:ext cx="3619429" cy="3618732"/>
          </a:xfrm>
          <a:custGeom>
            <a:avLst/>
            <a:gdLst>
              <a:gd name="connsiteX0" fmla="*/ 0 w 3619429"/>
              <a:gd name="connsiteY0" fmla="*/ 0 h 3618732"/>
              <a:gd name="connsiteX1" fmla="*/ 3619429 w 3619429"/>
              <a:gd name="connsiteY1" fmla="*/ 0 h 3618732"/>
              <a:gd name="connsiteX2" fmla="*/ 3619429 w 3619429"/>
              <a:gd name="connsiteY2" fmla="*/ 3618732 h 3618732"/>
              <a:gd name="connsiteX3" fmla="*/ 1507235 w 3619429"/>
              <a:gd name="connsiteY3" fmla="*/ 2702509 h 3618732"/>
              <a:gd name="connsiteX4" fmla="*/ 917060 w 3619429"/>
              <a:gd name="connsiteY4" fmla="*/ 2112891 h 3618732"/>
              <a:gd name="connsiteX5" fmla="*/ 0 w 3619429"/>
              <a:gd name="connsiteY5" fmla="*/ 0 h 3618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19429" h="3618732">
                <a:moveTo>
                  <a:pt x="0" y="0"/>
                </a:moveTo>
                <a:lnTo>
                  <a:pt x="3619429" y="0"/>
                </a:lnTo>
                <a:lnTo>
                  <a:pt x="3619429" y="3618732"/>
                </a:lnTo>
                <a:cubicBezTo>
                  <a:pt x="2852145" y="3592793"/>
                  <a:pt x="2092530" y="3287385"/>
                  <a:pt x="1507235" y="2702509"/>
                </a:cubicBezTo>
                <a:cubicBezTo>
                  <a:pt x="917060" y="2112891"/>
                  <a:pt x="917060" y="2112891"/>
                  <a:pt x="917060" y="2112891"/>
                </a:cubicBezTo>
                <a:cubicBezTo>
                  <a:pt x="331207" y="1527456"/>
                  <a:pt x="25520" y="767563"/>
                  <a:pt x="0" y="0"/>
                </a:cubicBez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24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24020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9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3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6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4" grpId="0" animBg="1"/>
      <p:bldP spid="5" grpId="0" animBg="1"/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A289BE9-3518-4572-9F36-A58461E1608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3032100" y="5920253"/>
            <a:ext cx="2737986" cy="1875494"/>
          </a:xfrm>
          <a:custGeom>
            <a:avLst/>
            <a:gdLst>
              <a:gd name="connsiteX0" fmla="*/ 0 w 2737986"/>
              <a:gd name="connsiteY0" fmla="*/ 0 h 1875494"/>
              <a:gd name="connsiteX1" fmla="*/ 2737986 w 2737986"/>
              <a:gd name="connsiteY1" fmla="*/ 0 h 1875494"/>
              <a:gd name="connsiteX2" fmla="*/ 2737986 w 2737986"/>
              <a:gd name="connsiteY2" fmla="*/ 1875494 h 1875494"/>
              <a:gd name="connsiteX3" fmla="*/ 0 w 2737986"/>
              <a:gd name="connsiteY3" fmla="*/ 1875494 h 1875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37986" h="1875494">
                <a:moveTo>
                  <a:pt x="0" y="0"/>
                </a:moveTo>
                <a:lnTo>
                  <a:pt x="2737986" y="0"/>
                </a:lnTo>
                <a:lnTo>
                  <a:pt x="2737986" y="1875494"/>
                </a:lnTo>
                <a:lnTo>
                  <a:pt x="0" y="1875494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2400"/>
            </a:lvl1pPr>
          </a:lstStyle>
          <a:p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E9995F91-8D51-4FF1-A532-B0BD4F0276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5868065" y="5920253"/>
            <a:ext cx="2737986" cy="1875494"/>
          </a:xfrm>
          <a:custGeom>
            <a:avLst/>
            <a:gdLst>
              <a:gd name="connsiteX0" fmla="*/ 0 w 2737986"/>
              <a:gd name="connsiteY0" fmla="*/ 0 h 1875494"/>
              <a:gd name="connsiteX1" fmla="*/ 2737986 w 2737986"/>
              <a:gd name="connsiteY1" fmla="*/ 0 h 1875494"/>
              <a:gd name="connsiteX2" fmla="*/ 2737986 w 2737986"/>
              <a:gd name="connsiteY2" fmla="*/ 1875494 h 1875494"/>
              <a:gd name="connsiteX3" fmla="*/ 0 w 2737986"/>
              <a:gd name="connsiteY3" fmla="*/ 1875494 h 1875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37986" h="1875494">
                <a:moveTo>
                  <a:pt x="0" y="0"/>
                </a:moveTo>
                <a:lnTo>
                  <a:pt x="2737986" y="0"/>
                </a:lnTo>
                <a:lnTo>
                  <a:pt x="2737986" y="1875494"/>
                </a:lnTo>
                <a:lnTo>
                  <a:pt x="0" y="1875494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2400"/>
            </a:lvl1pPr>
          </a:lstStyle>
          <a:p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AC8D104-8DBC-47C1-B410-760C3B7EC2C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8704031" y="5920253"/>
            <a:ext cx="2737984" cy="1875494"/>
          </a:xfrm>
          <a:custGeom>
            <a:avLst/>
            <a:gdLst>
              <a:gd name="connsiteX0" fmla="*/ 0 w 2737984"/>
              <a:gd name="connsiteY0" fmla="*/ 0 h 1875494"/>
              <a:gd name="connsiteX1" fmla="*/ 2737984 w 2737984"/>
              <a:gd name="connsiteY1" fmla="*/ 0 h 1875494"/>
              <a:gd name="connsiteX2" fmla="*/ 2737984 w 2737984"/>
              <a:gd name="connsiteY2" fmla="*/ 1875494 h 1875494"/>
              <a:gd name="connsiteX3" fmla="*/ 0 w 2737984"/>
              <a:gd name="connsiteY3" fmla="*/ 1875494 h 1875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37984" h="1875494">
                <a:moveTo>
                  <a:pt x="0" y="0"/>
                </a:moveTo>
                <a:lnTo>
                  <a:pt x="2737984" y="0"/>
                </a:lnTo>
                <a:lnTo>
                  <a:pt x="2737984" y="1875494"/>
                </a:lnTo>
                <a:lnTo>
                  <a:pt x="0" y="1875494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24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03491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7">
            <a:extLst>
              <a:ext uri="{FF2B5EF4-FFF2-40B4-BE49-F238E27FC236}">
                <a16:creationId xmlns:a16="http://schemas.microsoft.com/office/drawing/2014/main" id="{CDF241A1-3249-4A50-880D-BD32EE84584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2193587" y="0"/>
            <a:ext cx="10629901" cy="13716000"/>
          </a:xfrm>
          <a:custGeom>
            <a:avLst/>
            <a:gdLst>
              <a:gd name="connsiteX0" fmla="*/ 0 w 10345056"/>
              <a:gd name="connsiteY0" fmla="*/ 0 h 10610851"/>
              <a:gd name="connsiteX1" fmla="*/ 10345056 w 10345056"/>
              <a:gd name="connsiteY1" fmla="*/ 0 h 10610851"/>
              <a:gd name="connsiteX2" fmla="*/ 10345056 w 10345056"/>
              <a:gd name="connsiteY2" fmla="*/ 10610851 h 10610851"/>
              <a:gd name="connsiteX3" fmla="*/ 0 w 10345056"/>
              <a:gd name="connsiteY3" fmla="*/ 10610851 h 106108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345056" h="10610851">
                <a:moveTo>
                  <a:pt x="0" y="0"/>
                </a:moveTo>
                <a:lnTo>
                  <a:pt x="10345056" y="0"/>
                </a:lnTo>
                <a:lnTo>
                  <a:pt x="10345056" y="10610851"/>
                </a:lnTo>
                <a:lnTo>
                  <a:pt x="0" y="10610851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24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56161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17349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3BF29B47-3016-4680-8D0F-8F659E214A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684459" y="1295399"/>
            <a:ext cx="4206240" cy="11049000"/>
          </a:xfrm>
          <a:custGeom>
            <a:avLst/>
            <a:gdLst>
              <a:gd name="connsiteX0" fmla="*/ 0 w 4206240"/>
              <a:gd name="connsiteY0" fmla="*/ 0 h 11049000"/>
              <a:gd name="connsiteX1" fmla="*/ 4206240 w 4206240"/>
              <a:gd name="connsiteY1" fmla="*/ 0 h 11049000"/>
              <a:gd name="connsiteX2" fmla="*/ 4206240 w 4206240"/>
              <a:gd name="connsiteY2" fmla="*/ 11049000 h 11049000"/>
              <a:gd name="connsiteX3" fmla="*/ 0 w 4206240"/>
              <a:gd name="connsiteY3" fmla="*/ 11049000 h 1104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06240" h="11049000">
                <a:moveTo>
                  <a:pt x="0" y="0"/>
                </a:moveTo>
                <a:lnTo>
                  <a:pt x="4206240" y="0"/>
                </a:lnTo>
                <a:lnTo>
                  <a:pt x="4206240" y="11049000"/>
                </a:lnTo>
                <a:lnTo>
                  <a:pt x="0" y="11049000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</p:spPr>
        <p:txBody>
          <a:bodyPr wrap="square" anchor="ctr">
            <a:noAutofit/>
          </a:bodyPr>
          <a:lstStyle>
            <a:lvl1pPr>
              <a:defRPr lang="en-US" sz="2400"/>
            </a:lvl1pPr>
          </a:lstStyle>
          <a:p>
            <a:pPr marL="0" lvl="0" indent="0" algn="ctr">
              <a:buFontTx/>
              <a:buNone/>
            </a:pPr>
            <a:endParaRPr lang="en-US"/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E3C2F1D8-84EF-4A68-A3BD-098B35D12D6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890699" y="1295399"/>
            <a:ext cx="4206240" cy="11049000"/>
          </a:xfrm>
          <a:custGeom>
            <a:avLst/>
            <a:gdLst>
              <a:gd name="connsiteX0" fmla="*/ 0 w 4206240"/>
              <a:gd name="connsiteY0" fmla="*/ 0 h 11049000"/>
              <a:gd name="connsiteX1" fmla="*/ 4206240 w 4206240"/>
              <a:gd name="connsiteY1" fmla="*/ 0 h 11049000"/>
              <a:gd name="connsiteX2" fmla="*/ 4206240 w 4206240"/>
              <a:gd name="connsiteY2" fmla="*/ 11049000 h 11049000"/>
              <a:gd name="connsiteX3" fmla="*/ 0 w 4206240"/>
              <a:gd name="connsiteY3" fmla="*/ 11049000 h 1104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06240" h="11049000">
                <a:moveTo>
                  <a:pt x="0" y="0"/>
                </a:moveTo>
                <a:lnTo>
                  <a:pt x="4206240" y="0"/>
                </a:lnTo>
                <a:lnTo>
                  <a:pt x="4206240" y="11049000"/>
                </a:lnTo>
                <a:lnTo>
                  <a:pt x="0" y="11049000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</p:spPr>
        <p:txBody>
          <a:bodyPr wrap="square" anchor="ctr">
            <a:noAutofit/>
          </a:bodyPr>
          <a:lstStyle>
            <a:lvl1pPr>
              <a:defRPr lang="en-US" sz="2400"/>
            </a:lvl1pPr>
          </a:lstStyle>
          <a:p>
            <a:pPr marL="0" lvl="0" indent="0" algn="ctr">
              <a:buFontTx/>
              <a:buNone/>
            </a:pPr>
            <a:endParaRPr lang="en-US"/>
          </a:p>
        </p:txBody>
      </p:sp>
      <p:sp>
        <p:nvSpPr>
          <p:cNvPr id="42" name="Picture Placeholder 41">
            <a:extLst>
              <a:ext uri="{FF2B5EF4-FFF2-40B4-BE49-F238E27FC236}">
                <a16:creationId xmlns:a16="http://schemas.microsoft.com/office/drawing/2014/main" id="{CA1D5714-E770-4124-B6F4-2A79AB0D075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096939" y="1295399"/>
            <a:ext cx="4206240" cy="11049000"/>
          </a:xfrm>
          <a:custGeom>
            <a:avLst/>
            <a:gdLst>
              <a:gd name="connsiteX0" fmla="*/ 0 w 4206240"/>
              <a:gd name="connsiteY0" fmla="*/ 0 h 11049000"/>
              <a:gd name="connsiteX1" fmla="*/ 4206240 w 4206240"/>
              <a:gd name="connsiteY1" fmla="*/ 0 h 11049000"/>
              <a:gd name="connsiteX2" fmla="*/ 4206240 w 4206240"/>
              <a:gd name="connsiteY2" fmla="*/ 11049000 h 11049000"/>
              <a:gd name="connsiteX3" fmla="*/ 0 w 4206240"/>
              <a:gd name="connsiteY3" fmla="*/ 11049000 h 1104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06240" h="11049000">
                <a:moveTo>
                  <a:pt x="0" y="0"/>
                </a:moveTo>
                <a:lnTo>
                  <a:pt x="4206240" y="0"/>
                </a:lnTo>
                <a:lnTo>
                  <a:pt x="4206240" y="11049000"/>
                </a:lnTo>
                <a:lnTo>
                  <a:pt x="0" y="11049000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</p:spPr>
        <p:txBody>
          <a:bodyPr wrap="square" anchor="ctr">
            <a:noAutofit/>
          </a:bodyPr>
          <a:lstStyle>
            <a:lvl1pPr>
              <a:defRPr lang="en-US" sz="2400"/>
            </a:lvl1pPr>
          </a:lstStyle>
          <a:p>
            <a:pPr marL="0" lvl="0" indent="0" algn="ctr">
              <a:buFontTx/>
              <a:buNone/>
            </a:pPr>
            <a:endParaRPr lang="en-US"/>
          </a:p>
        </p:txBody>
      </p:sp>
      <p:sp>
        <p:nvSpPr>
          <p:cNvPr id="43" name="Picture Placeholder 42">
            <a:extLst>
              <a:ext uri="{FF2B5EF4-FFF2-40B4-BE49-F238E27FC236}">
                <a16:creationId xmlns:a16="http://schemas.microsoft.com/office/drawing/2014/main" id="{0CCFF675-4CFA-4559-BF32-ACE7582DC5E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4303180" y="1295399"/>
            <a:ext cx="4206240" cy="11049000"/>
          </a:xfrm>
          <a:custGeom>
            <a:avLst/>
            <a:gdLst>
              <a:gd name="connsiteX0" fmla="*/ 0 w 4206240"/>
              <a:gd name="connsiteY0" fmla="*/ 0 h 11049000"/>
              <a:gd name="connsiteX1" fmla="*/ 4206240 w 4206240"/>
              <a:gd name="connsiteY1" fmla="*/ 0 h 11049000"/>
              <a:gd name="connsiteX2" fmla="*/ 4206240 w 4206240"/>
              <a:gd name="connsiteY2" fmla="*/ 11049000 h 11049000"/>
              <a:gd name="connsiteX3" fmla="*/ 0 w 4206240"/>
              <a:gd name="connsiteY3" fmla="*/ 11049000 h 1104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06240" h="11049000">
                <a:moveTo>
                  <a:pt x="0" y="0"/>
                </a:moveTo>
                <a:lnTo>
                  <a:pt x="4206240" y="0"/>
                </a:lnTo>
                <a:lnTo>
                  <a:pt x="4206240" y="11049000"/>
                </a:lnTo>
                <a:lnTo>
                  <a:pt x="0" y="11049000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</p:spPr>
        <p:txBody>
          <a:bodyPr wrap="square" anchor="ctr">
            <a:noAutofit/>
          </a:bodyPr>
          <a:lstStyle>
            <a:lvl1pPr>
              <a:defRPr lang="en-US" sz="2400"/>
            </a:lvl1pPr>
          </a:lstStyle>
          <a:p>
            <a:pPr marL="0" lvl="0" indent="0" algn="ctr">
              <a:buFontTx/>
              <a:buNone/>
            </a:pPr>
            <a:endParaRPr lang="en-US"/>
          </a:p>
        </p:txBody>
      </p:sp>
      <p:sp>
        <p:nvSpPr>
          <p:cNvPr id="44" name="Picture Placeholder 43">
            <a:extLst>
              <a:ext uri="{FF2B5EF4-FFF2-40B4-BE49-F238E27FC236}">
                <a16:creationId xmlns:a16="http://schemas.microsoft.com/office/drawing/2014/main" id="{12A6D458-EDF9-4371-9B79-9D32475040A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8509420" y="1295399"/>
            <a:ext cx="4206240" cy="11049000"/>
          </a:xfrm>
          <a:custGeom>
            <a:avLst/>
            <a:gdLst>
              <a:gd name="connsiteX0" fmla="*/ 0 w 4206240"/>
              <a:gd name="connsiteY0" fmla="*/ 0 h 11049000"/>
              <a:gd name="connsiteX1" fmla="*/ 4206240 w 4206240"/>
              <a:gd name="connsiteY1" fmla="*/ 0 h 11049000"/>
              <a:gd name="connsiteX2" fmla="*/ 4206240 w 4206240"/>
              <a:gd name="connsiteY2" fmla="*/ 11049000 h 11049000"/>
              <a:gd name="connsiteX3" fmla="*/ 0 w 4206240"/>
              <a:gd name="connsiteY3" fmla="*/ 11049000 h 1104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06240" h="11049000">
                <a:moveTo>
                  <a:pt x="0" y="0"/>
                </a:moveTo>
                <a:lnTo>
                  <a:pt x="4206240" y="0"/>
                </a:lnTo>
                <a:lnTo>
                  <a:pt x="4206240" y="11049000"/>
                </a:lnTo>
                <a:lnTo>
                  <a:pt x="0" y="11049000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</p:spPr>
        <p:txBody>
          <a:bodyPr wrap="square" anchor="ctr">
            <a:noAutofit/>
          </a:bodyPr>
          <a:lstStyle>
            <a:lvl1pPr>
              <a:defRPr lang="en-US" sz="2400"/>
            </a:lvl1pPr>
          </a:lstStyle>
          <a:p>
            <a:pPr marL="0" lvl="0" indent="0" algn="ctr">
              <a:buFontTx/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11775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  <p:bldP spid="41" grpId="0" animBg="1"/>
      <p:bldP spid="42" grpId="0" animBg="1"/>
      <p:bldP spid="43" grpId="0" animBg="1"/>
      <p:bldP spid="44" grpId="0" animBg="1"/>
    </p:bld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757C70D-47AE-4BCC-B703-C18D129A6673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10200765" y="2395388"/>
            <a:ext cx="3972945" cy="8484543"/>
          </a:xfrm>
          <a:custGeom>
            <a:avLst/>
            <a:gdLst>
              <a:gd name="connsiteX0" fmla="*/ 540818 w 3856038"/>
              <a:gd name="connsiteY0" fmla="*/ 33 h 8234879"/>
              <a:gd name="connsiteX1" fmla="*/ 790982 w 3856038"/>
              <a:gd name="connsiteY1" fmla="*/ 4667 h 8234879"/>
              <a:gd name="connsiteX2" fmla="*/ 845532 w 3856038"/>
              <a:gd name="connsiteY2" fmla="*/ 82184 h 8234879"/>
              <a:gd name="connsiteX3" fmla="*/ 937586 w 3856038"/>
              <a:gd name="connsiteY3" fmla="*/ 281030 h 8234879"/>
              <a:gd name="connsiteX4" fmla="*/ 1070554 w 3856038"/>
              <a:gd name="connsiteY4" fmla="*/ 328214 h 8234879"/>
              <a:gd name="connsiteX5" fmla="*/ 2754800 w 3856038"/>
              <a:gd name="connsiteY5" fmla="*/ 324844 h 8234879"/>
              <a:gd name="connsiteX6" fmla="*/ 3000278 w 3856038"/>
              <a:gd name="connsiteY6" fmla="*/ 115886 h 8234879"/>
              <a:gd name="connsiteX7" fmla="*/ 3133244 w 3856038"/>
              <a:gd name="connsiteY7" fmla="*/ 4667 h 8234879"/>
              <a:gd name="connsiteX8" fmla="*/ 3515098 w 3856038"/>
              <a:gd name="connsiteY8" fmla="*/ 14778 h 8234879"/>
              <a:gd name="connsiteX9" fmla="*/ 3842400 w 3856038"/>
              <a:gd name="connsiteY9" fmla="*/ 318103 h 8234879"/>
              <a:gd name="connsiteX10" fmla="*/ 3856038 w 3856038"/>
              <a:gd name="connsiteY10" fmla="*/ 486617 h 8234879"/>
              <a:gd name="connsiteX11" fmla="*/ 3856038 w 3856038"/>
              <a:gd name="connsiteY11" fmla="*/ 7749560 h 8234879"/>
              <a:gd name="connsiteX12" fmla="*/ 3821944 w 3856038"/>
              <a:gd name="connsiteY12" fmla="*/ 7995590 h 8234879"/>
              <a:gd name="connsiteX13" fmla="*/ 3634426 w 3856038"/>
              <a:gd name="connsiteY13" fmla="*/ 8194436 h 8234879"/>
              <a:gd name="connsiteX14" fmla="*/ 3378722 w 3856038"/>
              <a:gd name="connsiteY14" fmla="*/ 8234879 h 8234879"/>
              <a:gd name="connsiteX15" fmla="*/ 470498 w 3856038"/>
              <a:gd name="connsiteY15" fmla="*/ 8234879 h 8234879"/>
              <a:gd name="connsiteX16" fmla="*/ 279571 w 3856038"/>
              <a:gd name="connsiteY16" fmla="*/ 8214658 h 8234879"/>
              <a:gd name="connsiteX17" fmla="*/ 10228 w 3856038"/>
              <a:gd name="connsiteY17" fmla="*/ 7897852 h 8234879"/>
              <a:gd name="connsiteX18" fmla="*/ 0 w 3856038"/>
              <a:gd name="connsiteY18" fmla="*/ 7709116 h 8234879"/>
              <a:gd name="connsiteX19" fmla="*/ 0 w 3856038"/>
              <a:gd name="connsiteY19" fmla="*/ 4109662 h 8234879"/>
              <a:gd name="connsiteX20" fmla="*/ 0 w 3856038"/>
              <a:gd name="connsiteY20" fmla="*/ 513579 h 8234879"/>
              <a:gd name="connsiteX21" fmla="*/ 40913 w 3856038"/>
              <a:gd name="connsiteY21" fmla="*/ 220365 h 8234879"/>
              <a:gd name="connsiteX22" fmla="*/ 293209 w 3856038"/>
              <a:gd name="connsiteY22" fmla="*/ 18149 h 8234879"/>
              <a:gd name="connsiteX23" fmla="*/ 540818 w 3856038"/>
              <a:gd name="connsiteY23" fmla="*/ 33 h 823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3856038" h="8234879">
                <a:moveTo>
                  <a:pt x="540818" y="33"/>
                </a:moveTo>
                <a:cubicBezTo>
                  <a:pt x="623922" y="455"/>
                  <a:pt x="707452" y="4667"/>
                  <a:pt x="790982" y="4667"/>
                </a:cubicBezTo>
                <a:cubicBezTo>
                  <a:pt x="842124" y="4667"/>
                  <a:pt x="842124" y="45111"/>
                  <a:pt x="845532" y="82184"/>
                </a:cubicBezTo>
                <a:cubicBezTo>
                  <a:pt x="855760" y="159700"/>
                  <a:pt x="862580" y="233846"/>
                  <a:pt x="937586" y="281030"/>
                </a:cubicBezTo>
                <a:cubicBezTo>
                  <a:pt x="978500" y="307992"/>
                  <a:pt x="1019412" y="328214"/>
                  <a:pt x="1070554" y="328214"/>
                </a:cubicBezTo>
                <a:cubicBezTo>
                  <a:pt x="1633106" y="324844"/>
                  <a:pt x="2192248" y="328214"/>
                  <a:pt x="2754800" y="324844"/>
                </a:cubicBezTo>
                <a:cubicBezTo>
                  <a:pt x="2908224" y="324844"/>
                  <a:pt x="2976412" y="264179"/>
                  <a:pt x="3000278" y="115886"/>
                </a:cubicBezTo>
                <a:cubicBezTo>
                  <a:pt x="3020734" y="4667"/>
                  <a:pt x="3020734" y="1297"/>
                  <a:pt x="3133244" y="4667"/>
                </a:cubicBezTo>
                <a:cubicBezTo>
                  <a:pt x="3259392" y="4667"/>
                  <a:pt x="3385540" y="-2073"/>
                  <a:pt x="3515098" y="14778"/>
                </a:cubicBezTo>
                <a:cubicBezTo>
                  <a:pt x="3702614" y="35000"/>
                  <a:pt x="3811716" y="132738"/>
                  <a:pt x="3842400" y="318103"/>
                </a:cubicBezTo>
                <a:cubicBezTo>
                  <a:pt x="3849220" y="372027"/>
                  <a:pt x="3856038" y="429322"/>
                  <a:pt x="3856038" y="486617"/>
                </a:cubicBezTo>
                <a:cubicBezTo>
                  <a:pt x="3856038" y="2906474"/>
                  <a:pt x="3856038" y="5326332"/>
                  <a:pt x="3856038" y="7749560"/>
                </a:cubicBezTo>
                <a:cubicBezTo>
                  <a:pt x="3856038" y="7833816"/>
                  <a:pt x="3845810" y="7914703"/>
                  <a:pt x="3821944" y="7995590"/>
                </a:cubicBezTo>
                <a:cubicBezTo>
                  <a:pt x="3794668" y="8093328"/>
                  <a:pt x="3729890" y="8157362"/>
                  <a:pt x="3634426" y="8194436"/>
                </a:cubicBezTo>
                <a:cubicBezTo>
                  <a:pt x="3552602" y="8224768"/>
                  <a:pt x="3467366" y="8234879"/>
                  <a:pt x="3378722" y="8234879"/>
                </a:cubicBezTo>
                <a:cubicBezTo>
                  <a:pt x="2410450" y="8234879"/>
                  <a:pt x="1438770" y="8234879"/>
                  <a:pt x="470498" y="8234879"/>
                </a:cubicBezTo>
                <a:cubicBezTo>
                  <a:pt x="405719" y="8234879"/>
                  <a:pt x="340941" y="8231508"/>
                  <a:pt x="279571" y="8214658"/>
                </a:cubicBezTo>
                <a:cubicBezTo>
                  <a:pt x="115920" y="8170844"/>
                  <a:pt x="30685" y="8062995"/>
                  <a:pt x="10228" y="7897852"/>
                </a:cubicBezTo>
                <a:cubicBezTo>
                  <a:pt x="3409" y="7833816"/>
                  <a:pt x="0" y="7773152"/>
                  <a:pt x="0" y="7709116"/>
                </a:cubicBezTo>
                <a:cubicBezTo>
                  <a:pt x="0" y="6509298"/>
                  <a:pt x="0" y="5309480"/>
                  <a:pt x="0" y="4109662"/>
                </a:cubicBezTo>
                <a:cubicBezTo>
                  <a:pt x="0" y="2909845"/>
                  <a:pt x="0" y="1713397"/>
                  <a:pt x="0" y="513579"/>
                </a:cubicBezTo>
                <a:cubicBezTo>
                  <a:pt x="0" y="412471"/>
                  <a:pt x="0" y="314733"/>
                  <a:pt x="40913" y="220365"/>
                </a:cubicBezTo>
                <a:cubicBezTo>
                  <a:pt x="88645" y="105775"/>
                  <a:pt x="173880" y="41741"/>
                  <a:pt x="293209" y="18149"/>
                </a:cubicBezTo>
                <a:cubicBezTo>
                  <a:pt x="375035" y="2982"/>
                  <a:pt x="457713" y="-388"/>
                  <a:pt x="540818" y="33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  <a:ln>
            <a:noFill/>
          </a:ln>
          <a:effectLst/>
          <a:scene3d>
            <a:camera prst="isometricBottomDown"/>
            <a:lightRig rig="threePt" dir="t"/>
          </a:scene3d>
        </p:spPr>
        <p:txBody>
          <a:bodyPr wrap="square" anchor="ctr">
            <a:noAutofit/>
          </a:bodyPr>
          <a:lstStyle>
            <a:lvl1pPr>
              <a:defRPr lang="en-US" sz="44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en-US"/>
              <a:t>Drop in here your images </a:t>
            </a:r>
          </a:p>
        </p:txBody>
      </p:sp>
    </p:spTree>
    <p:extLst>
      <p:ext uri="{BB962C8B-B14F-4D97-AF65-F5344CB8AC3E}">
        <p14:creationId xmlns:p14="http://schemas.microsoft.com/office/powerpoint/2010/main" val="34412715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99AC5CB4-5FF9-4E18-9D94-94478F1FCEB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463080" y="-492367"/>
            <a:ext cx="15257575" cy="14700734"/>
          </a:xfrm>
          <a:custGeom>
            <a:avLst/>
            <a:gdLst>
              <a:gd name="connsiteX0" fmla="*/ 0 w 7829549"/>
              <a:gd name="connsiteY0" fmla="*/ 0 h 7543801"/>
              <a:gd name="connsiteX1" fmla="*/ 7829549 w 7829549"/>
              <a:gd name="connsiteY1" fmla="*/ 0 h 7543801"/>
              <a:gd name="connsiteX2" fmla="*/ 7829549 w 7829549"/>
              <a:gd name="connsiteY2" fmla="*/ 7543801 h 7543801"/>
              <a:gd name="connsiteX3" fmla="*/ 0 w 7829549"/>
              <a:gd name="connsiteY3" fmla="*/ 7543801 h 7543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829549" h="7543801">
                <a:moveTo>
                  <a:pt x="0" y="0"/>
                </a:moveTo>
                <a:lnTo>
                  <a:pt x="7829549" y="0"/>
                </a:lnTo>
                <a:lnTo>
                  <a:pt x="7829549" y="7543801"/>
                </a:lnTo>
                <a:lnTo>
                  <a:pt x="0" y="7543801"/>
                </a:lnTo>
                <a:close/>
              </a:path>
            </a:pathLst>
          </a:custGeom>
          <a:pattFill prst="pct60">
            <a:fgClr>
              <a:schemeClr val="bg1"/>
            </a:fgClr>
            <a:bgClr>
              <a:schemeClr val="bg1">
                <a:lumMod val="85000"/>
              </a:schemeClr>
            </a:bgClr>
          </a:pattFill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24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46155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4150" fill="hold"/>
                                        <p:tgtEl>
                                          <p:spTgt spid="3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1">
          <p15:clr>
            <a:srgbClr val="FBAE40"/>
          </p15:clr>
        </p15:guide>
        <p15:guide id="3" pos="985">
          <p15:clr>
            <a:srgbClr val="FBAE40"/>
          </p15:clr>
        </p15:guide>
        <p15:guide id="4" pos="1437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451391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250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18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4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19541059-E869-202E-1478-0F76DBF27DEF}"/>
              </a:ext>
            </a:extLst>
          </p:cNvPr>
          <p:cNvSpPr txBox="1">
            <a:spLocks/>
          </p:cNvSpPr>
          <p:nvPr userDrawn="1"/>
        </p:nvSpPr>
        <p:spPr>
          <a:xfrm>
            <a:off x="23408916" y="8877743"/>
            <a:ext cx="324565" cy="582761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2400" b="1" smtClean="0">
                <a:solidFill>
                  <a:schemeClr val="tx1"/>
                </a:solidFill>
                <a:latin typeface="+mj-lt"/>
              </a:rPr>
              <a:pPr algn="ctr"/>
              <a:t>‹#›</a:t>
            </a:fld>
            <a:endParaRPr lang="en-US" sz="1400" b="1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0DDCFC0-B494-9BAD-177B-B899EF3B95CD}"/>
              </a:ext>
            </a:extLst>
          </p:cNvPr>
          <p:cNvGrpSpPr/>
          <p:nvPr userDrawn="1"/>
        </p:nvGrpSpPr>
        <p:grpSpPr>
          <a:xfrm>
            <a:off x="23332870" y="446240"/>
            <a:ext cx="476655" cy="337457"/>
            <a:chOff x="6167336" y="2130357"/>
            <a:chExt cx="476655" cy="337457"/>
          </a:xfrm>
        </p:grpSpPr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120BA21C-B83F-D33E-0495-DC048892F55C}"/>
                </a:ext>
              </a:extLst>
            </p:cNvPr>
            <p:cNvCxnSpPr/>
            <p:nvPr userDrawn="1"/>
          </p:nvCxnSpPr>
          <p:spPr>
            <a:xfrm>
              <a:off x="6167336" y="2130357"/>
              <a:ext cx="476655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3A4E7D79-0F62-B1F2-2381-0313F46FD8F7}"/>
                </a:ext>
              </a:extLst>
            </p:cNvPr>
            <p:cNvCxnSpPr/>
            <p:nvPr userDrawn="1"/>
          </p:nvCxnSpPr>
          <p:spPr>
            <a:xfrm>
              <a:off x="6167336" y="2299086"/>
              <a:ext cx="476655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808AB268-6F95-53A1-288E-D3550C0CCE93}"/>
                </a:ext>
              </a:extLst>
            </p:cNvPr>
            <p:cNvCxnSpPr/>
            <p:nvPr userDrawn="1"/>
          </p:nvCxnSpPr>
          <p:spPr>
            <a:xfrm>
              <a:off x="6167336" y="2467814"/>
              <a:ext cx="476655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2629CBB2-3D6E-ED9D-87F7-2F7AF4A6E7EB}"/>
              </a:ext>
            </a:extLst>
          </p:cNvPr>
          <p:cNvGrpSpPr/>
          <p:nvPr userDrawn="1"/>
        </p:nvGrpSpPr>
        <p:grpSpPr>
          <a:xfrm>
            <a:off x="23519785" y="12234167"/>
            <a:ext cx="102824" cy="698136"/>
            <a:chOff x="729638" y="739163"/>
            <a:chExt cx="102824" cy="698136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4004EC5C-7A28-F1CF-4FD8-75F44619D814}"/>
                </a:ext>
              </a:extLst>
            </p:cNvPr>
            <p:cNvSpPr/>
            <p:nvPr userDrawn="1"/>
          </p:nvSpPr>
          <p:spPr>
            <a:xfrm>
              <a:off x="729638" y="739163"/>
              <a:ext cx="102824" cy="10282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BD1E27D8-BC53-0848-60E2-D6CD19707AFB}"/>
                </a:ext>
              </a:extLst>
            </p:cNvPr>
            <p:cNvSpPr/>
            <p:nvPr userDrawn="1"/>
          </p:nvSpPr>
          <p:spPr>
            <a:xfrm>
              <a:off x="729638" y="1036819"/>
              <a:ext cx="102824" cy="10282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37BF95F5-6C0E-8CDB-586B-601EE377749B}"/>
                </a:ext>
              </a:extLst>
            </p:cNvPr>
            <p:cNvSpPr/>
            <p:nvPr userDrawn="1"/>
          </p:nvSpPr>
          <p:spPr>
            <a:xfrm>
              <a:off x="729638" y="1334475"/>
              <a:ext cx="102824" cy="10282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6" name="Graphic 29">
            <a:extLst>
              <a:ext uri="{FF2B5EF4-FFF2-40B4-BE49-F238E27FC236}">
                <a16:creationId xmlns:a16="http://schemas.microsoft.com/office/drawing/2014/main" id="{706C54A9-0364-0F3A-25D3-6367C283238A}"/>
              </a:ext>
            </a:extLst>
          </p:cNvPr>
          <p:cNvGrpSpPr/>
          <p:nvPr userDrawn="1"/>
        </p:nvGrpSpPr>
        <p:grpSpPr>
          <a:xfrm>
            <a:off x="631422" y="446240"/>
            <a:ext cx="589131" cy="1104816"/>
            <a:chOff x="1502100" y="653619"/>
            <a:chExt cx="2035484" cy="3817207"/>
          </a:xfrm>
          <a:solidFill>
            <a:schemeClr val="tx1"/>
          </a:solidFill>
        </p:grpSpPr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575FBCDB-4989-88BA-48E9-9D93F10EA302}"/>
                </a:ext>
              </a:extLst>
            </p:cNvPr>
            <p:cNvSpPr/>
            <p:nvPr/>
          </p:nvSpPr>
          <p:spPr>
            <a:xfrm>
              <a:off x="1502100" y="653619"/>
              <a:ext cx="2035484" cy="3817207"/>
            </a:xfrm>
            <a:custGeom>
              <a:avLst/>
              <a:gdLst>
                <a:gd name="connsiteX0" fmla="*/ 1775452 w 2035484"/>
                <a:gd name="connsiteY0" fmla="*/ 2695942 h 3817207"/>
                <a:gd name="connsiteX1" fmla="*/ 1556377 w 2035484"/>
                <a:gd name="connsiteY1" fmla="*/ 2695942 h 3817207"/>
                <a:gd name="connsiteX2" fmla="*/ 1516372 w 2035484"/>
                <a:gd name="connsiteY2" fmla="*/ 2664509 h 3817207"/>
                <a:gd name="connsiteX3" fmla="*/ 1423027 w 2035484"/>
                <a:gd name="connsiteY3" fmla="*/ 2477819 h 3817207"/>
                <a:gd name="connsiteX4" fmla="*/ 1031549 w 2035484"/>
                <a:gd name="connsiteY4" fmla="*/ 2283509 h 3817207"/>
                <a:gd name="connsiteX5" fmla="*/ 508627 w 2035484"/>
                <a:gd name="connsiteY5" fmla="*/ 2785477 h 3817207"/>
                <a:gd name="connsiteX6" fmla="*/ 1010594 w 2035484"/>
                <a:gd name="connsiteY6" fmla="*/ 3308399 h 3817207"/>
                <a:gd name="connsiteX7" fmla="*/ 1515419 w 2035484"/>
                <a:gd name="connsiteY7" fmla="*/ 2931209 h 3817207"/>
                <a:gd name="connsiteX8" fmla="*/ 1518277 w 2035484"/>
                <a:gd name="connsiteY8" fmla="*/ 2917874 h 3817207"/>
                <a:gd name="connsiteX9" fmla="*/ 1546852 w 2035484"/>
                <a:gd name="connsiteY9" fmla="*/ 2895967 h 3817207"/>
                <a:gd name="connsiteX10" fmla="*/ 1985955 w 2035484"/>
                <a:gd name="connsiteY10" fmla="*/ 2895967 h 3817207"/>
                <a:gd name="connsiteX11" fmla="*/ 2022149 w 2035484"/>
                <a:gd name="connsiteY11" fmla="*/ 2895967 h 3817207"/>
                <a:gd name="connsiteX12" fmla="*/ 2035484 w 2035484"/>
                <a:gd name="connsiteY12" fmla="*/ 2909302 h 3817207"/>
                <a:gd name="connsiteX13" fmla="*/ 2035484 w 2035484"/>
                <a:gd name="connsiteY13" fmla="*/ 2912159 h 3817207"/>
                <a:gd name="connsiteX14" fmla="*/ 2033580 w 2035484"/>
                <a:gd name="connsiteY14" fmla="*/ 2935019 h 3817207"/>
                <a:gd name="connsiteX15" fmla="*/ 1294440 w 2035484"/>
                <a:gd name="connsiteY15" fmla="*/ 3779887 h 3817207"/>
                <a:gd name="connsiteX16" fmla="*/ 37139 w 2035484"/>
                <a:gd name="connsiteY16" fmla="*/ 3068369 h 3817207"/>
                <a:gd name="connsiteX17" fmla="*/ 65714 w 2035484"/>
                <a:gd name="connsiteY17" fmla="*/ 2434004 h 3817207"/>
                <a:gd name="connsiteX18" fmla="*/ 315269 w 2035484"/>
                <a:gd name="connsiteY18" fmla="*/ 1756777 h 3817207"/>
                <a:gd name="connsiteX19" fmla="*/ 944872 w 2035484"/>
                <a:gd name="connsiteY19" fmla="*/ 42277 h 3817207"/>
                <a:gd name="connsiteX20" fmla="*/ 1009642 w 2035484"/>
                <a:gd name="connsiteY20" fmla="*/ 20369 h 3817207"/>
                <a:gd name="connsiteX21" fmla="*/ 1340159 w 2035484"/>
                <a:gd name="connsiteY21" fmla="*/ 531862 h 3817207"/>
                <a:gd name="connsiteX22" fmla="*/ 1266817 w 2035484"/>
                <a:gd name="connsiteY22" fmla="*/ 1033829 h 3817207"/>
                <a:gd name="connsiteX23" fmla="*/ 929632 w 2035484"/>
                <a:gd name="connsiteY23" fmla="*/ 1708199 h 3817207"/>
                <a:gd name="connsiteX24" fmla="*/ 906772 w 2035484"/>
                <a:gd name="connsiteY24" fmla="*/ 1752967 h 3817207"/>
                <a:gd name="connsiteX25" fmla="*/ 923917 w 2035484"/>
                <a:gd name="connsiteY25" fmla="*/ 1779637 h 3817207"/>
                <a:gd name="connsiteX26" fmla="*/ 1038217 w 2035484"/>
                <a:gd name="connsiteY26" fmla="*/ 1776779 h 3817207"/>
                <a:gd name="connsiteX27" fmla="*/ 1658294 w 2035484"/>
                <a:gd name="connsiteY27" fmla="*/ 1999664 h 3817207"/>
                <a:gd name="connsiteX28" fmla="*/ 2023102 w 2035484"/>
                <a:gd name="connsiteY28" fmla="*/ 2599739 h 3817207"/>
                <a:gd name="connsiteX29" fmla="*/ 2034532 w 2035484"/>
                <a:gd name="connsiteY29" fmla="*/ 2672129 h 3817207"/>
                <a:gd name="connsiteX30" fmla="*/ 2013577 w 2035484"/>
                <a:gd name="connsiteY30" fmla="*/ 2697847 h 3817207"/>
                <a:gd name="connsiteX31" fmla="*/ 1774499 w 2035484"/>
                <a:gd name="connsiteY31" fmla="*/ 2697847 h 3817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035484" h="3817207">
                  <a:moveTo>
                    <a:pt x="1775452" y="2695942"/>
                  </a:moveTo>
                  <a:lnTo>
                    <a:pt x="1556377" y="2695942"/>
                  </a:lnTo>
                  <a:cubicBezTo>
                    <a:pt x="1525897" y="2695942"/>
                    <a:pt x="1524944" y="2695942"/>
                    <a:pt x="1516372" y="2664509"/>
                  </a:cubicBezTo>
                  <a:cubicBezTo>
                    <a:pt x="1499227" y="2595929"/>
                    <a:pt x="1466842" y="2533064"/>
                    <a:pt x="1423027" y="2477819"/>
                  </a:cubicBezTo>
                  <a:cubicBezTo>
                    <a:pt x="1322062" y="2353994"/>
                    <a:pt x="1191569" y="2287319"/>
                    <a:pt x="1031549" y="2283509"/>
                  </a:cubicBezTo>
                  <a:cubicBezTo>
                    <a:pt x="748657" y="2277794"/>
                    <a:pt x="514342" y="2502584"/>
                    <a:pt x="508627" y="2785477"/>
                  </a:cubicBezTo>
                  <a:cubicBezTo>
                    <a:pt x="502912" y="3068369"/>
                    <a:pt x="727702" y="3302684"/>
                    <a:pt x="1010594" y="3308399"/>
                  </a:cubicBezTo>
                  <a:cubicBezTo>
                    <a:pt x="1244909" y="3313162"/>
                    <a:pt x="1453507" y="3157904"/>
                    <a:pt x="1515419" y="2931209"/>
                  </a:cubicBezTo>
                  <a:cubicBezTo>
                    <a:pt x="1516372" y="2926447"/>
                    <a:pt x="1517324" y="2922637"/>
                    <a:pt x="1518277" y="2917874"/>
                  </a:cubicBezTo>
                  <a:cubicBezTo>
                    <a:pt x="1523992" y="2897872"/>
                    <a:pt x="1525897" y="2895967"/>
                    <a:pt x="1546852" y="2895967"/>
                  </a:cubicBezTo>
                  <a:lnTo>
                    <a:pt x="1985955" y="2895967"/>
                  </a:lnTo>
                  <a:cubicBezTo>
                    <a:pt x="1998337" y="2895967"/>
                    <a:pt x="2009767" y="2895967"/>
                    <a:pt x="2022149" y="2895967"/>
                  </a:cubicBezTo>
                  <a:cubicBezTo>
                    <a:pt x="2029769" y="2895967"/>
                    <a:pt x="2035484" y="2901682"/>
                    <a:pt x="2035484" y="2909302"/>
                  </a:cubicBezTo>
                  <a:cubicBezTo>
                    <a:pt x="2035484" y="2909302"/>
                    <a:pt x="2035484" y="2911207"/>
                    <a:pt x="2035484" y="2912159"/>
                  </a:cubicBezTo>
                  <a:cubicBezTo>
                    <a:pt x="2035484" y="2919779"/>
                    <a:pt x="2035484" y="2927399"/>
                    <a:pt x="2033580" y="2935019"/>
                  </a:cubicBezTo>
                  <a:cubicBezTo>
                    <a:pt x="1976430" y="3339832"/>
                    <a:pt x="1688774" y="3672254"/>
                    <a:pt x="1294440" y="3779887"/>
                  </a:cubicBezTo>
                  <a:cubicBezTo>
                    <a:pt x="750562" y="3930382"/>
                    <a:pt x="187634" y="3612247"/>
                    <a:pt x="37139" y="3068369"/>
                  </a:cubicBezTo>
                  <a:cubicBezTo>
                    <a:pt x="-20963" y="2858819"/>
                    <a:pt x="-10486" y="2636887"/>
                    <a:pt x="65714" y="2434004"/>
                  </a:cubicBezTo>
                  <a:cubicBezTo>
                    <a:pt x="148582" y="2208262"/>
                    <a:pt x="232402" y="1982519"/>
                    <a:pt x="315269" y="1756777"/>
                  </a:cubicBezTo>
                  <a:cubicBezTo>
                    <a:pt x="524819" y="1185277"/>
                    <a:pt x="735322" y="613777"/>
                    <a:pt x="944872" y="42277"/>
                  </a:cubicBezTo>
                  <a:cubicBezTo>
                    <a:pt x="963922" y="-9158"/>
                    <a:pt x="965827" y="-10111"/>
                    <a:pt x="1009642" y="20369"/>
                  </a:cubicBezTo>
                  <a:cubicBezTo>
                    <a:pt x="1189665" y="146099"/>
                    <a:pt x="1301107" y="316597"/>
                    <a:pt x="1340159" y="531862"/>
                  </a:cubicBezTo>
                  <a:cubicBezTo>
                    <a:pt x="1372544" y="702359"/>
                    <a:pt x="1346827" y="879524"/>
                    <a:pt x="1266817" y="1033829"/>
                  </a:cubicBezTo>
                  <a:cubicBezTo>
                    <a:pt x="1154422" y="1258619"/>
                    <a:pt x="1041074" y="1483409"/>
                    <a:pt x="929632" y="1708199"/>
                  </a:cubicBezTo>
                  <a:cubicBezTo>
                    <a:pt x="922012" y="1723439"/>
                    <a:pt x="914392" y="1737727"/>
                    <a:pt x="906772" y="1752967"/>
                  </a:cubicBezTo>
                  <a:cubicBezTo>
                    <a:pt x="897247" y="1774874"/>
                    <a:pt x="901057" y="1780589"/>
                    <a:pt x="923917" y="1779637"/>
                  </a:cubicBezTo>
                  <a:cubicBezTo>
                    <a:pt x="962017" y="1778684"/>
                    <a:pt x="1000117" y="1775827"/>
                    <a:pt x="1038217" y="1776779"/>
                  </a:cubicBezTo>
                  <a:cubicBezTo>
                    <a:pt x="1263959" y="1778684"/>
                    <a:pt x="1483034" y="1856789"/>
                    <a:pt x="1658294" y="1999664"/>
                  </a:cubicBezTo>
                  <a:cubicBezTo>
                    <a:pt x="1852605" y="2154922"/>
                    <a:pt x="1972619" y="2356852"/>
                    <a:pt x="2023102" y="2599739"/>
                  </a:cubicBezTo>
                  <a:cubicBezTo>
                    <a:pt x="2027865" y="2623552"/>
                    <a:pt x="2031674" y="2647364"/>
                    <a:pt x="2034532" y="2672129"/>
                  </a:cubicBezTo>
                  <a:cubicBezTo>
                    <a:pt x="2037390" y="2692132"/>
                    <a:pt x="2032627" y="2696894"/>
                    <a:pt x="2013577" y="2697847"/>
                  </a:cubicBezTo>
                  <a:lnTo>
                    <a:pt x="1774499" y="269784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7D34ED32-76C5-A2A2-46ED-F57C2FE2E868}"/>
                </a:ext>
              </a:extLst>
            </p:cNvPr>
            <p:cNvSpPr/>
            <p:nvPr/>
          </p:nvSpPr>
          <p:spPr>
            <a:xfrm>
              <a:off x="1503045" y="1064002"/>
              <a:ext cx="291914" cy="1722631"/>
            </a:xfrm>
            <a:custGeom>
              <a:avLst/>
              <a:gdLst>
                <a:gd name="connsiteX0" fmla="*/ 952 w 291914"/>
                <a:gd name="connsiteY0" fmla="*/ 1722632 h 1722631"/>
                <a:gd name="connsiteX1" fmla="*/ 952 w 291914"/>
                <a:gd name="connsiteY1" fmla="*/ 1374969 h 1722631"/>
                <a:gd name="connsiteX2" fmla="*/ 952 w 291914"/>
                <a:gd name="connsiteY2" fmla="*/ 1342584 h 1722631"/>
                <a:gd name="connsiteX3" fmla="*/ 3810 w 291914"/>
                <a:gd name="connsiteY3" fmla="*/ 465331 h 1722631"/>
                <a:gd name="connsiteX4" fmla="*/ 3810 w 291914"/>
                <a:gd name="connsiteY4" fmla="*/ 40516 h 1722631"/>
                <a:gd name="connsiteX5" fmla="*/ 48577 w 291914"/>
                <a:gd name="connsiteY5" fmla="*/ 4321 h 1722631"/>
                <a:gd name="connsiteX6" fmla="*/ 271463 w 291914"/>
                <a:gd name="connsiteY6" fmla="*/ 96714 h 1722631"/>
                <a:gd name="connsiteX7" fmla="*/ 290513 w 291914"/>
                <a:gd name="connsiteY7" fmla="*/ 136719 h 1722631"/>
                <a:gd name="connsiteX8" fmla="*/ 211455 w 291914"/>
                <a:gd name="connsiteY8" fmla="*/ 576774 h 1722631"/>
                <a:gd name="connsiteX9" fmla="*/ 122872 w 291914"/>
                <a:gd name="connsiteY9" fmla="*/ 1071122 h 1722631"/>
                <a:gd name="connsiteX10" fmla="*/ 16192 w 291914"/>
                <a:gd name="connsiteY10" fmla="*/ 1664529 h 1722631"/>
                <a:gd name="connsiteX11" fmla="*/ 0 w 291914"/>
                <a:gd name="connsiteY11" fmla="*/ 1720726 h 1722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1914" h="1722631">
                  <a:moveTo>
                    <a:pt x="952" y="1722632"/>
                  </a:moveTo>
                  <a:lnTo>
                    <a:pt x="952" y="1374969"/>
                  </a:lnTo>
                  <a:cubicBezTo>
                    <a:pt x="952" y="1364491"/>
                    <a:pt x="952" y="1354014"/>
                    <a:pt x="952" y="1342584"/>
                  </a:cubicBezTo>
                  <a:cubicBezTo>
                    <a:pt x="1905" y="1050166"/>
                    <a:pt x="2858" y="757749"/>
                    <a:pt x="3810" y="465331"/>
                  </a:cubicBezTo>
                  <a:cubicBezTo>
                    <a:pt x="3810" y="323409"/>
                    <a:pt x="3810" y="182439"/>
                    <a:pt x="3810" y="40516"/>
                  </a:cubicBezTo>
                  <a:cubicBezTo>
                    <a:pt x="3810" y="-1394"/>
                    <a:pt x="8572" y="-5204"/>
                    <a:pt x="48577" y="4321"/>
                  </a:cubicBezTo>
                  <a:cubicBezTo>
                    <a:pt x="126683" y="24324"/>
                    <a:pt x="201930" y="54804"/>
                    <a:pt x="271463" y="96714"/>
                  </a:cubicBezTo>
                  <a:cubicBezTo>
                    <a:pt x="287655" y="103381"/>
                    <a:pt x="295275" y="120527"/>
                    <a:pt x="290513" y="136719"/>
                  </a:cubicBezTo>
                  <a:cubicBezTo>
                    <a:pt x="262890" y="283404"/>
                    <a:pt x="238125" y="430089"/>
                    <a:pt x="211455" y="576774"/>
                  </a:cubicBezTo>
                  <a:cubicBezTo>
                    <a:pt x="181927" y="741557"/>
                    <a:pt x="152400" y="906339"/>
                    <a:pt x="122872" y="1071122"/>
                  </a:cubicBezTo>
                  <a:cubicBezTo>
                    <a:pt x="87630" y="1269241"/>
                    <a:pt x="51435" y="1466409"/>
                    <a:pt x="16192" y="1664529"/>
                  </a:cubicBezTo>
                  <a:cubicBezTo>
                    <a:pt x="12383" y="1681674"/>
                    <a:pt x="10477" y="1692151"/>
                    <a:pt x="0" y="17207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84FE1078-62F3-95AC-F319-E47F152095D1}"/>
                </a:ext>
              </a:extLst>
            </p:cNvPr>
            <p:cNvSpPr/>
            <p:nvPr/>
          </p:nvSpPr>
          <p:spPr>
            <a:xfrm>
              <a:off x="1683067" y="817105"/>
              <a:ext cx="541936" cy="1609483"/>
            </a:xfrm>
            <a:custGeom>
              <a:avLst/>
              <a:gdLst>
                <a:gd name="connsiteX0" fmla="*/ 953 w 541936"/>
                <a:gd name="connsiteY0" fmla="*/ 1608531 h 1609483"/>
                <a:gd name="connsiteX1" fmla="*/ 89535 w 541936"/>
                <a:gd name="connsiteY1" fmla="*/ 1138949 h 1609483"/>
                <a:gd name="connsiteX2" fmla="*/ 224790 w 541936"/>
                <a:gd name="connsiteY2" fmla="*/ 384568 h 1609483"/>
                <a:gd name="connsiteX3" fmla="*/ 285750 w 541936"/>
                <a:gd name="connsiteY3" fmla="*/ 43573 h 1609483"/>
                <a:gd name="connsiteX4" fmla="*/ 342900 w 541936"/>
                <a:gd name="connsiteY4" fmla="*/ 13093 h 1609483"/>
                <a:gd name="connsiteX5" fmla="*/ 521017 w 541936"/>
                <a:gd name="connsiteY5" fmla="*/ 123583 h 1609483"/>
                <a:gd name="connsiteX6" fmla="*/ 535305 w 541936"/>
                <a:gd name="connsiteY6" fmla="*/ 173113 h 1609483"/>
                <a:gd name="connsiteX7" fmla="*/ 456248 w 541936"/>
                <a:gd name="connsiteY7" fmla="*/ 387426 h 1609483"/>
                <a:gd name="connsiteX8" fmla="*/ 200025 w 541936"/>
                <a:gd name="connsiteY8" fmla="*/ 1085608 h 1609483"/>
                <a:gd name="connsiteX9" fmla="*/ 35242 w 541936"/>
                <a:gd name="connsiteY9" fmla="*/ 1530426 h 1609483"/>
                <a:gd name="connsiteX10" fmla="*/ 0 w 541936"/>
                <a:gd name="connsiteY10" fmla="*/ 1609483 h 1609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1936" h="1609483">
                  <a:moveTo>
                    <a:pt x="953" y="1608531"/>
                  </a:moveTo>
                  <a:cubicBezTo>
                    <a:pt x="24765" y="1478038"/>
                    <a:pt x="66675" y="1268488"/>
                    <a:pt x="89535" y="1138949"/>
                  </a:cubicBezTo>
                  <a:cubicBezTo>
                    <a:pt x="134303" y="887488"/>
                    <a:pt x="180023" y="636028"/>
                    <a:pt x="224790" y="384568"/>
                  </a:cubicBezTo>
                  <a:cubicBezTo>
                    <a:pt x="244792" y="270268"/>
                    <a:pt x="264795" y="156921"/>
                    <a:pt x="285750" y="43573"/>
                  </a:cubicBezTo>
                  <a:cubicBezTo>
                    <a:pt x="294323" y="-1194"/>
                    <a:pt x="289560" y="-11672"/>
                    <a:pt x="342900" y="13093"/>
                  </a:cubicBezTo>
                  <a:cubicBezTo>
                    <a:pt x="406717" y="41668"/>
                    <a:pt x="466725" y="78816"/>
                    <a:pt x="521017" y="123583"/>
                  </a:cubicBezTo>
                  <a:cubicBezTo>
                    <a:pt x="545783" y="143586"/>
                    <a:pt x="545783" y="144538"/>
                    <a:pt x="535305" y="173113"/>
                  </a:cubicBezTo>
                  <a:cubicBezTo>
                    <a:pt x="509588" y="244551"/>
                    <a:pt x="482917" y="315988"/>
                    <a:pt x="456248" y="387426"/>
                  </a:cubicBezTo>
                  <a:cubicBezTo>
                    <a:pt x="370523" y="619836"/>
                    <a:pt x="284798" y="853199"/>
                    <a:pt x="200025" y="1085608"/>
                  </a:cubicBezTo>
                  <a:cubicBezTo>
                    <a:pt x="145733" y="1234199"/>
                    <a:pt x="90488" y="1382788"/>
                    <a:pt x="35242" y="1530426"/>
                  </a:cubicBezTo>
                  <a:lnTo>
                    <a:pt x="0" y="16094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5317E50C-AAA2-DAF5-6125-4724C5D29730}"/>
              </a:ext>
            </a:extLst>
          </p:cNvPr>
          <p:cNvSpPr txBox="1"/>
          <p:nvPr userDrawn="1"/>
        </p:nvSpPr>
        <p:spPr>
          <a:xfrm rot="16200000">
            <a:off x="-3194635" y="4189140"/>
            <a:ext cx="80705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3200" b="1" dirty="0" err="1">
                <a:solidFill>
                  <a:schemeClr val="tx1"/>
                </a:solidFill>
              </a:rPr>
              <a:t>breadcrumbsdata.com</a:t>
            </a:r>
            <a:endParaRPr lang="en-US" sz="3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6747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4030" r:id="rId2"/>
    <p:sldLayoutId id="2147483820" r:id="rId3"/>
    <p:sldLayoutId id="2147483819" r:id="rId4"/>
    <p:sldLayoutId id="2147484089" r:id="rId5"/>
    <p:sldLayoutId id="2147484090" r:id="rId6"/>
    <p:sldLayoutId id="2147484091" r:id="rId7"/>
    <p:sldLayoutId id="2147484092" r:id="rId8"/>
    <p:sldLayoutId id="2147484097" r:id="rId9"/>
    <p:sldLayoutId id="2147484098" r:id="rId10"/>
    <p:sldLayoutId id="2147484099" r:id="rId11"/>
  </p:sldLayoutIdLst>
  <p:txStyles>
    <p:titleStyle>
      <a:lvl1pPr algn="l" defTabSz="1828800" rtl="0" eaLnBrk="1" latinLnBrk="0" hangingPunct="1">
        <a:lnSpc>
          <a:spcPct val="90000"/>
        </a:lnSpc>
        <a:spcBef>
          <a:spcPct val="0"/>
        </a:spcBef>
        <a:buNone/>
        <a:defRPr sz="8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00" indent="-457200" algn="l" defTabSz="1828800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sz="5600" kern="1200">
          <a:solidFill>
            <a:schemeClr val="tx1"/>
          </a:solidFill>
          <a:latin typeface="+mn-lt"/>
          <a:ea typeface="+mn-ea"/>
          <a:cs typeface="+mn-cs"/>
        </a:defRPr>
      </a:lvl1pPr>
      <a:lvl2pPr marL="1371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3pPr>
      <a:lvl4pPr marL="3200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41148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2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>
          <p15:clr>
            <a:srgbClr val="F26B43"/>
          </p15:clr>
        </p15:guide>
        <p15:guide id="2" pos="7681">
          <p15:clr>
            <a:srgbClr val="F26B43"/>
          </p15:clr>
        </p15:guide>
        <p15:guide id="3" orient="horz" pos="816">
          <p15:clr>
            <a:srgbClr val="F26B43"/>
          </p15:clr>
        </p15:guide>
        <p15:guide id="4" orient="horz" pos="7776">
          <p15:clr>
            <a:srgbClr val="F26B43"/>
          </p15:clr>
        </p15:guide>
        <p15:guide id="5" pos="14377">
          <p15:clr>
            <a:srgbClr val="F26B43"/>
          </p15:clr>
        </p15:guide>
        <p15:guide id="6" pos="985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21733920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0F4803DE-62F9-8AD3-FF1E-3AD3A9085754}"/>
              </a:ext>
            </a:extLst>
          </p:cNvPr>
          <p:cNvSpPr txBox="1">
            <a:spLocks/>
          </p:cNvSpPr>
          <p:nvPr userDrawn="1"/>
        </p:nvSpPr>
        <p:spPr>
          <a:xfrm>
            <a:off x="23408916" y="8877743"/>
            <a:ext cx="324565" cy="582761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2400" b="1" smtClean="0">
                <a:solidFill>
                  <a:schemeClr val="tx1"/>
                </a:solidFill>
                <a:latin typeface="+mj-lt"/>
              </a:rPr>
              <a:pPr algn="ctr"/>
              <a:t>‹#›</a:t>
            </a:fld>
            <a:endParaRPr lang="en-US" sz="1400" b="1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550CA0D-B997-07F5-6344-022E071B4003}"/>
              </a:ext>
            </a:extLst>
          </p:cNvPr>
          <p:cNvGrpSpPr/>
          <p:nvPr userDrawn="1"/>
        </p:nvGrpSpPr>
        <p:grpSpPr>
          <a:xfrm>
            <a:off x="23332870" y="446240"/>
            <a:ext cx="476655" cy="337457"/>
            <a:chOff x="6167336" y="2130357"/>
            <a:chExt cx="476655" cy="337457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603DCDBA-547D-C939-0836-C52C4B8A75C1}"/>
                </a:ext>
              </a:extLst>
            </p:cNvPr>
            <p:cNvCxnSpPr/>
            <p:nvPr userDrawn="1"/>
          </p:nvCxnSpPr>
          <p:spPr>
            <a:xfrm>
              <a:off x="6167336" y="2130357"/>
              <a:ext cx="476655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A2BCBB54-ADAA-F516-D3E7-D98E262C0365}"/>
                </a:ext>
              </a:extLst>
            </p:cNvPr>
            <p:cNvCxnSpPr/>
            <p:nvPr userDrawn="1"/>
          </p:nvCxnSpPr>
          <p:spPr>
            <a:xfrm>
              <a:off x="6167336" y="2299086"/>
              <a:ext cx="476655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BFC5D852-22D4-1B97-FFC9-BE4506001434}"/>
                </a:ext>
              </a:extLst>
            </p:cNvPr>
            <p:cNvCxnSpPr/>
            <p:nvPr userDrawn="1"/>
          </p:nvCxnSpPr>
          <p:spPr>
            <a:xfrm>
              <a:off x="6167336" y="2467814"/>
              <a:ext cx="476655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24BBD9B0-0AC4-55F0-EFDF-A7F9E139B598}"/>
              </a:ext>
            </a:extLst>
          </p:cNvPr>
          <p:cNvGrpSpPr/>
          <p:nvPr userDrawn="1"/>
        </p:nvGrpSpPr>
        <p:grpSpPr>
          <a:xfrm>
            <a:off x="23519785" y="12234167"/>
            <a:ext cx="102824" cy="698136"/>
            <a:chOff x="729638" y="739163"/>
            <a:chExt cx="102824" cy="698136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935ABD9B-D9B0-72E1-C9B7-AE3078D9F041}"/>
                </a:ext>
              </a:extLst>
            </p:cNvPr>
            <p:cNvSpPr/>
            <p:nvPr userDrawn="1"/>
          </p:nvSpPr>
          <p:spPr>
            <a:xfrm>
              <a:off x="729638" y="739163"/>
              <a:ext cx="102824" cy="10282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EBCE9511-5023-E497-0C86-17094065E004}"/>
                </a:ext>
              </a:extLst>
            </p:cNvPr>
            <p:cNvSpPr/>
            <p:nvPr userDrawn="1"/>
          </p:nvSpPr>
          <p:spPr>
            <a:xfrm>
              <a:off x="729638" y="1036819"/>
              <a:ext cx="102824" cy="10282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903B04DD-6B50-FD07-C44A-91269C861051}"/>
                </a:ext>
              </a:extLst>
            </p:cNvPr>
            <p:cNvSpPr/>
            <p:nvPr userDrawn="1"/>
          </p:nvSpPr>
          <p:spPr>
            <a:xfrm>
              <a:off x="729638" y="1334475"/>
              <a:ext cx="102824" cy="10282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aphic 29">
            <a:extLst>
              <a:ext uri="{FF2B5EF4-FFF2-40B4-BE49-F238E27FC236}">
                <a16:creationId xmlns:a16="http://schemas.microsoft.com/office/drawing/2014/main" id="{D84C647F-783C-60E3-9ED2-D6863405B17D}"/>
              </a:ext>
            </a:extLst>
          </p:cNvPr>
          <p:cNvGrpSpPr/>
          <p:nvPr userDrawn="1"/>
        </p:nvGrpSpPr>
        <p:grpSpPr>
          <a:xfrm>
            <a:off x="631422" y="446240"/>
            <a:ext cx="589131" cy="1104816"/>
            <a:chOff x="1502100" y="653619"/>
            <a:chExt cx="2035484" cy="3817207"/>
          </a:xfrm>
          <a:solidFill>
            <a:schemeClr val="tx1"/>
          </a:solidFill>
        </p:grpSpPr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8C81B6DD-D5AE-E1AF-3CD1-2A6FAA80F00E}"/>
                </a:ext>
              </a:extLst>
            </p:cNvPr>
            <p:cNvSpPr/>
            <p:nvPr/>
          </p:nvSpPr>
          <p:spPr>
            <a:xfrm>
              <a:off x="1502100" y="653619"/>
              <a:ext cx="2035484" cy="3817207"/>
            </a:xfrm>
            <a:custGeom>
              <a:avLst/>
              <a:gdLst>
                <a:gd name="connsiteX0" fmla="*/ 1775452 w 2035484"/>
                <a:gd name="connsiteY0" fmla="*/ 2695942 h 3817207"/>
                <a:gd name="connsiteX1" fmla="*/ 1556377 w 2035484"/>
                <a:gd name="connsiteY1" fmla="*/ 2695942 h 3817207"/>
                <a:gd name="connsiteX2" fmla="*/ 1516372 w 2035484"/>
                <a:gd name="connsiteY2" fmla="*/ 2664509 h 3817207"/>
                <a:gd name="connsiteX3" fmla="*/ 1423027 w 2035484"/>
                <a:gd name="connsiteY3" fmla="*/ 2477819 h 3817207"/>
                <a:gd name="connsiteX4" fmla="*/ 1031549 w 2035484"/>
                <a:gd name="connsiteY4" fmla="*/ 2283509 h 3817207"/>
                <a:gd name="connsiteX5" fmla="*/ 508627 w 2035484"/>
                <a:gd name="connsiteY5" fmla="*/ 2785477 h 3817207"/>
                <a:gd name="connsiteX6" fmla="*/ 1010594 w 2035484"/>
                <a:gd name="connsiteY6" fmla="*/ 3308399 h 3817207"/>
                <a:gd name="connsiteX7" fmla="*/ 1515419 w 2035484"/>
                <a:gd name="connsiteY7" fmla="*/ 2931209 h 3817207"/>
                <a:gd name="connsiteX8" fmla="*/ 1518277 w 2035484"/>
                <a:gd name="connsiteY8" fmla="*/ 2917874 h 3817207"/>
                <a:gd name="connsiteX9" fmla="*/ 1546852 w 2035484"/>
                <a:gd name="connsiteY9" fmla="*/ 2895967 h 3817207"/>
                <a:gd name="connsiteX10" fmla="*/ 1985955 w 2035484"/>
                <a:gd name="connsiteY10" fmla="*/ 2895967 h 3817207"/>
                <a:gd name="connsiteX11" fmla="*/ 2022149 w 2035484"/>
                <a:gd name="connsiteY11" fmla="*/ 2895967 h 3817207"/>
                <a:gd name="connsiteX12" fmla="*/ 2035484 w 2035484"/>
                <a:gd name="connsiteY12" fmla="*/ 2909302 h 3817207"/>
                <a:gd name="connsiteX13" fmla="*/ 2035484 w 2035484"/>
                <a:gd name="connsiteY13" fmla="*/ 2912159 h 3817207"/>
                <a:gd name="connsiteX14" fmla="*/ 2033580 w 2035484"/>
                <a:gd name="connsiteY14" fmla="*/ 2935019 h 3817207"/>
                <a:gd name="connsiteX15" fmla="*/ 1294440 w 2035484"/>
                <a:gd name="connsiteY15" fmla="*/ 3779887 h 3817207"/>
                <a:gd name="connsiteX16" fmla="*/ 37139 w 2035484"/>
                <a:gd name="connsiteY16" fmla="*/ 3068369 h 3817207"/>
                <a:gd name="connsiteX17" fmla="*/ 65714 w 2035484"/>
                <a:gd name="connsiteY17" fmla="*/ 2434004 h 3817207"/>
                <a:gd name="connsiteX18" fmla="*/ 315269 w 2035484"/>
                <a:gd name="connsiteY18" fmla="*/ 1756777 h 3817207"/>
                <a:gd name="connsiteX19" fmla="*/ 944872 w 2035484"/>
                <a:gd name="connsiteY19" fmla="*/ 42277 h 3817207"/>
                <a:gd name="connsiteX20" fmla="*/ 1009642 w 2035484"/>
                <a:gd name="connsiteY20" fmla="*/ 20369 h 3817207"/>
                <a:gd name="connsiteX21" fmla="*/ 1340159 w 2035484"/>
                <a:gd name="connsiteY21" fmla="*/ 531862 h 3817207"/>
                <a:gd name="connsiteX22" fmla="*/ 1266817 w 2035484"/>
                <a:gd name="connsiteY22" fmla="*/ 1033829 h 3817207"/>
                <a:gd name="connsiteX23" fmla="*/ 929632 w 2035484"/>
                <a:gd name="connsiteY23" fmla="*/ 1708199 h 3817207"/>
                <a:gd name="connsiteX24" fmla="*/ 906772 w 2035484"/>
                <a:gd name="connsiteY24" fmla="*/ 1752967 h 3817207"/>
                <a:gd name="connsiteX25" fmla="*/ 923917 w 2035484"/>
                <a:gd name="connsiteY25" fmla="*/ 1779637 h 3817207"/>
                <a:gd name="connsiteX26" fmla="*/ 1038217 w 2035484"/>
                <a:gd name="connsiteY26" fmla="*/ 1776779 h 3817207"/>
                <a:gd name="connsiteX27" fmla="*/ 1658294 w 2035484"/>
                <a:gd name="connsiteY27" fmla="*/ 1999664 h 3817207"/>
                <a:gd name="connsiteX28" fmla="*/ 2023102 w 2035484"/>
                <a:gd name="connsiteY28" fmla="*/ 2599739 h 3817207"/>
                <a:gd name="connsiteX29" fmla="*/ 2034532 w 2035484"/>
                <a:gd name="connsiteY29" fmla="*/ 2672129 h 3817207"/>
                <a:gd name="connsiteX30" fmla="*/ 2013577 w 2035484"/>
                <a:gd name="connsiteY30" fmla="*/ 2697847 h 3817207"/>
                <a:gd name="connsiteX31" fmla="*/ 1774499 w 2035484"/>
                <a:gd name="connsiteY31" fmla="*/ 2697847 h 3817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035484" h="3817207">
                  <a:moveTo>
                    <a:pt x="1775452" y="2695942"/>
                  </a:moveTo>
                  <a:lnTo>
                    <a:pt x="1556377" y="2695942"/>
                  </a:lnTo>
                  <a:cubicBezTo>
                    <a:pt x="1525897" y="2695942"/>
                    <a:pt x="1524944" y="2695942"/>
                    <a:pt x="1516372" y="2664509"/>
                  </a:cubicBezTo>
                  <a:cubicBezTo>
                    <a:pt x="1499227" y="2595929"/>
                    <a:pt x="1466842" y="2533064"/>
                    <a:pt x="1423027" y="2477819"/>
                  </a:cubicBezTo>
                  <a:cubicBezTo>
                    <a:pt x="1322062" y="2353994"/>
                    <a:pt x="1191569" y="2287319"/>
                    <a:pt x="1031549" y="2283509"/>
                  </a:cubicBezTo>
                  <a:cubicBezTo>
                    <a:pt x="748657" y="2277794"/>
                    <a:pt x="514342" y="2502584"/>
                    <a:pt x="508627" y="2785477"/>
                  </a:cubicBezTo>
                  <a:cubicBezTo>
                    <a:pt x="502912" y="3068369"/>
                    <a:pt x="727702" y="3302684"/>
                    <a:pt x="1010594" y="3308399"/>
                  </a:cubicBezTo>
                  <a:cubicBezTo>
                    <a:pt x="1244909" y="3313162"/>
                    <a:pt x="1453507" y="3157904"/>
                    <a:pt x="1515419" y="2931209"/>
                  </a:cubicBezTo>
                  <a:cubicBezTo>
                    <a:pt x="1516372" y="2926447"/>
                    <a:pt x="1517324" y="2922637"/>
                    <a:pt x="1518277" y="2917874"/>
                  </a:cubicBezTo>
                  <a:cubicBezTo>
                    <a:pt x="1523992" y="2897872"/>
                    <a:pt x="1525897" y="2895967"/>
                    <a:pt x="1546852" y="2895967"/>
                  </a:cubicBezTo>
                  <a:lnTo>
                    <a:pt x="1985955" y="2895967"/>
                  </a:lnTo>
                  <a:cubicBezTo>
                    <a:pt x="1998337" y="2895967"/>
                    <a:pt x="2009767" y="2895967"/>
                    <a:pt x="2022149" y="2895967"/>
                  </a:cubicBezTo>
                  <a:cubicBezTo>
                    <a:pt x="2029769" y="2895967"/>
                    <a:pt x="2035484" y="2901682"/>
                    <a:pt x="2035484" y="2909302"/>
                  </a:cubicBezTo>
                  <a:cubicBezTo>
                    <a:pt x="2035484" y="2909302"/>
                    <a:pt x="2035484" y="2911207"/>
                    <a:pt x="2035484" y="2912159"/>
                  </a:cubicBezTo>
                  <a:cubicBezTo>
                    <a:pt x="2035484" y="2919779"/>
                    <a:pt x="2035484" y="2927399"/>
                    <a:pt x="2033580" y="2935019"/>
                  </a:cubicBezTo>
                  <a:cubicBezTo>
                    <a:pt x="1976430" y="3339832"/>
                    <a:pt x="1688774" y="3672254"/>
                    <a:pt x="1294440" y="3779887"/>
                  </a:cubicBezTo>
                  <a:cubicBezTo>
                    <a:pt x="750562" y="3930382"/>
                    <a:pt x="187634" y="3612247"/>
                    <a:pt x="37139" y="3068369"/>
                  </a:cubicBezTo>
                  <a:cubicBezTo>
                    <a:pt x="-20963" y="2858819"/>
                    <a:pt x="-10486" y="2636887"/>
                    <a:pt x="65714" y="2434004"/>
                  </a:cubicBezTo>
                  <a:cubicBezTo>
                    <a:pt x="148582" y="2208262"/>
                    <a:pt x="232402" y="1982519"/>
                    <a:pt x="315269" y="1756777"/>
                  </a:cubicBezTo>
                  <a:cubicBezTo>
                    <a:pt x="524819" y="1185277"/>
                    <a:pt x="735322" y="613777"/>
                    <a:pt x="944872" y="42277"/>
                  </a:cubicBezTo>
                  <a:cubicBezTo>
                    <a:pt x="963922" y="-9158"/>
                    <a:pt x="965827" y="-10111"/>
                    <a:pt x="1009642" y="20369"/>
                  </a:cubicBezTo>
                  <a:cubicBezTo>
                    <a:pt x="1189665" y="146099"/>
                    <a:pt x="1301107" y="316597"/>
                    <a:pt x="1340159" y="531862"/>
                  </a:cubicBezTo>
                  <a:cubicBezTo>
                    <a:pt x="1372544" y="702359"/>
                    <a:pt x="1346827" y="879524"/>
                    <a:pt x="1266817" y="1033829"/>
                  </a:cubicBezTo>
                  <a:cubicBezTo>
                    <a:pt x="1154422" y="1258619"/>
                    <a:pt x="1041074" y="1483409"/>
                    <a:pt x="929632" y="1708199"/>
                  </a:cubicBezTo>
                  <a:cubicBezTo>
                    <a:pt x="922012" y="1723439"/>
                    <a:pt x="914392" y="1737727"/>
                    <a:pt x="906772" y="1752967"/>
                  </a:cubicBezTo>
                  <a:cubicBezTo>
                    <a:pt x="897247" y="1774874"/>
                    <a:pt x="901057" y="1780589"/>
                    <a:pt x="923917" y="1779637"/>
                  </a:cubicBezTo>
                  <a:cubicBezTo>
                    <a:pt x="962017" y="1778684"/>
                    <a:pt x="1000117" y="1775827"/>
                    <a:pt x="1038217" y="1776779"/>
                  </a:cubicBezTo>
                  <a:cubicBezTo>
                    <a:pt x="1263959" y="1778684"/>
                    <a:pt x="1483034" y="1856789"/>
                    <a:pt x="1658294" y="1999664"/>
                  </a:cubicBezTo>
                  <a:cubicBezTo>
                    <a:pt x="1852605" y="2154922"/>
                    <a:pt x="1972619" y="2356852"/>
                    <a:pt x="2023102" y="2599739"/>
                  </a:cubicBezTo>
                  <a:cubicBezTo>
                    <a:pt x="2027865" y="2623552"/>
                    <a:pt x="2031674" y="2647364"/>
                    <a:pt x="2034532" y="2672129"/>
                  </a:cubicBezTo>
                  <a:cubicBezTo>
                    <a:pt x="2037390" y="2692132"/>
                    <a:pt x="2032627" y="2696894"/>
                    <a:pt x="2013577" y="2697847"/>
                  </a:cubicBezTo>
                  <a:lnTo>
                    <a:pt x="1774499" y="269784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AE15F87D-7911-ADE4-13C0-BD701E018B57}"/>
                </a:ext>
              </a:extLst>
            </p:cNvPr>
            <p:cNvSpPr/>
            <p:nvPr/>
          </p:nvSpPr>
          <p:spPr>
            <a:xfrm>
              <a:off x="1503045" y="1064002"/>
              <a:ext cx="291914" cy="1722631"/>
            </a:xfrm>
            <a:custGeom>
              <a:avLst/>
              <a:gdLst>
                <a:gd name="connsiteX0" fmla="*/ 952 w 291914"/>
                <a:gd name="connsiteY0" fmla="*/ 1722632 h 1722631"/>
                <a:gd name="connsiteX1" fmla="*/ 952 w 291914"/>
                <a:gd name="connsiteY1" fmla="*/ 1374969 h 1722631"/>
                <a:gd name="connsiteX2" fmla="*/ 952 w 291914"/>
                <a:gd name="connsiteY2" fmla="*/ 1342584 h 1722631"/>
                <a:gd name="connsiteX3" fmla="*/ 3810 w 291914"/>
                <a:gd name="connsiteY3" fmla="*/ 465331 h 1722631"/>
                <a:gd name="connsiteX4" fmla="*/ 3810 w 291914"/>
                <a:gd name="connsiteY4" fmla="*/ 40516 h 1722631"/>
                <a:gd name="connsiteX5" fmla="*/ 48577 w 291914"/>
                <a:gd name="connsiteY5" fmla="*/ 4321 h 1722631"/>
                <a:gd name="connsiteX6" fmla="*/ 271463 w 291914"/>
                <a:gd name="connsiteY6" fmla="*/ 96714 h 1722631"/>
                <a:gd name="connsiteX7" fmla="*/ 290513 w 291914"/>
                <a:gd name="connsiteY7" fmla="*/ 136719 h 1722631"/>
                <a:gd name="connsiteX8" fmla="*/ 211455 w 291914"/>
                <a:gd name="connsiteY8" fmla="*/ 576774 h 1722631"/>
                <a:gd name="connsiteX9" fmla="*/ 122872 w 291914"/>
                <a:gd name="connsiteY9" fmla="*/ 1071122 h 1722631"/>
                <a:gd name="connsiteX10" fmla="*/ 16192 w 291914"/>
                <a:gd name="connsiteY10" fmla="*/ 1664529 h 1722631"/>
                <a:gd name="connsiteX11" fmla="*/ 0 w 291914"/>
                <a:gd name="connsiteY11" fmla="*/ 1720726 h 1722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1914" h="1722631">
                  <a:moveTo>
                    <a:pt x="952" y="1722632"/>
                  </a:moveTo>
                  <a:lnTo>
                    <a:pt x="952" y="1374969"/>
                  </a:lnTo>
                  <a:cubicBezTo>
                    <a:pt x="952" y="1364491"/>
                    <a:pt x="952" y="1354014"/>
                    <a:pt x="952" y="1342584"/>
                  </a:cubicBezTo>
                  <a:cubicBezTo>
                    <a:pt x="1905" y="1050166"/>
                    <a:pt x="2858" y="757749"/>
                    <a:pt x="3810" y="465331"/>
                  </a:cubicBezTo>
                  <a:cubicBezTo>
                    <a:pt x="3810" y="323409"/>
                    <a:pt x="3810" y="182439"/>
                    <a:pt x="3810" y="40516"/>
                  </a:cubicBezTo>
                  <a:cubicBezTo>
                    <a:pt x="3810" y="-1394"/>
                    <a:pt x="8572" y="-5204"/>
                    <a:pt x="48577" y="4321"/>
                  </a:cubicBezTo>
                  <a:cubicBezTo>
                    <a:pt x="126683" y="24324"/>
                    <a:pt x="201930" y="54804"/>
                    <a:pt x="271463" y="96714"/>
                  </a:cubicBezTo>
                  <a:cubicBezTo>
                    <a:pt x="287655" y="103381"/>
                    <a:pt x="295275" y="120527"/>
                    <a:pt x="290513" y="136719"/>
                  </a:cubicBezTo>
                  <a:cubicBezTo>
                    <a:pt x="262890" y="283404"/>
                    <a:pt x="238125" y="430089"/>
                    <a:pt x="211455" y="576774"/>
                  </a:cubicBezTo>
                  <a:cubicBezTo>
                    <a:pt x="181927" y="741557"/>
                    <a:pt x="152400" y="906339"/>
                    <a:pt x="122872" y="1071122"/>
                  </a:cubicBezTo>
                  <a:cubicBezTo>
                    <a:pt x="87630" y="1269241"/>
                    <a:pt x="51435" y="1466409"/>
                    <a:pt x="16192" y="1664529"/>
                  </a:cubicBezTo>
                  <a:cubicBezTo>
                    <a:pt x="12383" y="1681674"/>
                    <a:pt x="10477" y="1692151"/>
                    <a:pt x="0" y="17207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6D5B57DE-4609-91F5-A2C1-6DD19726D3FF}"/>
                </a:ext>
              </a:extLst>
            </p:cNvPr>
            <p:cNvSpPr/>
            <p:nvPr/>
          </p:nvSpPr>
          <p:spPr>
            <a:xfrm>
              <a:off x="1683067" y="817105"/>
              <a:ext cx="541936" cy="1609483"/>
            </a:xfrm>
            <a:custGeom>
              <a:avLst/>
              <a:gdLst>
                <a:gd name="connsiteX0" fmla="*/ 953 w 541936"/>
                <a:gd name="connsiteY0" fmla="*/ 1608531 h 1609483"/>
                <a:gd name="connsiteX1" fmla="*/ 89535 w 541936"/>
                <a:gd name="connsiteY1" fmla="*/ 1138949 h 1609483"/>
                <a:gd name="connsiteX2" fmla="*/ 224790 w 541936"/>
                <a:gd name="connsiteY2" fmla="*/ 384568 h 1609483"/>
                <a:gd name="connsiteX3" fmla="*/ 285750 w 541936"/>
                <a:gd name="connsiteY3" fmla="*/ 43573 h 1609483"/>
                <a:gd name="connsiteX4" fmla="*/ 342900 w 541936"/>
                <a:gd name="connsiteY4" fmla="*/ 13093 h 1609483"/>
                <a:gd name="connsiteX5" fmla="*/ 521017 w 541936"/>
                <a:gd name="connsiteY5" fmla="*/ 123583 h 1609483"/>
                <a:gd name="connsiteX6" fmla="*/ 535305 w 541936"/>
                <a:gd name="connsiteY6" fmla="*/ 173113 h 1609483"/>
                <a:gd name="connsiteX7" fmla="*/ 456248 w 541936"/>
                <a:gd name="connsiteY7" fmla="*/ 387426 h 1609483"/>
                <a:gd name="connsiteX8" fmla="*/ 200025 w 541936"/>
                <a:gd name="connsiteY8" fmla="*/ 1085608 h 1609483"/>
                <a:gd name="connsiteX9" fmla="*/ 35242 w 541936"/>
                <a:gd name="connsiteY9" fmla="*/ 1530426 h 1609483"/>
                <a:gd name="connsiteX10" fmla="*/ 0 w 541936"/>
                <a:gd name="connsiteY10" fmla="*/ 1609483 h 1609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1936" h="1609483">
                  <a:moveTo>
                    <a:pt x="953" y="1608531"/>
                  </a:moveTo>
                  <a:cubicBezTo>
                    <a:pt x="24765" y="1478038"/>
                    <a:pt x="66675" y="1268488"/>
                    <a:pt x="89535" y="1138949"/>
                  </a:cubicBezTo>
                  <a:cubicBezTo>
                    <a:pt x="134303" y="887488"/>
                    <a:pt x="180023" y="636028"/>
                    <a:pt x="224790" y="384568"/>
                  </a:cubicBezTo>
                  <a:cubicBezTo>
                    <a:pt x="244792" y="270268"/>
                    <a:pt x="264795" y="156921"/>
                    <a:pt x="285750" y="43573"/>
                  </a:cubicBezTo>
                  <a:cubicBezTo>
                    <a:pt x="294323" y="-1194"/>
                    <a:pt x="289560" y="-11672"/>
                    <a:pt x="342900" y="13093"/>
                  </a:cubicBezTo>
                  <a:cubicBezTo>
                    <a:pt x="406717" y="41668"/>
                    <a:pt x="466725" y="78816"/>
                    <a:pt x="521017" y="123583"/>
                  </a:cubicBezTo>
                  <a:cubicBezTo>
                    <a:pt x="545783" y="143586"/>
                    <a:pt x="545783" y="144538"/>
                    <a:pt x="535305" y="173113"/>
                  </a:cubicBezTo>
                  <a:cubicBezTo>
                    <a:pt x="509588" y="244551"/>
                    <a:pt x="482917" y="315988"/>
                    <a:pt x="456248" y="387426"/>
                  </a:cubicBezTo>
                  <a:cubicBezTo>
                    <a:pt x="370523" y="619836"/>
                    <a:pt x="284798" y="853199"/>
                    <a:pt x="200025" y="1085608"/>
                  </a:cubicBezTo>
                  <a:cubicBezTo>
                    <a:pt x="145733" y="1234199"/>
                    <a:pt x="90488" y="1382788"/>
                    <a:pt x="35242" y="1530426"/>
                  </a:cubicBezTo>
                  <a:lnTo>
                    <a:pt x="0" y="16094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D7D9A387-F614-F259-1EF0-7479AEC8588E}"/>
              </a:ext>
            </a:extLst>
          </p:cNvPr>
          <p:cNvSpPr txBox="1"/>
          <p:nvPr userDrawn="1"/>
        </p:nvSpPr>
        <p:spPr>
          <a:xfrm rot="16200000">
            <a:off x="-3194635" y="3303555"/>
            <a:ext cx="80705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3200" b="1" dirty="0">
                <a:solidFill>
                  <a:schemeClr val="tx1"/>
                </a:solidFill>
              </a:rPr>
              <a:t>Breadcrumbs.</a:t>
            </a:r>
          </a:p>
        </p:txBody>
      </p:sp>
    </p:spTree>
    <p:extLst>
      <p:ext uri="{BB962C8B-B14F-4D97-AF65-F5344CB8AC3E}">
        <p14:creationId xmlns:p14="http://schemas.microsoft.com/office/powerpoint/2010/main" val="37770196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9" r:id="rId1"/>
    <p:sldLayoutId id="2147484051" r:id="rId2"/>
    <p:sldLayoutId id="2147484050" r:id="rId3"/>
  </p:sldLayoutIdLst>
  <p:txStyles>
    <p:titleStyle>
      <a:lvl1pPr algn="l" defTabSz="1828800" rtl="0" eaLnBrk="1" latinLnBrk="0" hangingPunct="1">
        <a:lnSpc>
          <a:spcPct val="90000"/>
        </a:lnSpc>
        <a:spcBef>
          <a:spcPct val="0"/>
        </a:spcBef>
        <a:buNone/>
        <a:defRPr sz="8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00" indent="-457200" algn="l" defTabSz="1828800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sz="5600" kern="1200">
          <a:solidFill>
            <a:schemeClr val="tx1"/>
          </a:solidFill>
          <a:latin typeface="+mn-lt"/>
          <a:ea typeface="+mn-ea"/>
          <a:cs typeface="+mn-cs"/>
        </a:defRPr>
      </a:lvl1pPr>
      <a:lvl2pPr marL="1371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3pPr>
      <a:lvl4pPr marL="3200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41148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2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>
          <p15:clr>
            <a:srgbClr val="F26B43"/>
          </p15:clr>
        </p15:guide>
        <p15:guide id="2" pos="7681">
          <p15:clr>
            <a:srgbClr val="F26B43"/>
          </p15:clr>
        </p15:guide>
        <p15:guide id="3" orient="horz" pos="816">
          <p15:clr>
            <a:srgbClr val="F26B43"/>
          </p15:clr>
        </p15:guide>
        <p15:guide id="4" orient="horz" pos="7776">
          <p15:clr>
            <a:srgbClr val="F26B43"/>
          </p15:clr>
        </p15:guide>
        <p15:guide id="5" pos="14377">
          <p15:clr>
            <a:srgbClr val="F26B43"/>
          </p15:clr>
        </p15:guide>
        <p15:guide id="6" pos="98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A0993D7C-9B80-83FD-4AAC-DCE2AD6D19A2}"/>
              </a:ext>
            </a:extLst>
          </p:cNvPr>
          <p:cNvSpPr txBox="1">
            <a:spLocks/>
          </p:cNvSpPr>
          <p:nvPr userDrawn="1"/>
        </p:nvSpPr>
        <p:spPr>
          <a:xfrm>
            <a:off x="23408916" y="8877743"/>
            <a:ext cx="324565" cy="582761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2400" b="1" smtClean="0">
                <a:solidFill>
                  <a:schemeClr val="tx1"/>
                </a:solidFill>
                <a:latin typeface="+mj-lt"/>
              </a:rPr>
              <a:pPr algn="ctr"/>
              <a:t>‹#›</a:t>
            </a:fld>
            <a:endParaRPr lang="en-US" sz="1400" b="1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CD6161E-5374-706D-5820-58A1FCBB56F3}"/>
              </a:ext>
            </a:extLst>
          </p:cNvPr>
          <p:cNvGrpSpPr/>
          <p:nvPr userDrawn="1"/>
        </p:nvGrpSpPr>
        <p:grpSpPr>
          <a:xfrm>
            <a:off x="23332870" y="446240"/>
            <a:ext cx="476655" cy="337457"/>
            <a:chOff x="6167336" y="2130357"/>
            <a:chExt cx="476655" cy="337457"/>
          </a:xfrm>
        </p:grpSpPr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9FF286EA-40DC-FF81-E6DE-78563BBA5F2A}"/>
                </a:ext>
              </a:extLst>
            </p:cNvPr>
            <p:cNvCxnSpPr/>
            <p:nvPr userDrawn="1"/>
          </p:nvCxnSpPr>
          <p:spPr>
            <a:xfrm>
              <a:off x="6167336" y="2130357"/>
              <a:ext cx="476655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BF666347-F7C1-DE32-706F-F60FAB192268}"/>
                </a:ext>
              </a:extLst>
            </p:cNvPr>
            <p:cNvCxnSpPr/>
            <p:nvPr userDrawn="1"/>
          </p:nvCxnSpPr>
          <p:spPr>
            <a:xfrm>
              <a:off x="6167336" y="2299086"/>
              <a:ext cx="476655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73896A99-20CB-C53A-B59E-F555C85ECB6C}"/>
                </a:ext>
              </a:extLst>
            </p:cNvPr>
            <p:cNvCxnSpPr/>
            <p:nvPr userDrawn="1"/>
          </p:nvCxnSpPr>
          <p:spPr>
            <a:xfrm>
              <a:off x="6167336" y="2467814"/>
              <a:ext cx="476655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B0FF8459-2057-167B-B3E2-00A45F7AB2FB}"/>
              </a:ext>
            </a:extLst>
          </p:cNvPr>
          <p:cNvGrpSpPr/>
          <p:nvPr userDrawn="1"/>
        </p:nvGrpSpPr>
        <p:grpSpPr>
          <a:xfrm>
            <a:off x="23519785" y="12234167"/>
            <a:ext cx="102824" cy="698136"/>
            <a:chOff x="729638" y="739163"/>
            <a:chExt cx="102824" cy="698136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004840C9-ABE0-A945-BDFE-B2FB31FBAFB4}"/>
                </a:ext>
              </a:extLst>
            </p:cNvPr>
            <p:cNvSpPr/>
            <p:nvPr userDrawn="1"/>
          </p:nvSpPr>
          <p:spPr>
            <a:xfrm>
              <a:off x="729638" y="739163"/>
              <a:ext cx="102824" cy="10282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9B0211EE-D82D-D587-5854-0FC6034BE031}"/>
                </a:ext>
              </a:extLst>
            </p:cNvPr>
            <p:cNvSpPr/>
            <p:nvPr userDrawn="1"/>
          </p:nvSpPr>
          <p:spPr>
            <a:xfrm>
              <a:off x="729638" y="1036819"/>
              <a:ext cx="102824" cy="10282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EBC81799-412B-7181-4383-81F5DBD1F738}"/>
                </a:ext>
              </a:extLst>
            </p:cNvPr>
            <p:cNvSpPr/>
            <p:nvPr userDrawn="1"/>
          </p:nvSpPr>
          <p:spPr>
            <a:xfrm>
              <a:off x="729638" y="1334475"/>
              <a:ext cx="102824" cy="10282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4" name="Graphic 29">
            <a:extLst>
              <a:ext uri="{FF2B5EF4-FFF2-40B4-BE49-F238E27FC236}">
                <a16:creationId xmlns:a16="http://schemas.microsoft.com/office/drawing/2014/main" id="{4DD16AB1-DF03-CB22-1B23-302DCF4C26C3}"/>
              </a:ext>
            </a:extLst>
          </p:cNvPr>
          <p:cNvGrpSpPr/>
          <p:nvPr userDrawn="1"/>
        </p:nvGrpSpPr>
        <p:grpSpPr>
          <a:xfrm>
            <a:off x="631422" y="446240"/>
            <a:ext cx="589131" cy="1104816"/>
            <a:chOff x="1502100" y="653619"/>
            <a:chExt cx="2035484" cy="3817207"/>
          </a:xfrm>
          <a:solidFill>
            <a:schemeClr val="tx1"/>
          </a:solidFill>
        </p:grpSpPr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41839EB3-0013-E32E-029B-986EBAE633AD}"/>
                </a:ext>
              </a:extLst>
            </p:cNvPr>
            <p:cNvSpPr/>
            <p:nvPr/>
          </p:nvSpPr>
          <p:spPr>
            <a:xfrm>
              <a:off x="1502100" y="653619"/>
              <a:ext cx="2035484" cy="3817207"/>
            </a:xfrm>
            <a:custGeom>
              <a:avLst/>
              <a:gdLst>
                <a:gd name="connsiteX0" fmla="*/ 1775452 w 2035484"/>
                <a:gd name="connsiteY0" fmla="*/ 2695942 h 3817207"/>
                <a:gd name="connsiteX1" fmla="*/ 1556377 w 2035484"/>
                <a:gd name="connsiteY1" fmla="*/ 2695942 h 3817207"/>
                <a:gd name="connsiteX2" fmla="*/ 1516372 w 2035484"/>
                <a:gd name="connsiteY2" fmla="*/ 2664509 h 3817207"/>
                <a:gd name="connsiteX3" fmla="*/ 1423027 w 2035484"/>
                <a:gd name="connsiteY3" fmla="*/ 2477819 h 3817207"/>
                <a:gd name="connsiteX4" fmla="*/ 1031549 w 2035484"/>
                <a:gd name="connsiteY4" fmla="*/ 2283509 h 3817207"/>
                <a:gd name="connsiteX5" fmla="*/ 508627 w 2035484"/>
                <a:gd name="connsiteY5" fmla="*/ 2785477 h 3817207"/>
                <a:gd name="connsiteX6" fmla="*/ 1010594 w 2035484"/>
                <a:gd name="connsiteY6" fmla="*/ 3308399 h 3817207"/>
                <a:gd name="connsiteX7" fmla="*/ 1515419 w 2035484"/>
                <a:gd name="connsiteY7" fmla="*/ 2931209 h 3817207"/>
                <a:gd name="connsiteX8" fmla="*/ 1518277 w 2035484"/>
                <a:gd name="connsiteY8" fmla="*/ 2917874 h 3817207"/>
                <a:gd name="connsiteX9" fmla="*/ 1546852 w 2035484"/>
                <a:gd name="connsiteY9" fmla="*/ 2895967 h 3817207"/>
                <a:gd name="connsiteX10" fmla="*/ 1985955 w 2035484"/>
                <a:gd name="connsiteY10" fmla="*/ 2895967 h 3817207"/>
                <a:gd name="connsiteX11" fmla="*/ 2022149 w 2035484"/>
                <a:gd name="connsiteY11" fmla="*/ 2895967 h 3817207"/>
                <a:gd name="connsiteX12" fmla="*/ 2035484 w 2035484"/>
                <a:gd name="connsiteY12" fmla="*/ 2909302 h 3817207"/>
                <a:gd name="connsiteX13" fmla="*/ 2035484 w 2035484"/>
                <a:gd name="connsiteY13" fmla="*/ 2912159 h 3817207"/>
                <a:gd name="connsiteX14" fmla="*/ 2033580 w 2035484"/>
                <a:gd name="connsiteY14" fmla="*/ 2935019 h 3817207"/>
                <a:gd name="connsiteX15" fmla="*/ 1294440 w 2035484"/>
                <a:gd name="connsiteY15" fmla="*/ 3779887 h 3817207"/>
                <a:gd name="connsiteX16" fmla="*/ 37139 w 2035484"/>
                <a:gd name="connsiteY16" fmla="*/ 3068369 h 3817207"/>
                <a:gd name="connsiteX17" fmla="*/ 65714 w 2035484"/>
                <a:gd name="connsiteY17" fmla="*/ 2434004 h 3817207"/>
                <a:gd name="connsiteX18" fmla="*/ 315269 w 2035484"/>
                <a:gd name="connsiteY18" fmla="*/ 1756777 h 3817207"/>
                <a:gd name="connsiteX19" fmla="*/ 944872 w 2035484"/>
                <a:gd name="connsiteY19" fmla="*/ 42277 h 3817207"/>
                <a:gd name="connsiteX20" fmla="*/ 1009642 w 2035484"/>
                <a:gd name="connsiteY20" fmla="*/ 20369 h 3817207"/>
                <a:gd name="connsiteX21" fmla="*/ 1340159 w 2035484"/>
                <a:gd name="connsiteY21" fmla="*/ 531862 h 3817207"/>
                <a:gd name="connsiteX22" fmla="*/ 1266817 w 2035484"/>
                <a:gd name="connsiteY22" fmla="*/ 1033829 h 3817207"/>
                <a:gd name="connsiteX23" fmla="*/ 929632 w 2035484"/>
                <a:gd name="connsiteY23" fmla="*/ 1708199 h 3817207"/>
                <a:gd name="connsiteX24" fmla="*/ 906772 w 2035484"/>
                <a:gd name="connsiteY24" fmla="*/ 1752967 h 3817207"/>
                <a:gd name="connsiteX25" fmla="*/ 923917 w 2035484"/>
                <a:gd name="connsiteY25" fmla="*/ 1779637 h 3817207"/>
                <a:gd name="connsiteX26" fmla="*/ 1038217 w 2035484"/>
                <a:gd name="connsiteY26" fmla="*/ 1776779 h 3817207"/>
                <a:gd name="connsiteX27" fmla="*/ 1658294 w 2035484"/>
                <a:gd name="connsiteY27" fmla="*/ 1999664 h 3817207"/>
                <a:gd name="connsiteX28" fmla="*/ 2023102 w 2035484"/>
                <a:gd name="connsiteY28" fmla="*/ 2599739 h 3817207"/>
                <a:gd name="connsiteX29" fmla="*/ 2034532 w 2035484"/>
                <a:gd name="connsiteY29" fmla="*/ 2672129 h 3817207"/>
                <a:gd name="connsiteX30" fmla="*/ 2013577 w 2035484"/>
                <a:gd name="connsiteY30" fmla="*/ 2697847 h 3817207"/>
                <a:gd name="connsiteX31" fmla="*/ 1774499 w 2035484"/>
                <a:gd name="connsiteY31" fmla="*/ 2697847 h 3817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035484" h="3817207">
                  <a:moveTo>
                    <a:pt x="1775452" y="2695942"/>
                  </a:moveTo>
                  <a:lnTo>
                    <a:pt x="1556377" y="2695942"/>
                  </a:lnTo>
                  <a:cubicBezTo>
                    <a:pt x="1525897" y="2695942"/>
                    <a:pt x="1524944" y="2695942"/>
                    <a:pt x="1516372" y="2664509"/>
                  </a:cubicBezTo>
                  <a:cubicBezTo>
                    <a:pt x="1499227" y="2595929"/>
                    <a:pt x="1466842" y="2533064"/>
                    <a:pt x="1423027" y="2477819"/>
                  </a:cubicBezTo>
                  <a:cubicBezTo>
                    <a:pt x="1322062" y="2353994"/>
                    <a:pt x="1191569" y="2287319"/>
                    <a:pt x="1031549" y="2283509"/>
                  </a:cubicBezTo>
                  <a:cubicBezTo>
                    <a:pt x="748657" y="2277794"/>
                    <a:pt x="514342" y="2502584"/>
                    <a:pt x="508627" y="2785477"/>
                  </a:cubicBezTo>
                  <a:cubicBezTo>
                    <a:pt x="502912" y="3068369"/>
                    <a:pt x="727702" y="3302684"/>
                    <a:pt x="1010594" y="3308399"/>
                  </a:cubicBezTo>
                  <a:cubicBezTo>
                    <a:pt x="1244909" y="3313162"/>
                    <a:pt x="1453507" y="3157904"/>
                    <a:pt x="1515419" y="2931209"/>
                  </a:cubicBezTo>
                  <a:cubicBezTo>
                    <a:pt x="1516372" y="2926447"/>
                    <a:pt x="1517324" y="2922637"/>
                    <a:pt x="1518277" y="2917874"/>
                  </a:cubicBezTo>
                  <a:cubicBezTo>
                    <a:pt x="1523992" y="2897872"/>
                    <a:pt x="1525897" y="2895967"/>
                    <a:pt x="1546852" y="2895967"/>
                  </a:cubicBezTo>
                  <a:lnTo>
                    <a:pt x="1985955" y="2895967"/>
                  </a:lnTo>
                  <a:cubicBezTo>
                    <a:pt x="1998337" y="2895967"/>
                    <a:pt x="2009767" y="2895967"/>
                    <a:pt x="2022149" y="2895967"/>
                  </a:cubicBezTo>
                  <a:cubicBezTo>
                    <a:pt x="2029769" y="2895967"/>
                    <a:pt x="2035484" y="2901682"/>
                    <a:pt x="2035484" y="2909302"/>
                  </a:cubicBezTo>
                  <a:cubicBezTo>
                    <a:pt x="2035484" y="2909302"/>
                    <a:pt x="2035484" y="2911207"/>
                    <a:pt x="2035484" y="2912159"/>
                  </a:cubicBezTo>
                  <a:cubicBezTo>
                    <a:pt x="2035484" y="2919779"/>
                    <a:pt x="2035484" y="2927399"/>
                    <a:pt x="2033580" y="2935019"/>
                  </a:cubicBezTo>
                  <a:cubicBezTo>
                    <a:pt x="1976430" y="3339832"/>
                    <a:pt x="1688774" y="3672254"/>
                    <a:pt x="1294440" y="3779887"/>
                  </a:cubicBezTo>
                  <a:cubicBezTo>
                    <a:pt x="750562" y="3930382"/>
                    <a:pt x="187634" y="3612247"/>
                    <a:pt x="37139" y="3068369"/>
                  </a:cubicBezTo>
                  <a:cubicBezTo>
                    <a:pt x="-20963" y="2858819"/>
                    <a:pt x="-10486" y="2636887"/>
                    <a:pt x="65714" y="2434004"/>
                  </a:cubicBezTo>
                  <a:cubicBezTo>
                    <a:pt x="148582" y="2208262"/>
                    <a:pt x="232402" y="1982519"/>
                    <a:pt x="315269" y="1756777"/>
                  </a:cubicBezTo>
                  <a:cubicBezTo>
                    <a:pt x="524819" y="1185277"/>
                    <a:pt x="735322" y="613777"/>
                    <a:pt x="944872" y="42277"/>
                  </a:cubicBezTo>
                  <a:cubicBezTo>
                    <a:pt x="963922" y="-9158"/>
                    <a:pt x="965827" y="-10111"/>
                    <a:pt x="1009642" y="20369"/>
                  </a:cubicBezTo>
                  <a:cubicBezTo>
                    <a:pt x="1189665" y="146099"/>
                    <a:pt x="1301107" y="316597"/>
                    <a:pt x="1340159" y="531862"/>
                  </a:cubicBezTo>
                  <a:cubicBezTo>
                    <a:pt x="1372544" y="702359"/>
                    <a:pt x="1346827" y="879524"/>
                    <a:pt x="1266817" y="1033829"/>
                  </a:cubicBezTo>
                  <a:cubicBezTo>
                    <a:pt x="1154422" y="1258619"/>
                    <a:pt x="1041074" y="1483409"/>
                    <a:pt x="929632" y="1708199"/>
                  </a:cubicBezTo>
                  <a:cubicBezTo>
                    <a:pt x="922012" y="1723439"/>
                    <a:pt x="914392" y="1737727"/>
                    <a:pt x="906772" y="1752967"/>
                  </a:cubicBezTo>
                  <a:cubicBezTo>
                    <a:pt x="897247" y="1774874"/>
                    <a:pt x="901057" y="1780589"/>
                    <a:pt x="923917" y="1779637"/>
                  </a:cubicBezTo>
                  <a:cubicBezTo>
                    <a:pt x="962017" y="1778684"/>
                    <a:pt x="1000117" y="1775827"/>
                    <a:pt x="1038217" y="1776779"/>
                  </a:cubicBezTo>
                  <a:cubicBezTo>
                    <a:pt x="1263959" y="1778684"/>
                    <a:pt x="1483034" y="1856789"/>
                    <a:pt x="1658294" y="1999664"/>
                  </a:cubicBezTo>
                  <a:cubicBezTo>
                    <a:pt x="1852605" y="2154922"/>
                    <a:pt x="1972619" y="2356852"/>
                    <a:pt x="2023102" y="2599739"/>
                  </a:cubicBezTo>
                  <a:cubicBezTo>
                    <a:pt x="2027865" y="2623552"/>
                    <a:pt x="2031674" y="2647364"/>
                    <a:pt x="2034532" y="2672129"/>
                  </a:cubicBezTo>
                  <a:cubicBezTo>
                    <a:pt x="2037390" y="2692132"/>
                    <a:pt x="2032627" y="2696894"/>
                    <a:pt x="2013577" y="2697847"/>
                  </a:cubicBezTo>
                  <a:lnTo>
                    <a:pt x="1774499" y="269784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76FF0225-855D-860B-60FB-ECD65C6A5B48}"/>
                </a:ext>
              </a:extLst>
            </p:cNvPr>
            <p:cNvSpPr/>
            <p:nvPr/>
          </p:nvSpPr>
          <p:spPr>
            <a:xfrm>
              <a:off x="1503045" y="1064002"/>
              <a:ext cx="291914" cy="1722631"/>
            </a:xfrm>
            <a:custGeom>
              <a:avLst/>
              <a:gdLst>
                <a:gd name="connsiteX0" fmla="*/ 952 w 291914"/>
                <a:gd name="connsiteY0" fmla="*/ 1722632 h 1722631"/>
                <a:gd name="connsiteX1" fmla="*/ 952 w 291914"/>
                <a:gd name="connsiteY1" fmla="*/ 1374969 h 1722631"/>
                <a:gd name="connsiteX2" fmla="*/ 952 w 291914"/>
                <a:gd name="connsiteY2" fmla="*/ 1342584 h 1722631"/>
                <a:gd name="connsiteX3" fmla="*/ 3810 w 291914"/>
                <a:gd name="connsiteY3" fmla="*/ 465331 h 1722631"/>
                <a:gd name="connsiteX4" fmla="*/ 3810 w 291914"/>
                <a:gd name="connsiteY4" fmla="*/ 40516 h 1722631"/>
                <a:gd name="connsiteX5" fmla="*/ 48577 w 291914"/>
                <a:gd name="connsiteY5" fmla="*/ 4321 h 1722631"/>
                <a:gd name="connsiteX6" fmla="*/ 271463 w 291914"/>
                <a:gd name="connsiteY6" fmla="*/ 96714 h 1722631"/>
                <a:gd name="connsiteX7" fmla="*/ 290513 w 291914"/>
                <a:gd name="connsiteY7" fmla="*/ 136719 h 1722631"/>
                <a:gd name="connsiteX8" fmla="*/ 211455 w 291914"/>
                <a:gd name="connsiteY8" fmla="*/ 576774 h 1722631"/>
                <a:gd name="connsiteX9" fmla="*/ 122872 w 291914"/>
                <a:gd name="connsiteY9" fmla="*/ 1071122 h 1722631"/>
                <a:gd name="connsiteX10" fmla="*/ 16192 w 291914"/>
                <a:gd name="connsiteY10" fmla="*/ 1664529 h 1722631"/>
                <a:gd name="connsiteX11" fmla="*/ 0 w 291914"/>
                <a:gd name="connsiteY11" fmla="*/ 1720726 h 1722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1914" h="1722631">
                  <a:moveTo>
                    <a:pt x="952" y="1722632"/>
                  </a:moveTo>
                  <a:lnTo>
                    <a:pt x="952" y="1374969"/>
                  </a:lnTo>
                  <a:cubicBezTo>
                    <a:pt x="952" y="1364491"/>
                    <a:pt x="952" y="1354014"/>
                    <a:pt x="952" y="1342584"/>
                  </a:cubicBezTo>
                  <a:cubicBezTo>
                    <a:pt x="1905" y="1050166"/>
                    <a:pt x="2858" y="757749"/>
                    <a:pt x="3810" y="465331"/>
                  </a:cubicBezTo>
                  <a:cubicBezTo>
                    <a:pt x="3810" y="323409"/>
                    <a:pt x="3810" y="182439"/>
                    <a:pt x="3810" y="40516"/>
                  </a:cubicBezTo>
                  <a:cubicBezTo>
                    <a:pt x="3810" y="-1394"/>
                    <a:pt x="8572" y="-5204"/>
                    <a:pt x="48577" y="4321"/>
                  </a:cubicBezTo>
                  <a:cubicBezTo>
                    <a:pt x="126683" y="24324"/>
                    <a:pt x="201930" y="54804"/>
                    <a:pt x="271463" y="96714"/>
                  </a:cubicBezTo>
                  <a:cubicBezTo>
                    <a:pt x="287655" y="103381"/>
                    <a:pt x="295275" y="120527"/>
                    <a:pt x="290513" y="136719"/>
                  </a:cubicBezTo>
                  <a:cubicBezTo>
                    <a:pt x="262890" y="283404"/>
                    <a:pt x="238125" y="430089"/>
                    <a:pt x="211455" y="576774"/>
                  </a:cubicBezTo>
                  <a:cubicBezTo>
                    <a:pt x="181927" y="741557"/>
                    <a:pt x="152400" y="906339"/>
                    <a:pt x="122872" y="1071122"/>
                  </a:cubicBezTo>
                  <a:cubicBezTo>
                    <a:pt x="87630" y="1269241"/>
                    <a:pt x="51435" y="1466409"/>
                    <a:pt x="16192" y="1664529"/>
                  </a:cubicBezTo>
                  <a:cubicBezTo>
                    <a:pt x="12383" y="1681674"/>
                    <a:pt x="10477" y="1692151"/>
                    <a:pt x="0" y="17207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864F666C-EE98-5FDB-A139-0641698DE2D3}"/>
                </a:ext>
              </a:extLst>
            </p:cNvPr>
            <p:cNvSpPr/>
            <p:nvPr/>
          </p:nvSpPr>
          <p:spPr>
            <a:xfrm>
              <a:off x="1683067" y="817105"/>
              <a:ext cx="541936" cy="1609483"/>
            </a:xfrm>
            <a:custGeom>
              <a:avLst/>
              <a:gdLst>
                <a:gd name="connsiteX0" fmla="*/ 953 w 541936"/>
                <a:gd name="connsiteY0" fmla="*/ 1608531 h 1609483"/>
                <a:gd name="connsiteX1" fmla="*/ 89535 w 541936"/>
                <a:gd name="connsiteY1" fmla="*/ 1138949 h 1609483"/>
                <a:gd name="connsiteX2" fmla="*/ 224790 w 541936"/>
                <a:gd name="connsiteY2" fmla="*/ 384568 h 1609483"/>
                <a:gd name="connsiteX3" fmla="*/ 285750 w 541936"/>
                <a:gd name="connsiteY3" fmla="*/ 43573 h 1609483"/>
                <a:gd name="connsiteX4" fmla="*/ 342900 w 541936"/>
                <a:gd name="connsiteY4" fmla="*/ 13093 h 1609483"/>
                <a:gd name="connsiteX5" fmla="*/ 521017 w 541936"/>
                <a:gd name="connsiteY5" fmla="*/ 123583 h 1609483"/>
                <a:gd name="connsiteX6" fmla="*/ 535305 w 541936"/>
                <a:gd name="connsiteY6" fmla="*/ 173113 h 1609483"/>
                <a:gd name="connsiteX7" fmla="*/ 456248 w 541936"/>
                <a:gd name="connsiteY7" fmla="*/ 387426 h 1609483"/>
                <a:gd name="connsiteX8" fmla="*/ 200025 w 541936"/>
                <a:gd name="connsiteY8" fmla="*/ 1085608 h 1609483"/>
                <a:gd name="connsiteX9" fmla="*/ 35242 w 541936"/>
                <a:gd name="connsiteY9" fmla="*/ 1530426 h 1609483"/>
                <a:gd name="connsiteX10" fmla="*/ 0 w 541936"/>
                <a:gd name="connsiteY10" fmla="*/ 1609483 h 1609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1936" h="1609483">
                  <a:moveTo>
                    <a:pt x="953" y="1608531"/>
                  </a:moveTo>
                  <a:cubicBezTo>
                    <a:pt x="24765" y="1478038"/>
                    <a:pt x="66675" y="1268488"/>
                    <a:pt x="89535" y="1138949"/>
                  </a:cubicBezTo>
                  <a:cubicBezTo>
                    <a:pt x="134303" y="887488"/>
                    <a:pt x="180023" y="636028"/>
                    <a:pt x="224790" y="384568"/>
                  </a:cubicBezTo>
                  <a:cubicBezTo>
                    <a:pt x="244792" y="270268"/>
                    <a:pt x="264795" y="156921"/>
                    <a:pt x="285750" y="43573"/>
                  </a:cubicBezTo>
                  <a:cubicBezTo>
                    <a:pt x="294323" y="-1194"/>
                    <a:pt x="289560" y="-11672"/>
                    <a:pt x="342900" y="13093"/>
                  </a:cubicBezTo>
                  <a:cubicBezTo>
                    <a:pt x="406717" y="41668"/>
                    <a:pt x="466725" y="78816"/>
                    <a:pt x="521017" y="123583"/>
                  </a:cubicBezTo>
                  <a:cubicBezTo>
                    <a:pt x="545783" y="143586"/>
                    <a:pt x="545783" y="144538"/>
                    <a:pt x="535305" y="173113"/>
                  </a:cubicBezTo>
                  <a:cubicBezTo>
                    <a:pt x="509588" y="244551"/>
                    <a:pt x="482917" y="315988"/>
                    <a:pt x="456248" y="387426"/>
                  </a:cubicBezTo>
                  <a:cubicBezTo>
                    <a:pt x="370523" y="619836"/>
                    <a:pt x="284798" y="853199"/>
                    <a:pt x="200025" y="1085608"/>
                  </a:cubicBezTo>
                  <a:cubicBezTo>
                    <a:pt x="145733" y="1234199"/>
                    <a:pt x="90488" y="1382788"/>
                    <a:pt x="35242" y="1530426"/>
                  </a:cubicBezTo>
                  <a:lnTo>
                    <a:pt x="0" y="16094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175F75A9-9727-915E-C3FD-0E257E3364FD}"/>
              </a:ext>
            </a:extLst>
          </p:cNvPr>
          <p:cNvSpPr txBox="1"/>
          <p:nvPr userDrawn="1"/>
        </p:nvSpPr>
        <p:spPr>
          <a:xfrm rot="16200000">
            <a:off x="-1444725" y="5332504"/>
            <a:ext cx="462952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3200" b="1" dirty="0" err="1">
                <a:solidFill>
                  <a:schemeClr val="tx1"/>
                </a:solidFill>
              </a:rPr>
              <a:t>breadcrumbsdata.com</a:t>
            </a:r>
            <a:endParaRPr lang="en-US" sz="3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35185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0" r:id="rId1"/>
    <p:sldLayoutId id="2147484011" r:id="rId2"/>
    <p:sldLayoutId id="2147484012" r:id="rId3"/>
    <p:sldLayoutId id="2147484013" r:id="rId4"/>
  </p:sldLayoutIdLst>
  <p:txStyles>
    <p:titleStyle>
      <a:lvl1pPr algn="l" defTabSz="1828800" rtl="0" eaLnBrk="1" latinLnBrk="0" hangingPunct="1">
        <a:lnSpc>
          <a:spcPct val="90000"/>
        </a:lnSpc>
        <a:spcBef>
          <a:spcPct val="0"/>
        </a:spcBef>
        <a:buNone/>
        <a:defRPr sz="8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00" indent="-457200" algn="l" defTabSz="1828800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sz="5600" kern="1200">
          <a:solidFill>
            <a:schemeClr val="tx1"/>
          </a:solidFill>
          <a:latin typeface="+mn-lt"/>
          <a:ea typeface="+mn-ea"/>
          <a:cs typeface="+mn-cs"/>
        </a:defRPr>
      </a:lvl1pPr>
      <a:lvl2pPr marL="1371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3pPr>
      <a:lvl4pPr marL="3200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41148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2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>
          <p15:clr>
            <a:srgbClr val="F26B43"/>
          </p15:clr>
        </p15:guide>
        <p15:guide id="2" pos="7681">
          <p15:clr>
            <a:srgbClr val="F26B43"/>
          </p15:clr>
        </p15:guide>
        <p15:guide id="3" orient="horz" pos="816">
          <p15:clr>
            <a:srgbClr val="F26B43"/>
          </p15:clr>
        </p15:guide>
        <p15:guide id="4" orient="horz" pos="7776">
          <p15:clr>
            <a:srgbClr val="F26B43"/>
          </p15:clr>
        </p15:guide>
        <p15:guide id="5" pos="14377">
          <p15:clr>
            <a:srgbClr val="F26B43"/>
          </p15:clr>
        </p15:guide>
        <p15:guide id="6" pos="985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0F4803DE-62F9-8AD3-FF1E-3AD3A9085754}"/>
              </a:ext>
            </a:extLst>
          </p:cNvPr>
          <p:cNvSpPr txBox="1">
            <a:spLocks/>
          </p:cNvSpPr>
          <p:nvPr userDrawn="1"/>
        </p:nvSpPr>
        <p:spPr>
          <a:xfrm>
            <a:off x="23408916" y="8877743"/>
            <a:ext cx="324565" cy="582761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2400" b="1" smtClean="0">
                <a:solidFill>
                  <a:schemeClr val="tx1"/>
                </a:solidFill>
                <a:latin typeface="+mj-lt"/>
              </a:rPr>
              <a:pPr algn="ctr"/>
              <a:t>‹#›</a:t>
            </a:fld>
            <a:endParaRPr lang="en-US" sz="1400" b="1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550CA0D-B997-07F5-6344-022E071B4003}"/>
              </a:ext>
            </a:extLst>
          </p:cNvPr>
          <p:cNvGrpSpPr/>
          <p:nvPr userDrawn="1"/>
        </p:nvGrpSpPr>
        <p:grpSpPr>
          <a:xfrm>
            <a:off x="23332870" y="446240"/>
            <a:ext cx="476655" cy="337457"/>
            <a:chOff x="6167336" y="2130357"/>
            <a:chExt cx="476655" cy="337457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603DCDBA-547D-C939-0836-C52C4B8A75C1}"/>
                </a:ext>
              </a:extLst>
            </p:cNvPr>
            <p:cNvCxnSpPr/>
            <p:nvPr userDrawn="1"/>
          </p:nvCxnSpPr>
          <p:spPr>
            <a:xfrm>
              <a:off x="6167336" y="2130357"/>
              <a:ext cx="476655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A2BCBB54-ADAA-F516-D3E7-D98E262C0365}"/>
                </a:ext>
              </a:extLst>
            </p:cNvPr>
            <p:cNvCxnSpPr/>
            <p:nvPr userDrawn="1"/>
          </p:nvCxnSpPr>
          <p:spPr>
            <a:xfrm>
              <a:off x="6167336" y="2299086"/>
              <a:ext cx="476655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BFC5D852-22D4-1B97-FFC9-BE4506001434}"/>
                </a:ext>
              </a:extLst>
            </p:cNvPr>
            <p:cNvCxnSpPr/>
            <p:nvPr userDrawn="1"/>
          </p:nvCxnSpPr>
          <p:spPr>
            <a:xfrm>
              <a:off x="6167336" y="2467814"/>
              <a:ext cx="476655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24BBD9B0-0AC4-55F0-EFDF-A7F9E139B598}"/>
              </a:ext>
            </a:extLst>
          </p:cNvPr>
          <p:cNvGrpSpPr/>
          <p:nvPr userDrawn="1"/>
        </p:nvGrpSpPr>
        <p:grpSpPr>
          <a:xfrm>
            <a:off x="23519785" y="12234167"/>
            <a:ext cx="102824" cy="698136"/>
            <a:chOff x="729638" y="739163"/>
            <a:chExt cx="102824" cy="698136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935ABD9B-D9B0-72E1-C9B7-AE3078D9F041}"/>
                </a:ext>
              </a:extLst>
            </p:cNvPr>
            <p:cNvSpPr/>
            <p:nvPr userDrawn="1"/>
          </p:nvSpPr>
          <p:spPr>
            <a:xfrm>
              <a:off x="729638" y="739163"/>
              <a:ext cx="102824" cy="10282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EBCE9511-5023-E497-0C86-17094065E004}"/>
                </a:ext>
              </a:extLst>
            </p:cNvPr>
            <p:cNvSpPr/>
            <p:nvPr userDrawn="1"/>
          </p:nvSpPr>
          <p:spPr>
            <a:xfrm>
              <a:off x="729638" y="1036819"/>
              <a:ext cx="102824" cy="10282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903B04DD-6B50-FD07-C44A-91269C861051}"/>
                </a:ext>
              </a:extLst>
            </p:cNvPr>
            <p:cNvSpPr/>
            <p:nvPr userDrawn="1"/>
          </p:nvSpPr>
          <p:spPr>
            <a:xfrm>
              <a:off x="729638" y="1334475"/>
              <a:ext cx="102824" cy="10282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aphic 29">
            <a:extLst>
              <a:ext uri="{FF2B5EF4-FFF2-40B4-BE49-F238E27FC236}">
                <a16:creationId xmlns:a16="http://schemas.microsoft.com/office/drawing/2014/main" id="{D84C647F-783C-60E3-9ED2-D6863405B17D}"/>
              </a:ext>
            </a:extLst>
          </p:cNvPr>
          <p:cNvGrpSpPr/>
          <p:nvPr userDrawn="1"/>
        </p:nvGrpSpPr>
        <p:grpSpPr>
          <a:xfrm>
            <a:off x="631422" y="446240"/>
            <a:ext cx="589131" cy="1104816"/>
            <a:chOff x="1502100" y="653619"/>
            <a:chExt cx="2035484" cy="3817207"/>
          </a:xfrm>
          <a:solidFill>
            <a:schemeClr val="tx1"/>
          </a:solidFill>
        </p:grpSpPr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8C81B6DD-D5AE-E1AF-3CD1-2A6FAA80F00E}"/>
                </a:ext>
              </a:extLst>
            </p:cNvPr>
            <p:cNvSpPr/>
            <p:nvPr/>
          </p:nvSpPr>
          <p:spPr>
            <a:xfrm>
              <a:off x="1502100" y="653619"/>
              <a:ext cx="2035484" cy="3817207"/>
            </a:xfrm>
            <a:custGeom>
              <a:avLst/>
              <a:gdLst>
                <a:gd name="connsiteX0" fmla="*/ 1775452 w 2035484"/>
                <a:gd name="connsiteY0" fmla="*/ 2695942 h 3817207"/>
                <a:gd name="connsiteX1" fmla="*/ 1556377 w 2035484"/>
                <a:gd name="connsiteY1" fmla="*/ 2695942 h 3817207"/>
                <a:gd name="connsiteX2" fmla="*/ 1516372 w 2035484"/>
                <a:gd name="connsiteY2" fmla="*/ 2664509 h 3817207"/>
                <a:gd name="connsiteX3" fmla="*/ 1423027 w 2035484"/>
                <a:gd name="connsiteY3" fmla="*/ 2477819 h 3817207"/>
                <a:gd name="connsiteX4" fmla="*/ 1031549 w 2035484"/>
                <a:gd name="connsiteY4" fmla="*/ 2283509 h 3817207"/>
                <a:gd name="connsiteX5" fmla="*/ 508627 w 2035484"/>
                <a:gd name="connsiteY5" fmla="*/ 2785477 h 3817207"/>
                <a:gd name="connsiteX6" fmla="*/ 1010594 w 2035484"/>
                <a:gd name="connsiteY6" fmla="*/ 3308399 h 3817207"/>
                <a:gd name="connsiteX7" fmla="*/ 1515419 w 2035484"/>
                <a:gd name="connsiteY7" fmla="*/ 2931209 h 3817207"/>
                <a:gd name="connsiteX8" fmla="*/ 1518277 w 2035484"/>
                <a:gd name="connsiteY8" fmla="*/ 2917874 h 3817207"/>
                <a:gd name="connsiteX9" fmla="*/ 1546852 w 2035484"/>
                <a:gd name="connsiteY9" fmla="*/ 2895967 h 3817207"/>
                <a:gd name="connsiteX10" fmla="*/ 1985955 w 2035484"/>
                <a:gd name="connsiteY10" fmla="*/ 2895967 h 3817207"/>
                <a:gd name="connsiteX11" fmla="*/ 2022149 w 2035484"/>
                <a:gd name="connsiteY11" fmla="*/ 2895967 h 3817207"/>
                <a:gd name="connsiteX12" fmla="*/ 2035484 w 2035484"/>
                <a:gd name="connsiteY12" fmla="*/ 2909302 h 3817207"/>
                <a:gd name="connsiteX13" fmla="*/ 2035484 w 2035484"/>
                <a:gd name="connsiteY13" fmla="*/ 2912159 h 3817207"/>
                <a:gd name="connsiteX14" fmla="*/ 2033580 w 2035484"/>
                <a:gd name="connsiteY14" fmla="*/ 2935019 h 3817207"/>
                <a:gd name="connsiteX15" fmla="*/ 1294440 w 2035484"/>
                <a:gd name="connsiteY15" fmla="*/ 3779887 h 3817207"/>
                <a:gd name="connsiteX16" fmla="*/ 37139 w 2035484"/>
                <a:gd name="connsiteY16" fmla="*/ 3068369 h 3817207"/>
                <a:gd name="connsiteX17" fmla="*/ 65714 w 2035484"/>
                <a:gd name="connsiteY17" fmla="*/ 2434004 h 3817207"/>
                <a:gd name="connsiteX18" fmla="*/ 315269 w 2035484"/>
                <a:gd name="connsiteY18" fmla="*/ 1756777 h 3817207"/>
                <a:gd name="connsiteX19" fmla="*/ 944872 w 2035484"/>
                <a:gd name="connsiteY19" fmla="*/ 42277 h 3817207"/>
                <a:gd name="connsiteX20" fmla="*/ 1009642 w 2035484"/>
                <a:gd name="connsiteY20" fmla="*/ 20369 h 3817207"/>
                <a:gd name="connsiteX21" fmla="*/ 1340159 w 2035484"/>
                <a:gd name="connsiteY21" fmla="*/ 531862 h 3817207"/>
                <a:gd name="connsiteX22" fmla="*/ 1266817 w 2035484"/>
                <a:gd name="connsiteY22" fmla="*/ 1033829 h 3817207"/>
                <a:gd name="connsiteX23" fmla="*/ 929632 w 2035484"/>
                <a:gd name="connsiteY23" fmla="*/ 1708199 h 3817207"/>
                <a:gd name="connsiteX24" fmla="*/ 906772 w 2035484"/>
                <a:gd name="connsiteY24" fmla="*/ 1752967 h 3817207"/>
                <a:gd name="connsiteX25" fmla="*/ 923917 w 2035484"/>
                <a:gd name="connsiteY25" fmla="*/ 1779637 h 3817207"/>
                <a:gd name="connsiteX26" fmla="*/ 1038217 w 2035484"/>
                <a:gd name="connsiteY26" fmla="*/ 1776779 h 3817207"/>
                <a:gd name="connsiteX27" fmla="*/ 1658294 w 2035484"/>
                <a:gd name="connsiteY27" fmla="*/ 1999664 h 3817207"/>
                <a:gd name="connsiteX28" fmla="*/ 2023102 w 2035484"/>
                <a:gd name="connsiteY28" fmla="*/ 2599739 h 3817207"/>
                <a:gd name="connsiteX29" fmla="*/ 2034532 w 2035484"/>
                <a:gd name="connsiteY29" fmla="*/ 2672129 h 3817207"/>
                <a:gd name="connsiteX30" fmla="*/ 2013577 w 2035484"/>
                <a:gd name="connsiteY30" fmla="*/ 2697847 h 3817207"/>
                <a:gd name="connsiteX31" fmla="*/ 1774499 w 2035484"/>
                <a:gd name="connsiteY31" fmla="*/ 2697847 h 3817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035484" h="3817207">
                  <a:moveTo>
                    <a:pt x="1775452" y="2695942"/>
                  </a:moveTo>
                  <a:lnTo>
                    <a:pt x="1556377" y="2695942"/>
                  </a:lnTo>
                  <a:cubicBezTo>
                    <a:pt x="1525897" y="2695942"/>
                    <a:pt x="1524944" y="2695942"/>
                    <a:pt x="1516372" y="2664509"/>
                  </a:cubicBezTo>
                  <a:cubicBezTo>
                    <a:pt x="1499227" y="2595929"/>
                    <a:pt x="1466842" y="2533064"/>
                    <a:pt x="1423027" y="2477819"/>
                  </a:cubicBezTo>
                  <a:cubicBezTo>
                    <a:pt x="1322062" y="2353994"/>
                    <a:pt x="1191569" y="2287319"/>
                    <a:pt x="1031549" y="2283509"/>
                  </a:cubicBezTo>
                  <a:cubicBezTo>
                    <a:pt x="748657" y="2277794"/>
                    <a:pt x="514342" y="2502584"/>
                    <a:pt x="508627" y="2785477"/>
                  </a:cubicBezTo>
                  <a:cubicBezTo>
                    <a:pt x="502912" y="3068369"/>
                    <a:pt x="727702" y="3302684"/>
                    <a:pt x="1010594" y="3308399"/>
                  </a:cubicBezTo>
                  <a:cubicBezTo>
                    <a:pt x="1244909" y="3313162"/>
                    <a:pt x="1453507" y="3157904"/>
                    <a:pt x="1515419" y="2931209"/>
                  </a:cubicBezTo>
                  <a:cubicBezTo>
                    <a:pt x="1516372" y="2926447"/>
                    <a:pt x="1517324" y="2922637"/>
                    <a:pt x="1518277" y="2917874"/>
                  </a:cubicBezTo>
                  <a:cubicBezTo>
                    <a:pt x="1523992" y="2897872"/>
                    <a:pt x="1525897" y="2895967"/>
                    <a:pt x="1546852" y="2895967"/>
                  </a:cubicBezTo>
                  <a:lnTo>
                    <a:pt x="1985955" y="2895967"/>
                  </a:lnTo>
                  <a:cubicBezTo>
                    <a:pt x="1998337" y="2895967"/>
                    <a:pt x="2009767" y="2895967"/>
                    <a:pt x="2022149" y="2895967"/>
                  </a:cubicBezTo>
                  <a:cubicBezTo>
                    <a:pt x="2029769" y="2895967"/>
                    <a:pt x="2035484" y="2901682"/>
                    <a:pt x="2035484" y="2909302"/>
                  </a:cubicBezTo>
                  <a:cubicBezTo>
                    <a:pt x="2035484" y="2909302"/>
                    <a:pt x="2035484" y="2911207"/>
                    <a:pt x="2035484" y="2912159"/>
                  </a:cubicBezTo>
                  <a:cubicBezTo>
                    <a:pt x="2035484" y="2919779"/>
                    <a:pt x="2035484" y="2927399"/>
                    <a:pt x="2033580" y="2935019"/>
                  </a:cubicBezTo>
                  <a:cubicBezTo>
                    <a:pt x="1976430" y="3339832"/>
                    <a:pt x="1688774" y="3672254"/>
                    <a:pt x="1294440" y="3779887"/>
                  </a:cubicBezTo>
                  <a:cubicBezTo>
                    <a:pt x="750562" y="3930382"/>
                    <a:pt x="187634" y="3612247"/>
                    <a:pt x="37139" y="3068369"/>
                  </a:cubicBezTo>
                  <a:cubicBezTo>
                    <a:pt x="-20963" y="2858819"/>
                    <a:pt x="-10486" y="2636887"/>
                    <a:pt x="65714" y="2434004"/>
                  </a:cubicBezTo>
                  <a:cubicBezTo>
                    <a:pt x="148582" y="2208262"/>
                    <a:pt x="232402" y="1982519"/>
                    <a:pt x="315269" y="1756777"/>
                  </a:cubicBezTo>
                  <a:cubicBezTo>
                    <a:pt x="524819" y="1185277"/>
                    <a:pt x="735322" y="613777"/>
                    <a:pt x="944872" y="42277"/>
                  </a:cubicBezTo>
                  <a:cubicBezTo>
                    <a:pt x="963922" y="-9158"/>
                    <a:pt x="965827" y="-10111"/>
                    <a:pt x="1009642" y="20369"/>
                  </a:cubicBezTo>
                  <a:cubicBezTo>
                    <a:pt x="1189665" y="146099"/>
                    <a:pt x="1301107" y="316597"/>
                    <a:pt x="1340159" y="531862"/>
                  </a:cubicBezTo>
                  <a:cubicBezTo>
                    <a:pt x="1372544" y="702359"/>
                    <a:pt x="1346827" y="879524"/>
                    <a:pt x="1266817" y="1033829"/>
                  </a:cubicBezTo>
                  <a:cubicBezTo>
                    <a:pt x="1154422" y="1258619"/>
                    <a:pt x="1041074" y="1483409"/>
                    <a:pt x="929632" y="1708199"/>
                  </a:cubicBezTo>
                  <a:cubicBezTo>
                    <a:pt x="922012" y="1723439"/>
                    <a:pt x="914392" y="1737727"/>
                    <a:pt x="906772" y="1752967"/>
                  </a:cubicBezTo>
                  <a:cubicBezTo>
                    <a:pt x="897247" y="1774874"/>
                    <a:pt x="901057" y="1780589"/>
                    <a:pt x="923917" y="1779637"/>
                  </a:cubicBezTo>
                  <a:cubicBezTo>
                    <a:pt x="962017" y="1778684"/>
                    <a:pt x="1000117" y="1775827"/>
                    <a:pt x="1038217" y="1776779"/>
                  </a:cubicBezTo>
                  <a:cubicBezTo>
                    <a:pt x="1263959" y="1778684"/>
                    <a:pt x="1483034" y="1856789"/>
                    <a:pt x="1658294" y="1999664"/>
                  </a:cubicBezTo>
                  <a:cubicBezTo>
                    <a:pt x="1852605" y="2154922"/>
                    <a:pt x="1972619" y="2356852"/>
                    <a:pt x="2023102" y="2599739"/>
                  </a:cubicBezTo>
                  <a:cubicBezTo>
                    <a:pt x="2027865" y="2623552"/>
                    <a:pt x="2031674" y="2647364"/>
                    <a:pt x="2034532" y="2672129"/>
                  </a:cubicBezTo>
                  <a:cubicBezTo>
                    <a:pt x="2037390" y="2692132"/>
                    <a:pt x="2032627" y="2696894"/>
                    <a:pt x="2013577" y="2697847"/>
                  </a:cubicBezTo>
                  <a:lnTo>
                    <a:pt x="1774499" y="269784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AE15F87D-7911-ADE4-13C0-BD701E018B57}"/>
                </a:ext>
              </a:extLst>
            </p:cNvPr>
            <p:cNvSpPr/>
            <p:nvPr/>
          </p:nvSpPr>
          <p:spPr>
            <a:xfrm>
              <a:off x="1503045" y="1064002"/>
              <a:ext cx="291914" cy="1722631"/>
            </a:xfrm>
            <a:custGeom>
              <a:avLst/>
              <a:gdLst>
                <a:gd name="connsiteX0" fmla="*/ 952 w 291914"/>
                <a:gd name="connsiteY0" fmla="*/ 1722632 h 1722631"/>
                <a:gd name="connsiteX1" fmla="*/ 952 w 291914"/>
                <a:gd name="connsiteY1" fmla="*/ 1374969 h 1722631"/>
                <a:gd name="connsiteX2" fmla="*/ 952 w 291914"/>
                <a:gd name="connsiteY2" fmla="*/ 1342584 h 1722631"/>
                <a:gd name="connsiteX3" fmla="*/ 3810 w 291914"/>
                <a:gd name="connsiteY3" fmla="*/ 465331 h 1722631"/>
                <a:gd name="connsiteX4" fmla="*/ 3810 w 291914"/>
                <a:gd name="connsiteY4" fmla="*/ 40516 h 1722631"/>
                <a:gd name="connsiteX5" fmla="*/ 48577 w 291914"/>
                <a:gd name="connsiteY5" fmla="*/ 4321 h 1722631"/>
                <a:gd name="connsiteX6" fmla="*/ 271463 w 291914"/>
                <a:gd name="connsiteY6" fmla="*/ 96714 h 1722631"/>
                <a:gd name="connsiteX7" fmla="*/ 290513 w 291914"/>
                <a:gd name="connsiteY7" fmla="*/ 136719 h 1722631"/>
                <a:gd name="connsiteX8" fmla="*/ 211455 w 291914"/>
                <a:gd name="connsiteY8" fmla="*/ 576774 h 1722631"/>
                <a:gd name="connsiteX9" fmla="*/ 122872 w 291914"/>
                <a:gd name="connsiteY9" fmla="*/ 1071122 h 1722631"/>
                <a:gd name="connsiteX10" fmla="*/ 16192 w 291914"/>
                <a:gd name="connsiteY10" fmla="*/ 1664529 h 1722631"/>
                <a:gd name="connsiteX11" fmla="*/ 0 w 291914"/>
                <a:gd name="connsiteY11" fmla="*/ 1720726 h 1722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1914" h="1722631">
                  <a:moveTo>
                    <a:pt x="952" y="1722632"/>
                  </a:moveTo>
                  <a:lnTo>
                    <a:pt x="952" y="1374969"/>
                  </a:lnTo>
                  <a:cubicBezTo>
                    <a:pt x="952" y="1364491"/>
                    <a:pt x="952" y="1354014"/>
                    <a:pt x="952" y="1342584"/>
                  </a:cubicBezTo>
                  <a:cubicBezTo>
                    <a:pt x="1905" y="1050166"/>
                    <a:pt x="2858" y="757749"/>
                    <a:pt x="3810" y="465331"/>
                  </a:cubicBezTo>
                  <a:cubicBezTo>
                    <a:pt x="3810" y="323409"/>
                    <a:pt x="3810" y="182439"/>
                    <a:pt x="3810" y="40516"/>
                  </a:cubicBezTo>
                  <a:cubicBezTo>
                    <a:pt x="3810" y="-1394"/>
                    <a:pt x="8572" y="-5204"/>
                    <a:pt x="48577" y="4321"/>
                  </a:cubicBezTo>
                  <a:cubicBezTo>
                    <a:pt x="126683" y="24324"/>
                    <a:pt x="201930" y="54804"/>
                    <a:pt x="271463" y="96714"/>
                  </a:cubicBezTo>
                  <a:cubicBezTo>
                    <a:pt x="287655" y="103381"/>
                    <a:pt x="295275" y="120527"/>
                    <a:pt x="290513" y="136719"/>
                  </a:cubicBezTo>
                  <a:cubicBezTo>
                    <a:pt x="262890" y="283404"/>
                    <a:pt x="238125" y="430089"/>
                    <a:pt x="211455" y="576774"/>
                  </a:cubicBezTo>
                  <a:cubicBezTo>
                    <a:pt x="181927" y="741557"/>
                    <a:pt x="152400" y="906339"/>
                    <a:pt x="122872" y="1071122"/>
                  </a:cubicBezTo>
                  <a:cubicBezTo>
                    <a:pt x="87630" y="1269241"/>
                    <a:pt x="51435" y="1466409"/>
                    <a:pt x="16192" y="1664529"/>
                  </a:cubicBezTo>
                  <a:cubicBezTo>
                    <a:pt x="12383" y="1681674"/>
                    <a:pt x="10477" y="1692151"/>
                    <a:pt x="0" y="17207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6D5B57DE-4609-91F5-A2C1-6DD19726D3FF}"/>
                </a:ext>
              </a:extLst>
            </p:cNvPr>
            <p:cNvSpPr/>
            <p:nvPr/>
          </p:nvSpPr>
          <p:spPr>
            <a:xfrm>
              <a:off x="1683067" y="817105"/>
              <a:ext cx="541936" cy="1609483"/>
            </a:xfrm>
            <a:custGeom>
              <a:avLst/>
              <a:gdLst>
                <a:gd name="connsiteX0" fmla="*/ 953 w 541936"/>
                <a:gd name="connsiteY0" fmla="*/ 1608531 h 1609483"/>
                <a:gd name="connsiteX1" fmla="*/ 89535 w 541936"/>
                <a:gd name="connsiteY1" fmla="*/ 1138949 h 1609483"/>
                <a:gd name="connsiteX2" fmla="*/ 224790 w 541936"/>
                <a:gd name="connsiteY2" fmla="*/ 384568 h 1609483"/>
                <a:gd name="connsiteX3" fmla="*/ 285750 w 541936"/>
                <a:gd name="connsiteY3" fmla="*/ 43573 h 1609483"/>
                <a:gd name="connsiteX4" fmla="*/ 342900 w 541936"/>
                <a:gd name="connsiteY4" fmla="*/ 13093 h 1609483"/>
                <a:gd name="connsiteX5" fmla="*/ 521017 w 541936"/>
                <a:gd name="connsiteY5" fmla="*/ 123583 h 1609483"/>
                <a:gd name="connsiteX6" fmla="*/ 535305 w 541936"/>
                <a:gd name="connsiteY6" fmla="*/ 173113 h 1609483"/>
                <a:gd name="connsiteX7" fmla="*/ 456248 w 541936"/>
                <a:gd name="connsiteY7" fmla="*/ 387426 h 1609483"/>
                <a:gd name="connsiteX8" fmla="*/ 200025 w 541936"/>
                <a:gd name="connsiteY8" fmla="*/ 1085608 h 1609483"/>
                <a:gd name="connsiteX9" fmla="*/ 35242 w 541936"/>
                <a:gd name="connsiteY9" fmla="*/ 1530426 h 1609483"/>
                <a:gd name="connsiteX10" fmla="*/ 0 w 541936"/>
                <a:gd name="connsiteY10" fmla="*/ 1609483 h 1609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1936" h="1609483">
                  <a:moveTo>
                    <a:pt x="953" y="1608531"/>
                  </a:moveTo>
                  <a:cubicBezTo>
                    <a:pt x="24765" y="1478038"/>
                    <a:pt x="66675" y="1268488"/>
                    <a:pt x="89535" y="1138949"/>
                  </a:cubicBezTo>
                  <a:cubicBezTo>
                    <a:pt x="134303" y="887488"/>
                    <a:pt x="180023" y="636028"/>
                    <a:pt x="224790" y="384568"/>
                  </a:cubicBezTo>
                  <a:cubicBezTo>
                    <a:pt x="244792" y="270268"/>
                    <a:pt x="264795" y="156921"/>
                    <a:pt x="285750" y="43573"/>
                  </a:cubicBezTo>
                  <a:cubicBezTo>
                    <a:pt x="294323" y="-1194"/>
                    <a:pt x="289560" y="-11672"/>
                    <a:pt x="342900" y="13093"/>
                  </a:cubicBezTo>
                  <a:cubicBezTo>
                    <a:pt x="406717" y="41668"/>
                    <a:pt x="466725" y="78816"/>
                    <a:pt x="521017" y="123583"/>
                  </a:cubicBezTo>
                  <a:cubicBezTo>
                    <a:pt x="545783" y="143586"/>
                    <a:pt x="545783" y="144538"/>
                    <a:pt x="535305" y="173113"/>
                  </a:cubicBezTo>
                  <a:cubicBezTo>
                    <a:pt x="509588" y="244551"/>
                    <a:pt x="482917" y="315988"/>
                    <a:pt x="456248" y="387426"/>
                  </a:cubicBezTo>
                  <a:cubicBezTo>
                    <a:pt x="370523" y="619836"/>
                    <a:pt x="284798" y="853199"/>
                    <a:pt x="200025" y="1085608"/>
                  </a:cubicBezTo>
                  <a:cubicBezTo>
                    <a:pt x="145733" y="1234199"/>
                    <a:pt x="90488" y="1382788"/>
                    <a:pt x="35242" y="1530426"/>
                  </a:cubicBezTo>
                  <a:lnTo>
                    <a:pt x="0" y="16094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D7D9A387-F614-F259-1EF0-7479AEC8588E}"/>
              </a:ext>
            </a:extLst>
          </p:cNvPr>
          <p:cNvSpPr txBox="1"/>
          <p:nvPr userDrawn="1"/>
        </p:nvSpPr>
        <p:spPr>
          <a:xfrm rot="16200000">
            <a:off x="-3194635" y="3742901"/>
            <a:ext cx="80705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3200" b="1" dirty="0" err="1">
                <a:solidFill>
                  <a:schemeClr val="tx1"/>
                </a:solidFill>
              </a:rPr>
              <a:t>breadcrumbsdata.com</a:t>
            </a:r>
            <a:endParaRPr lang="en-US" sz="3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6567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4" r:id="rId1"/>
    <p:sldLayoutId id="2147484095" r:id="rId2"/>
    <p:sldLayoutId id="2147484096" r:id="rId3"/>
  </p:sldLayoutIdLst>
  <p:txStyles>
    <p:titleStyle>
      <a:lvl1pPr algn="l" defTabSz="1828800" rtl="0" eaLnBrk="1" latinLnBrk="0" hangingPunct="1">
        <a:lnSpc>
          <a:spcPct val="90000"/>
        </a:lnSpc>
        <a:spcBef>
          <a:spcPct val="0"/>
        </a:spcBef>
        <a:buNone/>
        <a:defRPr sz="8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00" indent="-457200" algn="l" defTabSz="1828800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sz="5600" kern="1200">
          <a:solidFill>
            <a:schemeClr val="tx1"/>
          </a:solidFill>
          <a:latin typeface="+mn-lt"/>
          <a:ea typeface="+mn-ea"/>
          <a:cs typeface="+mn-cs"/>
        </a:defRPr>
      </a:lvl1pPr>
      <a:lvl2pPr marL="1371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3pPr>
      <a:lvl4pPr marL="3200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41148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2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0">
          <p15:clr>
            <a:srgbClr val="F26B43"/>
          </p15:clr>
        </p15:guide>
        <p15:guide id="2" pos="7681">
          <p15:clr>
            <a:srgbClr val="F26B43"/>
          </p15:clr>
        </p15:guide>
        <p15:guide id="3" orient="horz" pos="816">
          <p15:clr>
            <a:srgbClr val="F26B43"/>
          </p15:clr>
        </p15:guide>
        <p15:guide id="4" orient="horz" pos="7776">
          <p15:clr>
            <a:srgbClr val="F26B43"/>
          </p15:clr>
        </p15:guide>
        <p15:guide id="5" pos="14377">
          <p15:clr>
            <a:srgbClr val="F26B43"/>
          </p15:clr>
        </p15:guide>
        <p15:guide id="6" pos="98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.jp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.xml"/><Relationship Id="rId5" Type="http://schemas.openxmlformats.org/officeDocument/2006/relationships/image" Target="../media/image12.png"/><Relationship Id="rId4" Type="http://schemas.openxmlformats.org/officeDocument/2006/relationships/image" Target="../media/image2.emf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png"/><Relationship Id="rId18" Type="http://schemas.openxmlformats.org/officeDocument/2006/relationships/image" Target="../media/image25.png"/><Relationship Id="rId26" Type="http://schemas.openxmlformats.org/officeDocument/2006/relationships/image" Target="../media/image33.png"/><Relationship Id="rId3" Type="http://schemas.openxmlformats.org/officeDocument/2006/relationships/notesSlide" Target="../notesSlides/notesSlide6.xml"/><Relationship Id="rId21" Type="http://schemas.openxmlformats.org/officeDocument/2006/relationships/image" Target="../media/image28.png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17" Type="http://schemas.openxmlformats.org/officeDocument/2006/relationships/image" Target="../media/image24.png"/><Relationship Id="rId25" Type="http://schemas.openxmlformats.org/officeDocument/2006/relationships/image" Target="../media/image32.png"/><Relationship Id="rId2" Type="http://schemas.openxmlformats.org/officeDocument/2006/relationships/slideLayout" Target="../slideLayouts/slideLayout10.xml"/><Relationship Id="rId16" Type="http://schemas.openxmlformats.org/officeDocument/2006/relationships/image" Target="../media/image23.png"/><Relationship Id="rId20" Type="http://schemas.openxmlformats.org/officeDocument/2006/relationships/image" Target="../media/image27.png"/><Relationship Id="rId29" Type="http://schemas.openxmlformats.org/officeDocument/2006/relationships/image" Target="../media/image36.png"/><Relationship Id="rId1" Type="http://schemas.openxmlformats.org/officeDocument/2006/relationships/tags" Target="../tags/tag5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24" Type="http://schemas.openxmlformats.org/officeDocument/2006/relationships/image" Target="../media/image31.png"/><Relationship Id="rId5" Type="http://schemas.openxmlformats.org/officeDocument/2006/relationships/image" Target="../media/image2.emf"/><Relationship Id="rId15" Type="http://schemas.openxmlformats.org/officeDocument/2006/relationships/image" Target="../media/image22.png"/><Relationship Id="rId23" Type="http://schemas.openxmlformats.org/officeDocument/2006/relationships/image" Target="../media/image30.png"/><Relationship Id="rId28" Type="http://schemas.openxmlformats.org/officeDocument/2006/relationships/image" Target="../media/image35.png"/><Relationship Id="rId10" Type="http://schemas.openxmlformats.org/officeDocument/2006/relationships/image" Target="../media/image17.png"/><Relationship Id="rId19" Type="http://schemas.openxmlformats.org/officeDocument/2006/relationships/image" Target="../media/image26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16.png"/><Relationship Id="rId14" Type="http://schemas.openxmlformats.org/officeDocument/2006/relationships/image" Target="../media/image21.png"/><Relationship Id="rId22" Type="http://schemas.openxmlformats.org/officeDocument/2006/relationships/image" Target="../media/image29.png"/><Relationship Id="rId27" Type="http://schemas.openxmlformats.org/officeDocument/2006/relationships/image" Target="../media/image34.png"/><Relationship Id="rId30" Type="http://schemas.openxmlformats.org/officeDocument/2006/relationships/image" Target="../media/image37.jp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18" Type="http://schemas.openxmlformats.org/officeDocument/2006/relationships/image" Target="../media/image29.png"/><Relationship Id="rId26" Type="http://schemas.openxmlformats.org/officeDocument/2006/relationships/image" Target="../media/image37.jpg"/><Relationship Id="rId3" Type="http://schemas.openxmlformats.org/officeDocument/2006/relationships/image" Target="../media/image14.png"/><Relationship Id="rId21" Type="http://schemas.openxmlformats.org/officeDocument/2006/relationships/image" Target="../media/image32.pn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17" Type="http://schemas.openxmlformats.org/officeDocument/2006/relationships/image" Target="../media/image28.png"/><Relationship Id="rId25" Type="http://schemas.openxmlformats.org/officeDocument/2006/relationships/image" Target="../media/image36.png"/><Relationship Id="rId2" Type="http://schemas.openxmlformats.org/officeDocument/2006/relationships/image" Target="../media/image13.png"/><Relationship Id="rId16" Type="http://schemas.openxmlformats.org/officeDocument/2006/relationships/image" Target="../media/image27.png"/><Relationship Id="rId20" Type="http://schemas.openxmlformats.org/officeDocument/2006/relationships/image" Target="../media/image3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24" Type="http://schemas.openxmlformats.org/officeDocument/2006/relationships/image" Target="../media/image35.png"/><Relationship Id="rId5" Type="http://schemas.openxmlformats.org/officeDocument/2006/relationships/image" Target="../media/image16.png"/><Relationship Id="rId15" Type="http://schemas.openxmlformats.org/officeDocument/2006/relationships/image" Target="../media/image26.png"/><Relationship Id="rId23" Type="http://schemas.openxmlformats.org/officeDocument/2006/relationships/image" Target="../media/image34.png"/><Relationship Id="rId10" Type="http://schemas.openxmlformats.org/officeDocument/2006/relationships/image" Target="../media/image21.png"/><Relationship Id="rId19" Type="http://schemas.openxmlformats.org/officeDocument/2006/relationships/image" Target="../media/image30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Relationship Id="rId14" Type="http://schemas.openxmlformats.org/officeDocument/2006/relationships/image" Target="../media/image25.png"/><Relationship Id="rId22" Type="http://schemas.openxmlformats.org/officeDocument/2006/relationships/image" Target="../media/image3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5" Type="http://schemas.openxmlformats.org/officeDocument/2006/relationships/image" Target="../media/image39.png"/><Relationship Id="rId4" Type="http://schemas.openxmlformats.org/officeDocument/2006/relationships/notesSlide" Target="../notesSlides/notesSlide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g"/><Relationship Id="rId1" Type="http://schemas.openxmlformats.org/officeDocument/2006/relationships/slideLayout" Target="../slideLayouts/slideLayout8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Rounded Corners 18">
            <a:extLst>
              <a:ext uri="{FF2B5EF4-FFF2-40B4-BE49-F238E27FC236}">
                <a16:creationId xmlns:a16="http://schemas.microsoft.com/office/drawing/2014/main" id="{EE5E4635-E975-7E1F-88CC-A153D460795D}"/>
              </a:ext>
            </a:extLst>
          </p:cNvPr>
          <p:cNvSpPr/>
          <p:nvPr/>
        </p:nvSpPr>
        <p:spPr>
          <a:xfrm rot="5400000">
            <a:off x="-8283630" y="-3446226"/>
            <a:ext cx="19290843" cy="19290843"/>
          </a:xfrm>
          <a:prstGeom prst="roundRect">
            <a:avLst>
              <a:gd name="adj" fmla="val 42902"/>
            </a:avLst>
          </a:prstGeom>
          <a:solidFill>
            <a:schemeClr val="tx1"/>
          </a:solidFill>
          <a:ln>
            <a:noFill/>
          </a:ln>
          <a:effectLst>
            <a:outerShdw blurRad="685800" sx="102000" sy="102000" algn="ctr" rotWithShape="0">
              <a:schemeClr val="accent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" name="Rectangle: Rounded Corners 19">
            <a:extLst>
              <a:ext uri="{FF2B5EF4-FFF2-40B4-BE49-F238E27FC236}">
                <a16:creationId xmlns:a16="http://schemas.microsoft.com/office/drawing/2014/main" id="{F26851A7-2174-F098-C3E4-E0C0EA48EF2F}"/>
              </a:ext>
            </a:extLst>
          </p:cNvPr>
          <p:cNvSpPr/>
          <p:nvPr/>
        </p:nvSpPr>
        <p:spPr>
          <a:xfrm rot="2700000">
            <a:off x="-11337667" y="-3446225"/>
            <a:ext cx="19290843" cy="19290843"/>
          </a:xfrm>
          <a:prstGeom prst="roundRect">
            <a:avLst>
              <a:gd name="adj" fmla="val 41785"/>
            </a:avLst>
          </a:prstGeom>
          <a:solidFill>
            <a:schemeClr val="accent5"/>
          </a:solidFill>
          <a:ln>
            <a:noFill/>
          </a:ln>
          <a:effectLst>
            <a:outerShdw blurRad="685800" sx="102000" sy="102000" algn="ctr" rotWithShape="0">
              <a:schemeClr val="accent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4" name="Rectangle: Rounded Corners 20">
            <a:extLst>
              <a:ext uri="{FF2B5EF4-FFF2-40B4-BE49-F238E27FC236}">
                <a16:creationId xmlns:a16="http://schemas.microsoft.com/office/drawing/2014/main" id="{E3953559-2C40-5040-4A26-31F9F6F5ACB9}"/>
              </a:ext>
            </a:extLst>
          </p:cNvPr>
          <p:cNvSpPr/>
          <p:nvPr/>
        </p:nvSpPr>
        <p:spPr>
          <a:xfrm rot="2700000">
            <a:off x="9712554" y="-2966094"/>
            <a:ext cx="19290843" cy="19290843"/>
          </a:xfrm>
          <a:prstGeom prst="roundRect">
            <a:avLst>
              <a:gd name="adj" fmla="val 42623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blurRad="685800" sx="102000" sy="102000" algn="ctr" rotWithShape="0">
              <a:schemeClr val="accent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C1A5FC5A-8B4B-42DF-9175-45CCB7D138E8}"/>
              </a:ext>
            </a:extLst>
          </p:cNvPr>
          <p:cNvSpPr/>
          <p:nvPr/>
        </p:nvSpPr>
        <p:spPr>
          <a:xfrm>
            <a:off x="4045527" y="5517325"/>
            <a:ext cx="15399327" cy="2681349"/>
          </a:xfrm>
          <a:prstGeom prst="roundRect">
            <a:avLst>
              <a:gd name="adj" fmla="val 50000"/>
            </a:avLst>
          </a:prstGeom>
          <a:noFill/>
          <a:ln w="1270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DAB426C-8924-B123-E067-D3F07C3CC86B}"/>
              </a:ext>
            </a:extLst>
          </p:cNvPr>
          <p:cNvGrpSpPr/>
          <p:nvPr/>
        </p:nvGrpSpPr>
        <p:grpSpPr>
          <a:xfrm>
            <a:off x="10615266" y="6403777"/>
            <a:ext cx="1062331" cy="1062331"/>
            <a:chOff x="16858280" y="5722295"/>
            <a:chExt cx="2318632" cy="2318632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75F04756-3E83-4968-B9BC-B26893CDD7EC}"/>
                </a:ext>
              </a:extLst>
            </p:cNvPr>
            <p:cNvSpPr/>
            <p:nvPr/>
          </p:nvSpPr>
          <p:spPr>
            <a:xfrm>
              <a:off x="16858280" y="5722295"/>
              <a:ext cx="2318632" cy="2318632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>
              <a:outerShdw blurRad="203200" dist="114300" dir="2820000" sx="95757" sy="95757" algn="ctr" rotWithShape="0">
                <a:schemeClr val="tx1">
                  <a:alpha val="27336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9" name="Graphic 7">
              <a:extLst>
                <a:ext uri="{FF2B5EF4-FFF2-40B4-BE49-F238E27FC236}">
                  <a16:creationId xmlns:a16="http://schemas.microsoft.com/office/drawing/2014/main" id="{F61227DF-8B7C-295C-7DC2-11A7BDF6C37E}"/>
                </a:ext>
              </a:extLst>
            </p:cNvPr>
            <p:cNvGrpSpPr/>
            <p:nvPr/>
          </p:nvGrpSpPr>
          <p:grpSpPr>
            <a:xfrm>
              <a:off x="17679838" y="6088492"/>
              <a:ext cx="820663" cy="1539016"/>
              <a:chOff x="11314437" y="4896435"/>
              <a:chExt cx="2035484" cy="3817207"/>
            </a:xfrm>
            <a:solidFill>
              <a:schemeClr val="bg1"/>
            </a:solidFill>
          </p:grpSpPr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9DB09058-16DB-A4A0-0CA2-399A2E776E23}"/>
                  </a:ext>
                </a:extLst>
              </p:cNvPr>
              <p:cNvSpPr/>
              <p:nvPr/>
            </p:nvSpPr>
            <p:spPr>
              <a:xfrm>
                <a:off x="11314437" y="4896435"/>
                <a:ext cx="2035484" cy="3817207"/>
              </a:xfrm>
              <a:custGeom>
                <a:avLst/>
                <a:gdLst>
                  <a:gd name="connsiteX0" fmla="*/ 1775452 w 2035484"/>
                  <a:gd name="connsiteY0" fmla="*/ 2695942 h 3817207"/>
                  <a:gd name="connsiteX1" fmla="*/ 1556377 w 2035484"/>
                  <a:gd name="connsiteY1" fmla="*/ 2695942 h 3817207"/>
                  <a:gd name="connsiteX2" fmla="*/ 1516372 w 2035484"/>
                  <a:gd name="connsiteY2" fmla="*/ 2664509 h 3817207"/>
                  <a:gd name="connsiteX3" fmla="*/ 1423027 w 2035484"/>
                  <a:gd name="connsiteY3" fmla="*/ 2477819 h 3817207"/>
                  <a:gd name="connsiteX4" fmla="*/ 1031549 w 2035484"/>
                  <a:gd name="connsiteY4" fmla="*/ 2283509 h 3817207"/>
                  <a:gd name="connsiteX5" fmla="*/ 508627 w 2035484"/>
                  <a:gd name="connsiteY5" fmla="*/ 2785477 h 3817207"/>
                  <a:gd name="connsiteX6" fmla="*/ 1010594 w 2035484"/>
                  <a:gd name="connsiteY6" fmla="*/ 3308399 h 3817207"/>
                  <a:gd name="connsiteX7" fmla="*/ 1515419 w 2035484"/>
                  <a:gd name="connsiteY7" fmla="*/ 2931209 h 3817207"/>
                  <a:gd name="connsiteX8" fmla="*/ 1518277 w 2035484"/>
                  <a:gd name="connsiteY8" fmla="*/ 2917874 h 3817207"/>
                  <a:gd name="connsiteX9" fmla="*/ 1546852 w 2035484"/>
                  <a:gd name="connsiteY9" fmla="*/ 2895967 h 3817207"/>
                  <a:gd name="connsiteX10" fmla="*/ 1985955 w 2035484"/>
                  <a:gd name="connsiteY10" fmla="*/ 2895967 h 3817207"/>
                  <a:gd name="connsiteX11" fmla="*/ 2022149 w 2035484"/>
                  <a:gd name="connsiteY11" fmla="*/ 2895967 h 3817207"/>
                  <a:gd name="connsiteX12" fmla="*/ 2035484 w 2035484"/>
                  <a:gd name="connsiteY12" fmla="*/ 2909302 h 3817207"/>
                  <a:gd name="connsiteX13" fmla="*/ 2035484 w 2035484"/>
                  <a:gd name="connsiteY13" fmla="*/ 2912159 h 3817207"/>
                  <a:gd name="connsiteX14" fmla="*/ 2033580 w 2035484"/>
                  <a:gd name="connsiteY14" fmla="*/ 2935019 h 3817207"/>
                  <a:gd name="connsiteX15" fmla="*/ 1294440 w 2035484"/>
                  <a:gd name="connsiteY15" fmla="*/ 3779887 h 3817207"/>
                  <a:gd name="connsiteX16" fmla="*/ 37139 w 2035484"/>
                  <a:gd name="connsiteY16" fmla="*/ 3068369 h 3817207"/>
                  <a:gd name="connsiteX17" fmla="*/ 65714 w 2035484"/>
                  <a:gd name="connsiteY17" fmla="*/ 2434004 h 3817207"/>
                  <a:gd name="connsiteX18" fmla="*/ 315269 w 2035484"/>
                  <a:gd name="connsiteY18" fmla="*/ 1756777 h 3817207"/>
                  <a:gd name="connsiteX19" fmla="*/ 944872 w 2035484"/>
                  <a:gd name="connsiteY19" fmla="*/ 42277 h 3817207"/>
                  <a:gd name="connsiteX20" fmla="*/ 1009642 w 2035484"/>
                  <a:gd name="connsiteY20" fmla="*/ 20369 h 3817207"/>
                  <a:gd name="connsiteX21" fmla="*/ 1340159 w 2035484"/>
                  <a:gd name="connsiteY21" fmla="*/ 531862 h 3817207"/>
                  <a:gd name="connsiteX22" fmla="*/ 1266817 w 2035484"/>
                  <a:gd name="connsiteY22" fmla="*/ 1033829 h 3817207"/>
                  <a:gd name="connsiteX23" fmla="*/ 929632 w 2035484"/>
                  <a:gd name="connsiteY23" fmla="*/ 1708199 h 3817207"/>
                  <a:gd name="connsiteX24" fmla="*/ 906772 w 2035484"/>
                  <a:gd name="connsiteY24" fmla="*/ 1752967 h 3817207"/>
                  <a:gd name="connsiteX25" fmla="*/ 923917 w 2035484"/>
                  <a:gd name="connsiteY25" fmla="*/ 1779637 h 3817207"/>
                  <a:gd name="connsiteX26" fmla="*/ 1038217 w 2035484"/>
                  <a:gd name="connsiteY26" fmla="*/ 1776779 h 3817207"/>
                  <a:gd name="connsiteX27" fmla="*/ 1658294 w 2035484"/>
                  <a:gd name="connsiteY27" fmla="*/ 1999664 h 3817207"/>
                  <a:gd name="connsiteX28" fmla="*/ 2023102 w 2035484"/>
                  <a:gd name="connsiteY28" fmla="*/ 2599739 h 3817207"/>
                  <a:gd name="connsiteX29" fmla="*/ 2034532 w 2035484"/>
                  <a:gd name="connsiteY29" fmla="*/ 2672129 h 3817207"/>
                  <a:gd name="connsiteX30" fmla="*/ 2013577 w 2035484"/>
                  <a:gd name="connsiteY30" fmla="*/ 2697847 h 3817207"/>
                  <a:gd name="connsiteX31" fmla="*/ 1774499 w 2035484"/>
                  <a:gd name="connsiteY31" fmla="*/ 2697847 h 3817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035484" h="3817207">
                    <a:moveTo>
                      <a:pt x="1775452" y="2695942"/>
                    </a:moveTo>
                    <a:lnTo>
                      <a:pt x="1556377" y="2695942"/>
                    </a:lnTo>
                    <a:cubicBezTo>
                      <a:pt x="1525897" y="2695942"/>
                      <a:pt x="1524944" y="2695942"/>
                      <a:pt x="1516372" y="2664509"/>
                    </a:cubicBezTo>
                    <a:cubicBezTo>
                      <a:pt x="1499227" y="2595929"/>
                      <a:pt x="1466842" y="2533064"/>
                      <a:pt x="1423027" y="2477819"/>
                    </a:cubicBezTo>
                    <a:cubicBezTo>
                      <a:pt x="1322062" y="2353994"/>
                      <a:pt x="1191569" y="2287319"/>
                      <a:pt x="1031549" y="2283509"/>
                    </a:cubicBezTo>
                    <a:cubicBezTo>
                      <a:pt x="748657" y="2277794"/>
                      <a:pt x="514342" y="2502584"/>
                      <a:pt x="508627" y="2785477"/>
                    </a:cubicBezTo>
                    <a:cubicBezTo>
                      <a:pt x="502912" y="3068369"/>
                      <a:pt x="727702" y="3302684"/>
                      <a:pt x="1010594" y="3308399"/>
                    </a:cubicBezTo>
                    <a:cubicBezTo>
                      <a:pt x="1244909" y="3313162"/>
                      <a:pt x="1453507" y="3157904"/>
                      <a:pt x="1515419" y="2931209"/>
                    </a:cubicBezTo>
                    <a:cubicBezTo>
                      <a:pt x="1516372" y="2926447"/>
                      <a:pt x="1517324" y="2922637"/>
                      <a:pt x="1518277" y="2917874"/>
                    </a:cubicBezTo>
                    <a:cubicBezTo>
                      <a:pt x="1523992" y="2897872"/>
                      <a:pt x="1525897" y="2895967"/>
                      <a:pt x="1546852" y="2895967"/>
                    </a:cubicBezTo>
                    <a:lnTo>
                      <a:pt x="1985955" y="2895967"/>
                    </a:lnTo>
                    <a:cubicBezTo>
                      <a:pt x="1998337" y="2895967"/>
                      <a:pt x="2009767" y="2895967"/>
                      <a:pt x="2022149" y="2895967"/>
                    </a:cubicBezTo>
                    <a:cubicBezTo>
                      <a:pt x="2029769" y="2895967"/>
                      <a:pt x="2035484" y="2901682"/>
                      <a:pt x="2035484" y="2909302"/>
                    </a:cubicBezTo>
                    <a:cubicBezTo>
                      <a:pt x="2035484" y="2909302"/>
                      <a:pt x="2035484" y="2911207"/>
                      <a:pt x="2035484" y="2912159"/>
                    </a:cubicBezTo>
                    <a:cubicBezTo>
                      <a:pt x="2035484" y="2919779"/>
                      <a:pt x="2035484" y="2927399"/>
                      <a:pt x="2033580" y="2935019"/>
                    </a:cubicBezTo>
                    <a:cubicBezTo>
                      <a:pt x="1976430" y="3339832"/>
                      <a:pt x="1688774" y="3672254"/>
                      <a:pt x="1294440" y="3779887"/>
                    </a:cubicBezTo>
                    <a:cubicBezTo>
                      <a:pt x="750562" y="3930382"/>
                      <a:pt x="187634" y="3612247"/>
                      <a:pt x="37139" y="3068369"/>
                    </a:cubicBezTo>
                    <a:cubicBezTo>
                      <a:pt x="-20963" y="2858819"/>
                      <a:pt x="-10486" y="2636887"/>
                      <a:pt x="65714" y="2434004"/>
                    </a:cubicBezTo>
                    <a:cubicBezTo>
                      <a:pt x="148582" y="2208262"/>
                      <a:pt x="232402" y="1982519"/>
                      <a:pt x="315269" y="1756777"/>
                    </a:cubicBezTo>
                    <a:cubicBezTo>
                      <a:pt x="524819" y="1185277"/>
                      <a:pt x="735322" y="613777"/>
                      <a:pt x="944872" y="42277"/>
                    </a:cubicBezTo>
                    <a:cubicBezTo>
                      <a:pt x="963922" y="-9158"/>
                      <a:pt x="965827" y="-10111"/>
                      <a:pt x="1009642" y="20369"/>
                    </a:cubicBezTo>
                    <a:cubicBezTo>
                      <a:pt x="1189665" y="146099"/>
                      <a:pt x="1301107" y="316597"/>
                      <a:pt x="1340159" y="531862"/>
                    </a:cubicBezTo>
                    <a:cubicBezTo>
                      <a:pt x="1372544" y="702359"/>
                      <a:pt x="1346827" y="879524"/>
                      <a:pt x="1266817" y="1033829"/>
                    </a:cubicBezTo>
                    <a:cubicBezTo>
                      <a:pt x="1154422" y="1258619"/>
                      <a:pt x="1041074" y="1483409"/>
                      <a:pt x="929632" y="1708199"/>
                    </a:cubicBezTo>
                    <a:cubicBezTo>
                      <a:pt x="922012" y="1723439"/>
                      <a:pt x="914392" y="1737727"/>
                      <a:pt x="906772" y="1752967"/>
                    </a:cubicBezTo>
                    <a:cubicBezTo>
                      <a:pt x="897247" y="1774874"/>
                      <a:pt x="901057" y="1780589"/>
                      <a:pt x="923917" y="1779637"/>
                    </a:cubicBezTo>
                    <a:cubicBezTo>
                      <a:pt x="962017" y="1778684"/>
                      <a:pt x="1000117" y="1775827"/>
                      <a:pt x="1038217" y="1776779"/>
                    </a:cubicBezTo>
                    <a:cubicBezTo>
                      <a:pt x="1263959" y="1778684"/>
                      <a:pt x="1483034" y="1856789"/>
                      <a:pt x="1658294" y="1999664"/>
                    </a:cubicBezTo>
                    <a:cubicBezTo>
                      <a:pt x="1852605" y="2154922"/>
                      <a:pt x="1972619" y="2356852"/>
                      <a:pt x="2023102" y="2599739"/>
                    </a:cubicBezTo>
                    <a:cubicBezTo>
                      <a:pt x="2027865" y="2623552"/>
                      <a:pt x="2031674" y="2647364"/>
                      <a:pt x="2034532" y="2672129"/>
                    </a:cubicBezTo>
                    <a:cubicBezTo>
                      <a:pt x="2037390" y="2692132"/>
                      <a:pt x="2032627" y="2696894"/>
                      <a:pt x="2013577" y="2697847"/>
                    </a:cubicBezTo>
                    <a:lnTo>
                      <a:pt x="1774499" y="269784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id="{B57B13FF-66E6-ADBD-3A22-5B9398B750C7}"/>
                  </a:ext>
                </a:extLst>
              </p:cNvPr>
              <p:cNvSpPr/>
              <p:nvPr/>
            </p:nvSpPr>
            <p:spPr>
              <a:xfrm>
                <a:off x="11315382" y="5306818"/>
                <a:ext cx="291914" cy="1722631"/>
              </a:xfrm>
              <a:custGeom>
                <a:avLst/>
                <a:gdLst>
                  <a:gd name="connsiteX0" fmla="*/ 952 w 291914"/>
                  <a:gd name="connsiteY0" fmla="*/ 1722632 h 1722631"/>
                  <a:gd name="connsiteX1" fmla="*/ 952 w 291914"/>
                  <a:gd name="connsiteY1" fmla="*/ 1374969 h 1722631"/>
                  <a:gd name="connsiteX2" fmla="*/ 952 w 291914"/>
                  <a:gd name="connsiteY2" fmla="*/ 1342584 h 1722631"/>
                  <a:gd name="connsiteX3" fmla="*/ 3810 w 291914"/>
                  <a:gd name="connsiteY3" fmla="*/ 465331 h 1722631"/>
                  <a:gd name="connsiteX4" fmla="*/ 3810 w 291914"/>
                  <a:gd name="connsiteY4" fmla="*/ 40516 h 1722631"/>
                  <a:gd name="connsiteX5" fmla="*/ 48577 w 291914"/>
                  <a:gd name="connsiteY5" fmla="*/ 4321 h 1722631"/>
                  <a:gd name="connsiteX6" fmla="*/ 271463 w 291914"/>
                  <a:gd name="connsiteY6" fmla="*/ 96714 h 1722631"/>
                  <a:gd name="connsiteX7" fmla="*/ 290513 w 291914"/>
                  <a:gd name="connsiteY7" fmla="*/ 136719 h 1722631"/>
                  <a:gd name="connsiteX8" fmla="*/ 211455 w 291914"/>
                  <a:gd name="connsiteY8" fmla="*/ 576774 h 1722631"/>
                  <a:gd name="connsiteX9" fmla="*/ 122872 w 291914"/>
                  <a:gd name="connsiteY9" fmla="*/ 1071122 h 1722631"/>
                  <a:gd name="connsiteX10" fmla="*/ 16192 w 291914"/>
                  <a:gd name="connsiteY10" fmla="*/ 1664529 h 1722631"/>
                  <a:gd name="connsiteX11" fmla="*/ 0 w 291914"/>
                  <a:gd name="connsiteY11" fmla="*/ 1720726 h 17226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91914" h="1722631">
                    <a:moveTo>
                      <a:pt x="952" y="1722632"/>
                    </a:moveTo>
                    <a:lnTo>
                      <a:pt x="952" y="1374969"/>
                    </a:lnTo>
                    <a:cubicBezTo>
                      <a:pt x="952" y="1364491"/>
                      <a:pt x="952" y="1354014"/>
                      <a:pt x="952" y="1342584"/>
                    </a:cubicBezTo>
                    <a:cubicBezTo>
                      <a:pt x="1905" y="1050166"/>
                      <a:pt x="2858" y="757749"/>
                      <a:pt x="3810" y="465331"/>
                    </a:cubicBezTo>
                    <a:cubicBezTo>
                      <a:pt x="3810" y="323409"/>
                      <a:pt x="3810" y="182439"/>
                      <a:pt x="3810" y="40516"/>
                    </a:cubicBezTo>
                    <a:cubicBezTo>
                      <a:pt x="3810" y="-1394"/>
                      <a:pt x="8572" y="-5204"/>
                      <a:pt x="48577" y="4321"/>
                    </a:cubicBezTo>
                    <a:cubicBezTo>
                      <a:pt x="126683" y="24324"/>
                      <a:pt x="201930" y="54804"/>
                      <a:pt x="271463" y="96714"/>
                    </a:cubicBezTo>
                    <a:cubicBezTo>
                      <a:pt x="287655" y="103381"/>
                      <a:pt x="295275" y="120527"/>
                      <a:pt x="290513" y="136719"/>
                    </a:cubicBezTo>
                    <a:cubicBezTo>
                      <a:pt x="262890" y="283404"/>
                      <a:pt x="238125" y="430089"/>
                      <a:pt x="211455" y="576774"/>
                    </a:cubicBezTo>
                    <a:cubicBezTo>
                      <a:pt x="181927" y="741557"/>
                      <a:pt x="152400" y="906339"/>
                      <a:pt x="122872" y="1071122"/>
                    </a:cubicBezTo>
                    <a:cubicBezTo>
                      <a:pt x="87630" y="1269241"/>
                      <a:pt x="51435" y="1466409"/>
                      <a:pt x="16192" y="1664529"/>
                    </a:cubicBezTo>
                    <a:cubicBezTo>
                      <a:pt x="12383" y="1681674"/>
                      <a:pt x="10477" y="1692151"/>
                      <a:pt x="0" y="172072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" name="Freeform 11">
                <a:extLst>
                  <a:ext uri="{FF2B5EF4-FFF2-40B4-BE49-F238E27FC236}">
                    <a16:creationId xmlns:a16="http://schemas.microsoft.com/office/drawing/2014/main" id="{54DC909C-322F-31E0-D797-3892F121E63D}"/>
                  </a:ext>
                </a:extLst>
              </p:cNvPr>
              <p:cNvSpPr/>
              <p:nvPr/>
            </p:nvSpPr>
            <p:spPr>
              <a:xfrm>
                <a:off x="11495404" y="5059921"/>
                <a:ext cx="541936" cy="1609483"/>
              </a:xfrm>
              <a:custGeom>
                <a:avLst/>
                <a:gdLst>
                  <a:gd name="connsiteX0" fmla="*/ 953 w 541936"/>
                  <a:gd name="connsiteY0" fmla="*/ 1608531 h 1609483"/>
                  <a:gd name="connsiteX1" fmla="*/ 89535 w 541936"/>
                  <a:gd name="connsiteY1" fmla="*/ 1138949 h 1609483"/>
                  <a:gd name="connsiteX2" fmla="*/ 224790 w 541936"/>
                  <a:gd name="connsiteY2" fmla="*/ 384568 h 1609483"/>
                  <a:gd name="connsiteX3" fmla="*/ 285750 w 541936"/>
                  <a:gd name="connsiteY3" fmla="*/ 43573 h 1609483"/>
                  <a:gd name="connsiteX4" fmla="*/ 342900 w 541936"/>
                  <a:gd name="connsiteY4" fmla="*/ 13093 h 1609483"/>
                  <a:gd name="connsiteX5" fmla="*/ 521017 w 541936"/>
                  <a:gd name="connsiteY5" fmla="*/ 123583 h 1609483"/>
                  <a:gd name="connsiteX6" fmla="*/ 535305 w 541936"/>
                  <a:gd name="connsiteY6" fmla="*/ 173113 h 1609483"/>
                  <a:gd name="connsiteX7" fmla="*/ 456248 w 541936"/>
                  <a:gd name="connsiteY7" fmla="*/ 387426 h 1609483"/>
                  <a:gd name="connsiteX8" fmla="*/ 200025 w 541936"/>
                  <a:gd name="connsiteY8" fmla="*/ 1085608 h 1609483"/>
                  <a:gd name="connsiteX9" fmla="*/ 35242 w 541936"/>
                  <a:gd name="connsiteY9" fmla="*/ 1530426 h 1609483"/>
                  <a:gd name="connsiteX10" fmla="*/ 0 w 541936"/>
                  <a:gd name="connsiteY10" fmla="*/ 1609483 h 1609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41936" h="1609483">
                    <a:moveTo>
                      <a:pt x="953" y="1608531"/>
                    </a:moveTo>
                    <a:cubicBezTo>
                      <a:pt x="24765" y="1478038"/>
                      <a:pt x="66675" y="1268488"/>
                      <a:pt x="89535" y="1138949"/>
                    </a:cubicBezTo>
                    <a:cubicBezTo>
                      <a:pt x="134303" y="887488"/>
                      <a:pt x="180023" y="636028"/>
                      <a:pt x="224790" y="384568"/>
                    </a:cubicBezTo>
                    <a:cubicBezTo>
                      <a:pt x="244792" y="270268"/>
                      <a:pt x="264795" y="156921"/>
                      <a:pt x="285750" y="43573"/>
                    </a:cubicBezTo>
                    <a:cubicBezTo>
                      <a:pt x="294323" y="-1194"/>
                      <a:pt x="289560" y="-11672"/>
                      <a:pt x="342900" y="13093"/>
                    </a:cubicBezTo>
                    <a:cubicBezTo>
                      <a:pt x="406717" y="41668"/>
                      <a:pt x="466725" y="78816"/>
                      <a:pt x="521017" y="123583"/>
                    </a:cubicBezTo>
                    <a:cubicBezTo>
                      <a:pt x="545783" y="143586"/>
                      <a:pt x="545783" y="144538"/>
                      <a:pt x="535305" y="173113"/>
                    </a:cubicBezTo>
                    <a:cubicBezTo>
                      <a:pt x="509588" y="244551"/>
                      <a:pt x="482917" y="315988"/>
                      <a:pt x="456248" y="387426"/>
                    </a:cubicBezTo>
                    <a:cubicBezTo>
                      <a:pt x="370523" y="619836"/>
                      <a:pt x="284798" y="853199"/>
                      <a:pt x="200025" y="1085608"/>
                    </a:cubicBezTo>
                    <a:cubicBezTo>
                      <a:pt x="145733" y="1234199"/>
                      <a:pt x="90488" y="1382788"/>
                      <a:pt x="35242" y="1530426"/>
                    </a:cubicBezTo>
                    <a:lnTo>
                      <a:pt x="0" y="160948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D154F245-4B91-4380-868E-C0E4FC0F0108}"/>
              </a:ext>
            </a:extLst>
          </p:cNvPr>
          <p:cNvSpPr txBox="1"/>
          <p:nvPr/>
        </p:nvSpPr>
        <p:spPr>
          <a:xfrm>
            <a:off x="4293159" y="5760031"/>
            <a:ext cx="12644213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0" b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190500" dist="38100" dir="5400000" sx="103000" sy="103000" algn="t" rotWithShape="0">
                    <a:srgbClr val="377DFF">
                      <a:lumMod val="50000"/>
                      <a:alpha val="53000"/>
                    </a:srgbClr>
                  </a:outerShdw>
                </a:effectLst>
                <a:uLnTx/>
                <a:uFillTx/>
                <a:latin typeface="Futura Md BT" panose="020B0602020204020303" pitchFamily="34" charset="0"/>
              </a:rPr>
              <a:t>Breadcrumbs</a:t>
            </a:r>
          </a:p>
        </p:txBody>
      </p:sp>
    </p:spTree>
    <p:extLst>
      <p:ext uri="{BB962C8B-B14F-4D97-AF65-F5344CB8AC3E}">
        <p14:creationId xmlns:p14="http://schemas.microsoft.com/office/powerpoint/2010/main" val="30485235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bg2"/>
                                      </p:to>
                                    </p:animClr>
                                    <p:set>
                                      <p:cBhvr>
                                        <p:cTn id="7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iterate type="lt">
                                    <p:tmPct val="15625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15584E-6 4.44444E-6 L 0.28687 4.44444E-6 " pathEditMode="relative" ptsTypes="AA">
                                      <p:cBhvr>
                                        <p:cTn id="12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3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2000" fill="hold"/>
                                        <p:tgtEl>
                                          <p:spTgt spid="16"/>
                                        </p:tgtEl>
                                      </p:cBhvr>
                                      <p:by x="200000" y="200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5" dur="15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6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7" dur="15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8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29" dur="15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2" grpId="1" animBg="1"/>
      <p:bldP spid="3" grpId="0" animBg="1"/>
      <p:bldP spid="3" grpId="1" animBg="1"/>
      <p:bldP spid="4" grpId="0" animBg="1"/>
      <p:bldP spid="4" grpId="1" animBg="1"/>
      <p:bldP spid="5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B36BE58-CE63-47C5-8B14-8D735AFB3DE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FC3338C-710F-4825-8967-51FB48A38A0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A2034C7-4568-4F13-A609-4F1463033D7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736394B-AFF1-46FC-B780-74CA3658515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4303180" y="4472608"/>
            <a:ext cx="4206240" cy="5963478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B721C78C-9960-456B-95A7-64CE103EE3F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067D74A-0927-4858-B8EA-1C90A60F0B7C}"/>
              </a:ext>
            </a:extLst>
          </p:cNvPr>
          <p:cNvSpPr/>
          <p:nvPr/>
        </p:nvSpPr>
        <p:spPr>
          <a:xfrm>
            <a:off x="1684989" y="4472609"/>
            <a:ext cx="4206240" cy="5963478"/>
          </a:xfrm>
          <a:prstGeom prst="rect">
            <a:avLst/>
          </a:prstGeom>
          <a:solidFill>
            <a:schemeClr val="accent1">
              <a:lumMod val="20000"/>
              <a:lumOff val="80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37" name="Group 136">
            <a:extLst>
              <a:ext uri="{FF2B5EF4-FFF2-40B4-BE49-F238E27FC236}">
                <a16:creationId xmlns:a16="http://schemas.microsoft.com/office/drawing/2014/main" id="{2A8517AD-6F99-4A73-8590-E956AA882012}"/>
              </a:ext>
            </a:extLst>
          </p:cNvPr>
          <p:cNvGrpSpPr/>
          <p:nvPr/>
        </p:nvGrpSpPr>
        <p:grpSpPr>
          <a:xfrm>
            <a:off x="2083134" y="6275031"/>
            <a:ext cx="3409950" cy="2833707"/>
            <a:chOff x="2933700" y="5579646"/>
            <a:chExt cx="3409950" cy="2833707"/>
          </a:xfrm>
        </p:grpSpPr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096B623F-0354-4D72-BC54-7FF881AB26D4}"/>
                </a:ext>
              </a:extLst>
            </p:cNvPr>
            <p:cNvSpPr txBox="1"/>
            <p:nvPr/>
          </p:nvSpPr>
          <p:spPr>
            <a:xfrm>
              <a:off x="4072546" y="6140971"/>
              <a:ext cx="1154482" cy="769441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en-US" sz="4400" b="1" dirty="0">
                  <a:solidFill>
                    <a:schemeClr val="bg1"/>
                  </a:solidFill>
                  <a:latin typeface="+mj-lt"/>
                </a:rPr>
                <a:t>#01</a:t>
              </a:r>
            </a:p>
          </p:txBody>
        </p:sp>
        <p:sp>
          <p:nvSpPr>
            <p:cNvPr id="135" name="Isosceles Triangle 134">
              <a:extLst>
                <a:ext uri="{FF2B5EF4-FFF2-40B4-BE49-F238E27FC236}">
                  <a16:creationId xmlns:a16="http://schemas.microsoft.com/office/drawing/2014/main" id="{4761F3FF-6D36-44DF-B8B9-2CD53AC16AF0}"/>
                </a:ext>
              </a:extLst>
            </p:cNvPr>
            <p:cNvSpPr/>
            <p:nvPr/>
          </p:nvSpPr>
          <p:spPr>
            <a:xfrm rot="10800000">
              <a:off x="4418690" y="5579646"/>
              <a:ext cx="462195" cy="258712"/>
            </a:xfrm>
            <a:prstGeom prst="triangle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6F4F2CF0-849C-464B-A05A-023F47CC6055}"/>
                </a:ext>
              </a:extLst>
            </p:cNvPr>
            <p:cNvSpPr txBox="1"/>
            <p:nvPr/>
          </p:nvSpPr>
          <p:spPr>
            <a:xfrm>
              <a:off x="2933700" y="7213024"/>
              <a:ext cx="3409950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  <a:latin typeface="FUTURA MEDIUM BT" panose="020B0602020204020303" pitchFamily="34" charset="0"/>
                </a:rPr>
                <a:t>None of these solutions enable users to actually</a:t>
              </a:r>
            </a:p>
            <a:p>
              <a:pPr algn="ctr"/>
              <a:r>
                <a:rPr lang="en-US" dirty="0">
                  <a:solidFill>
                    <a:schemeClr val="bg1"/>
                  </a:solidFill>
                  <a:latin typeface="FUTURA MEDIUM BT" panose="020B0602020204020303" pitchFamily="34" charset="0"/>
                </a:rPr>
                <a:t>interact with their data in </a:t>
              </a:r>
              <a:br>
                <a:rPr lang="en-US" dirty="0">
                  <a:solidFill>
                    <a:schemeClr val="bg1"/>
                  </a:solidFill>
                  <a:latin typeface="FUTURA MEDIUM BT" panose="020B0602020204020303" pitchFamily="34" charset="0"/>
                </a:rPr>
              </a:br>
              <a:r>
                <a:rPr lang="en-US" dirty="0">
                  <a:solidFill>
                    <a:schemeClr val="bg1"/>
                  </a:solidFill>
                  <a:latin typeface="FUTURA MEDIUM BT" panose="020B0602020204020303" pitchFamily="34" charset="0"/>
                </a:rPr>
                <a:t>a useful way.</a:t>
              </a:r>
            </a:p>
          </p:txBody>
        </p: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782BB363-51B2-460A-BBB4-EF29E2A7B48F}"/>
              </a:ext>
            </a:extLst>
          </p:cNvPr>
          <p:cNvSpPr/>
          <p:nvPr/>
        </p:nvSpPr>
        <p:spPr>
          <a:xfrm>
            <a:off x="5891229" y="4472609"/>
            <a:ext cx="4206240" cy="5963478"/>
          </a:xfrm>
          <a:prstGeom prst="rect">
            <a:avLst/>
          </a:prstGeom>
          <a:solidFill>
            <a:schemeClr val="accent1">
              <a:lumMod val="40000"/>
              <a:lumOff val="60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38" name="Group 137">
            <a:extLst>
              <a:ext uri="{FF2B5EF4-FFF2-40B4-BE49-F238E27FC236}">
                <a16:creationId xmlns:a16="http://schemas.microsoft.com/office/drawing/2014/main" id="{AF4D3D78-8DF8-4600-82A7-402E80FB4534}"/>
              </a:ext>
            </a:extLst>
          </p:cNvPr>
          <p:cNvGrpSpPr/>
          <p:nvPr/>
        </p:nvGrpSpPr>
        <p:grpSpPr>
          <a:xfrm>
            <a:off x="6289374" y="6275031"/>
            <a:ext cx="3409950" cy="2833707"/>
            <a:chOff x="2933700" y="5579646"/>
            <a:chExt cx="3409950" cy="2833707"/>
          </a:xfrm>
        </p:grpSpPr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BCEA249F-0130-450A-B239-5D520902C3CD}"/>
                </a:ext>
              </a:extLst>
            </p:cNvPr>
            <p:cNvSpPr txBox="1"/>
            <p:nvPr/>
          </p:nvSpPr>
          <p:spPr>
            <a:xfrm>
              <a:off x="4072546" y="6140971"/>
              <a:ext cx="1154482" cy="769441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en-US" sz="4400" b="1">
                  <a:solidFill>
                    <a:schemeClr val="bg1"/>
                  </a:solidFill>
                  <a:latin typeface="+mj-lt"/>
                </a:rPr>
                <a:t>#02</a:t>
              </a:r>
            </a:p>
          </p:txBody>
        </p:sp>
        <p:sp>
          <p:nvSpPr>
            <p:cNvPr id="140" name="Isosceles Triangle 139">
              <a:extLst>
                <a:ext uri="{FF2B5EF4-FFF2-40B4-BE49-F238E27FC236}">
                  <a16:creationId xmlns:a16="http://schemas.microsoft.com/office/drawing/2014/main" id="{50A969A5-E0D0-450C-A1C6-6C11DDA58013}"/>
                </a:ext>
              </a:extLst>
            </p:cNvPr>
            <p:cNvSpPr/>
            <p:nvPr/>
          </p:nvSpPr>
          <p:spPr>
            <a:xfrm rot="10800000">
              <a:off x="4418690" y="5579646"/>
              <a:ext cx="462195" cy="258712"/>
            </a:xfrm>
            <a:prstGeom prst="triangle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AA62DF1C-41DD-499E-AD6E-0E6D8C9CF951}"/>
                </a:ext>
              </a:extLst>
            </p:cNvPr>
            <p:cNvSpPr txBox="1"/>
            <p:nvPr/>
          </p:nvSpPr>
          <p:spPr>
            <a:xfrm>
              <a:off x="2933700" y="7213024"/>
              <a:ext cx="3409950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  <a:latin typeface="FUTURA MEDIUM BT" panose="020B0602020204020303" pitchFamily="34" charset="0"/>
                </a:rPr>
                <a:t>Different security concerns </a:t>
              </a:r>
              <a:br>
                <a:rPr lang="en-US" dirty="0">
                  <a:solidFill>
                    <a:schemeClr val="bg1"/>
                  </a:solidFill>
                  <a:latin typeface="FUTURA MEDIUM BT" panose="020B0602020204020303" pitchFamily="34" charset="0"/>
                </a:rPr>
              </a:br>
              <a:r>
                <a:rPr lang="en-US" dirty="0">
                  <a:solidFill>
                    <a:schemeClr val="bg1"/>
                  </a:solidFill>
                  <a:latin typeface="FUTURA MEDIUM BT" panose="020B0602020204020303" pitchFamily="34" charset="0"/>
                </a:rPr>
                <a:t>are handled by different companies, an inconvenience for users.</a:t>
              </a:r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A0491492-065A-4CE5-9749-1BFBF8B38964}"/>
              </a:ext>
            </a:extLst>
          </p:cNvPr>
          <p:cNvSpPr/>
          <p:nvPr/>
        </p:nvSpPr>
        <p:spPr>
          <a:xfrm>
            <a:off x="10097469" y="4472609"/>
            <a:ext cx="4206240" cy="5963478"/>
          </a:xfrm>
          <a:prstGeom prst="rect">
            <a:avLst/>
          </a:prstGeom>
          <a:solidFill>
            <a:srgbClr val="FF00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1ABFA21E-D6DD-455B-9217-D297D95DD7FE}"/>
              </a:ext>
            </a:extLst>
          </p:cNvPr>
          <p:cNvGrpSpPr/>
          <p:nvPr/>
        </p:nvGrpSpPr>
        <p:grpSpPr>
          <a:xfrm>
            <a:off x="10495614" y="6275031"/>
            <a:ext cx="3409950" cy="2833707"/>
            <a:chOff x="2933700" y="5579646"/>
            <a:chExt cx="3409950" cy="2833707"/>
          </a:xfrm>
        </p:grpSpPr>
        <p:sp>
          <p:nvSpPr>
            <p:cNvPr id="143" name="TextBox 142">
              <a:extLst>
                <a:ext uri="{FF2B5EF4-FFF2-40B4-BE49-F238E27FC236}">
                  <a16:creationId xmlns:a16="http://schemas.microsoft.com/office/drawing/2014/main" id="{3F490645-E191-42E6-83EA-778CB1670486}"/>
                </a:ext>
              </a:extLst>
            </p:cNvPr>
            <p:cNvSpPr txBox="1"/>
            <p:nvPr/>
          </p:nvSpPr>
          <p:spPr>
            <a:xfrm>
              <a:off x="4072546" y="6140971"/>
              <a:ext cx="1154482" cy="769441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en-US" sz="4400" b="1" dirty="0">
                  <a:latin typeface="+mj-lt"/>
                </a:rPr>
                <a:t>#03</a:t>
              </a:r>
            </a:p>
          </p:txBody>
        </p:sp>
        <p:sp>
          <p:nvSpPr>
            <p:cNvPr id="144" name="Isosceles Triangle 143">
              <a:extLst>
                <a:ext uri="{FF2B5EF4-FFF2-40B4-BE49-F238E27FC236}">
                  <a16:creationId xmlns:a16="http://schemas.microsoft.com/office/drawing/2014/main" id="{1E30D396-2CAC-4B37-9651-5856BA5A6145}"/>
                </a:ext>
              </a:extLst>
            </p:cNvPr>
            <p:cNvSpPr/>
            <p:nvPr/>
          </p:nvSpPr>
          <p:spPr>
            <a:xfrm rot="10800000">
              <a:off x="4418690" y="5579646"/>
              <a:ext cx="462195" cy="258712"/>
            </a:xfrm>
            <a:prstGeom prst="triangle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5" name="TextBox 144">
              <a:extLst>
                <a:ext uri="{FF2B5EF4-FFF2-40B4-BE49-F238E27FC236}">
                  <a16:creationId xmlns:a16="http://schemas.microsoft.com/office/drawing/2014/main" id="{4FC52AF5-AF30-46F4-B731-330829AE2657}"/>
                </a:ext>
              </a:extLst>
            </p:cNvPr>
            <p:cNvSpPr txBox="1"/>
            <p:nvPr/>
          </p:nvSpPr>
          <p:spPr>
            <a:xfrm>
              <a:off x="2933700" y="7213024"/>
              <a:ext cx="3409950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latin typeface="FUTURA MEDIUM BT" panose="020B0602020204020303" pitchFamily="34" charset="0"/>
                </a:rPr>
                <a:t>The VPN industry operates </a:t>
              </a:r>
              <a:br>
                <a:rPr lang="en-US" dirty="0">
                  <a:latin typeface="FUTURA MEDIUM BT" panose="020B0602020204020303" pitchFamily="34" charset="0"/>
                </a:rPr>
              </a:br>
              <a:r>
                <a:rPr lang="en-US" dirty="0">
                  <a:latin typeface="FUTURA MEDIUM BT" panose="020B0602020204020303" pitchFamily="34" charset="0"/>
                </a:rPr>
                <a:t>like a cartel, with leading brands sharing the </a:t>
              </a:r>
              <a:br>
                <a:rPr lang="en-US" dirty="0">
                  <a:latin typeface="FUTURA MEDIUM BT" panose="020B0602020204020303" pitchFamily="34" charset="0"/>
                </a:rPr>
              </a:br>
              <a:r>
                <a:rPr lang="en-US" dirty="0">
                  <a:latin typeface="FUTURA MEDIUM BT" panose="020B0602020204020303" pitchFamily="34" charset="0"/>
                </a:rPr>
                <a:t>same owners.</a:t>
              </a:r>
            </a:p>
          </p:txBody>
        </p:sp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560E339A-5C09-44D5-8C30-55110DFC6F6C}"/>
              </a:ext>
            </a:extLst>
          </p:cNvPr>
          <p:cNvGrpSpPr/>
          <p:nvPr/>
        </p:nvGrpSpPr>
        <p:grpSpPr>
          <a:xfrm>
            <a:off x="14701855" y="6275031"/>
            <a:ext cx="3409950" cy="2833707"/>
            <a:chOff x="2933700" y="5579646"/>
            <a:chExt cx="3409950" cy="2833707"/>
          </a:xfrm>
        </p:grpSpPr>
        <p:sp>
          <p:nvSpPr>
            <p:cNvPr id="147" name="TextBox 146">
              <a:extLst>
                <a:ext uri="{FF2B5EF4-FFF2-40B4-BE49-F238E27FC236}">
                  <a16:creationId xmlns:a16="http://schemas.microsoft.com/office/drawing/2014/main" id="{5B802549-6F5F-40A6-BF16-0C79825073E5}"/>
                </a:ext>
              </a:extLst>
            </p:cNvPr>
            <p:cNvSpPr txBox="1"/>
            <p:nvPr/>
          </p:nvSpPr>
          <p:spPr>
            <a:xfrm>
              <a:off x="4072546" y="6140971"/>
              <a:ext cx="1154482" cy="769441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en-US" sz="4400" b="1" dirty="0">
                  <a:solidFill>
                    <a:schemeClr val="bg2"/>
                  </a:solidFill>
                  <a:latin typeface="+mj-lt"/>
                </a:rPr>
                <a:t>#04</a:t>
              </a:r>
            </a:p>
          </p:txBody>
        </p:sp>
        <p:sp>
          <p:nvSpPr>
            <p:cNvPr id="148" name="Isosceles Triangle 147">
              <a:extLst>
                <a:ext uri="{FF2B5EF4-FFF2-40B4-BE49-F238E27FC236}">
                  <a16:creationId xmlns:a16="http://schemas.microsoft.com/office/drawing/2014/main" id="{3C72A353-72EC-4428-88EF-B8CA2EC4E6EF}"/>
                </a:ext>
              </a:extLst>
            </p:cNvPr>
            <p:cNvSpPr/>
            <p:nvPr/>
          </p:nvSpPr>
          <p:spPr>
            <a:xfrm rot="10800000">
              <a:off x="4418690" y="5579646"/>
              <a:ext cx="462195" cy="258712"/>
            </a:xfrm>
            <a:prstGeom prst="triangle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BC6DAC4F-BF78-45FA-8DEE-02F4EEDA24A7}"/>
                </a:ext>
              </a:extLst>
            </p:cNvPr>
            <p:cNvSpPr txBox="1"/>
            <p:nvPr/>
          </p:nvSpPr>
          <p:spPr>
            <a:xfrm>
              <a:off x="2933700" y="7213024"/>
              <a:ext cx="3409950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chemeClr val="bg2"/>
                  </a:solidFill>
                  <a:latin typeface="FUTURA MEDIUM BT" panose="020B0602020204020303" pitchFamily="34" charset="0"/>
                </a:rPr>
                <a:t>Incumbents are periodically exposed for collecting</a:t>
              </a:r>
            </a:p>
            <a:p>
              <a:pPr algn="ctr"/>
              <a:r>
                <a:rPr lang="en-US" dirty="0">
                  <a:solidFill>
                    <a:schemeClr val="bg2"/>
                  </a:solidFill>
                  <a:latin typeface="FUTURA MEDIUM BT" panose="020B0602020204020303" pitchFamily="34" charset="0"/>
                </a:rPr>
                <a:t>user data, despite promising otherwise.</a:t>
              </a:r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501480A0-CB42-42CE-AE0B-FCD51704D627}"/>
              </a:ext>
            </a:extLst>
          </p:cNvPr>
          <p:cNvSpPr/>
          <p:nvPr/>
        </p:nvSpPr>
        <p:spPr>
          <a:xfrm>
            <a:off x="18509950" y="4472609"/>
            <a:ext cx="4206240" cy="5963478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55" name="Group 154">
            <a:extLst>
              <a:ext uri="{FF2B5EF4-FFF2-40B4-BE49-F238E27FC236}">
                <a16:creationId xmlns:a16="http://schemas.microsoft.com/office/drawing/2014/main" id="{16754799-26EE-4B3E-9585-729336BCAF36}"/>
              </a:ext>
            </a:extLst>
          </p:cNvPr>
          <p:cNvGrpSpPr/>
          <p:nvPr/>
        </p:nvGrpSpPr>
        <p:grpSpPr>
          <a:xfrm>
            <a:off x="18908095" y="6275031"/>
            <a:ext cx="3409950" cy="2556708"/>
            <a:chOff x="2933700" y="5579646"/>
            <a:chExt cx="3409950" cy="2556708"/>
          </a:xfrm>
        </p:grpSpPr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C24EFEC1-DEE1-4DFD-A27E-6A85A2FDB872}"/>
                </a:ext>
              </a:extLst>
            </p:cNvPr>
            <p:cNvSpPr txBox="1"/>
            <p:nvPr/>
          </p:nvSpPr>
          <p:spPr>
            <a:xfrm>
              <a:off x="4072546" y="6140971"/>
              <a:ext cx="1154482" cy="769441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en-US" sz="4400" b="1">
                  <a:solidFill>
                    <a:schemeClr val="bg1"/>
                  </a:solidFill>
                  <a:latin typeface="+mj-lt"/>
                </a:rPr>
                <a:t>#05</a:t>
              </a:r>
            </a:p>
          </p:txBody>
        </p:sp>
        <p:sp>
          <p:nvSpPr>
            <p:cNvPr id="157" name="Isosceles Triangle 156">
              <a:extLst>
                <a:ext uri="{FF2B5EF4-FFF2-40B4-BE49-F238E27FC236}">
                  <a16:creationId xmlns:a16="http://schemas.microsoft.com/office/drawing/2014/main" id="{A52FE1DB-1734-43D0-A054-70C3766EF8BA}"/>
                </a:ext>
              </a:extLst>
            </p:cNvPr>
            <p:cNvSpPr/>
            <p:nvPr/>
          </p:nvSpPr>
          <p:spPr>
            <a:xfrm rot="10800000">
              <a:off x="4418690" y="5579646"/>
              <a:ext cx="462195" cy="258712"/>
            </a:xfrm>
            <a:prstGeom prst="triangle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8" name="TextBox 157">
              <a:extLst>
                <a:ext uri="{FF2B5EF4-FFF2-40B4-BE49-F238E27FC236}">
                  <a16:creationId xmlns:a16="http://schemas.microsoft.com/office/drawing/2014/main" id="{B1B2499F-55EF-4E00-9687-C744D116CB48}"/>
                </a:ext>
              </a:extLst>
            </p:cNvPr>
            <p:cNvSpPr txBox="1"/>
            <p:nvPr/>
          </p:nvSpPr>
          <p:spPr>
            <a:xfrm>
              <a:off x="2933700" y="7213024"/>
              <a:ext cx="3409950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  <a:latin typeface="FUTURA MEDIUM BT" panose="020B0602020204020303" pitchFamily="34" charset="0"/>
                </a:rPr>
                <a:t>The VPN space needs </a:t>
              </a:r>
              <a:br>
                <a:rPr lang="en-US" dirty="0">
                  <a:solidFill>
                    <a:schemeClr val="bg1"/>
                  </a:solidFill>
                  <a:latin typeface="FUTURA MEDIUM BT" panose="020B0602020204020303" pitchFamily="34" charset="0"/>
                </a:rPr>
              </a:br>
              <a:r>
                <a:rPr lang="en-US" dirty="0">
                  <a:solidFill>
                    <a:schemeClr val="bg1"/>
                  </a:solidFill>
                  <a:latin typeface="FUTURA MEDIUM BT" panose="020B0602020204020303" pitchFamily="34" charset="0"/>
                </a:rPr>
                <a:t>a "trustless" and</a:t>
              </a:r>
            </a:p>
            <a:p>
              <a:pPr algn="ctr"/>
              <a:r>
                <a:rPr lang="en-US" dirty="0">
                  <a:solidFill>
                    <a:schemeClr val="bg1"/>
                  </a:solidFill>
                  <a:latin typeface="FUTURA MEDIUM BT" panose="020B0602020204020303" pitchFamily="34" charset="0"/>
                </a:rPr>
                <a:t>decentralized solution.</a:t>
              </a:r>
            </a:p>
          </p:txBody>
        </p:sp>
      </p:grpSp>
      <p:sp useBgFill="1">
        <p:nvSpPr>
          <p:cNvPr id="159" name="Rectangle 158">
            <a:extLst>
              <a:ext uri="{FF2B5EF4-FFF2-40B4-BE49-F238E27FC236}">
                <a16:creationId xmlns:a16="http://schemas.microsoft.com/office/drawing/2014/main" id="{9C6174F9-8E8D-4702-B7CC-2EA3B409C027}"/>
              </a:ext>
            </a:extLst>
          </p:cNvPr>
          <p:cNvSpPr/>
          <p:nvPr/>
        </p:nvSpPr>
        <p:spPr>
          <a:xfrm>
            <a:off x="1461439" y="12344399"/>
            <a:ext cx="21500523" cy="387882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57217DD-A193-8A83-CAA1-7616565B39B9}"/>
              </a:ext>
            </a:extLst>
          </p:cNvPr>
          <p:cNvSpPr txBox="1"/>
          <p:nvPr/>
        </p:nvSpPr>
        <p:spPr>
          <a:xfrm>
            <a:off x="4441969" y="2083430"/>
            <a:ext cx="1550323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sz="9600" b="1" dirty="0">
                <a:solidFill>
                  <a:srgbClr val="FFFFFF"/>
                </a:solidFill>
                <a:effectLst>
                  <a:outerShdw blurRad="190500" dist="38100" dir="5400000" sx="103000" sy="103000" algn="t" rotWithShape="0">
                    <a:srgbClr val="377DFF">
                      <a:lumMod val="50000"/>
                      <a:alpha val="53000"/>
                    </a:srgbClr>
                  </a:outerShdw>
                </a:effectLst>
                <a:latin typeface="Futura Md BT" panose="020B0602020204020303" pitchFamily="34" charset="0"/>
              </a:rPr>
              <a:t>Why they’re not enough</a:t>
            </a:r>
          </a:p>
        </p:txBody>
      </p:sp>
    </p:spTree>
    <p:extLst>
      <p:ext uri="{BB962C8B-B14F-4D97-AF65-F5344CB8AC3E}">
        <p14:creationId xmlns:p14="http://schemas.microsoft.com/office/powerpoint/2010/main" val="29041601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0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0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decel="10000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100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100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100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100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100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16" presetClass="entr" presetSubtype="37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4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18" grpId="0" animBg="1"/>
      <p:bldP spid="20" grpId="0" animBg="1"/>
      <p:bldP spid="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readCrumbs 16.9 (1)">
            <a:hlinkClick r:id="" action="ppaction://media"/>
            <a:extLst>
              <a:ext uri="{FF2B5EF4-FFF2-40B4-BE49-F238E27FC236}">
                <a16:creationId xmlns:a16="http://schemas.microsoft.com/office/drawing/2014/main" id="{4E643CE7-85E9-8CC0-ED58-CD93A902FBEE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7937" y="6349"/>
            <a:ext cx="24379237" cy="13713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99739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500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Stock-1097736574">
            <a:hlinkClick r:id="" action="ppaction://media"/>
            <a:extLst>
              <a:ext uri="{FF2B5EF4-FFF2-40B4-BE49-F238E27FC236}">
                <a16:creationId xmlns:a16="http://schemas.microsoft.com/office/drawing/2014/main" id="{E4CE41A1-8BBC-4DF7-1C9A-E072C3ECF1C3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4763" y="3174"/>
            <a:ext cx="24378356" cy="13712825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F1E11E2-DE22-4FBC-B54A-17C2A7BE4C4C}"/>
              </a:ext>
            </a:extLst>
          </p:cNvPr>
          <p:cNvSpPr txBox="1"/>
          <p:nvPr/>
        </p:nvSpPr>
        <p:spPr>
          <a:xfrm>
            <a:off x="9460793" y="6388715"/>
            <a:ext cx="5465600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6000" b="1" dirty="0">
                <a:solidFill>
                  <a:schemeClr val="bg2"/>
                </a:solidFill>
                <a:latin typeface="Futura Md BT" panose="020B0602020204020303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Breadcrumb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8C2181E-2406-4926-BA51-0C9A10B0B1D9}"/>
              </a:ext>
            </a:extLst>
          </p:cNvPr>
          <p:cNvSpPr txBox="1"/>
          <p:nvPr/>
        </p:nvSpPr>
        <p:spPr>
          <a:xfrm>
            <a:off x="3243946" y="6396335"/>
            <a:ext cx="621574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400" dirty="0">
                <a:solidFill>
                  <a:schemeClr val="bg1"/>
                </a:solidFill>
                <a:latin typeface="FUTURA MEDIUM BT" panose="020B0602020204020303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We are introducing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EC696FB-35CD-4CE6-A222-677FB5CAC425}"/>
              </a:ext>
            </a:extLst>
          </p:cNvPr>
          <p:cNvSpPr txBox="1"/>
          <p:nvPr/>
        </p:nvSpPr>
        <p:spPr>
          <a:xfrm>
            <a:off x="14909015" y="6396335"/>
            <a:ext cx="765722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400" dirty="0">
                <a:solidFill>
                  <a:schemeClr val="bg1"/>
                </a:solidFill>
                <a:latin typeface="FUTURA MEDIUM BT" panose="020B0602020204020303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Personal Data Manager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0F2454A1-4EF5-7C9D-439F-446F7A21DAE1}"/>
              </a:ext>
            </a:extLst>
          </p:cNvPr>
          <p:cNvGrpSpPr/>
          <p:nvPr/>
        </p:nvGrpSpPr>
        <p:grpSpPr>
          <a:xfrm>
            <a:off x="9769513" y="4433926"/>
            <a:ext cx="4848149" cy="4848149"/>
            <a:chOff x="9989883" y="4654296"/>
            <a:chExt cx="4407408" cy="4407408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23E804D9-0C2A-4551-BA1F-95BF3C841FD7}"/>
                </a:ext>
              </a:extLst>
            </p:cNvPr>
            <p:cNvSpPr/>
            <p:nvPr/>
          </p:nvSpPr>
          <p:spPr>
            <a:xfrm>
              <a:off x="9989883" y="4654296"/>
              <a:ext cx="4407408" cy="440740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Arc 8">
              <a:extLst>
                <a:ext uri="{FF2B5EF4-FFF2-40B4-BE49-F238E27FC236}">
                  <a16:creationId xmlns:a16="http://schemas.microsoft.com/office/drawing/2014/main" id="{0CD5D209-6538-2789-65DD-C8C53FB11B6B}"/>
                </a:ext>
              </a:extLst>
            </p:cNvPr>
            <p:cNvSpPr/>
            <p:nvPr/>
          </p:nvSpPr>
          <p:spPr>
            <a:xfrm>
              <a:off x="9991545" y="4654296"/>
              <a:ext cx="4405746" cy="4405746"/>
            </a:xfrm>
            <a:prstGeom prst="arc">
              <a:avLst>
                <a:gd name="adj1" fmla="val 16200000"/>
                <a:gd name="adj2" fmla="val 20775565"/>
              </a:avLst>
            </a:prstGeom>
            <a:ln w="50800">
              <a:gradFill flip="none" rotWithShape="1">
                <a:gsLst>
                  <a:gs pos="23000">
                    <a:schemeClr val="bg2"/>
                  </a:gs>
                  <a:gs pos="100000">
                    <a:schemeClr val="bg1"/>
                  </a:gs>
                </a:gsLst>
                <a:lin ang="0" scaled="1"/>
                <a:tileRect/>
              </a:gra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1527D832-39D1-B475-CC8D-9A8319FEE7B6}"/>
              </a:ext>
            </a:extLst>
          </p:cNvPr>
          <p:cNvGrpSpPr/>
          <p:nvPr/>
        </p:nvGrpSpPr>
        <p:grpSpPr>
          <a:xfrm rot="15300000" flipH="1">
            <a:off x="9527105" y="4191518"/>
            <a:ext cx="5332964" cy="5332964"/>
            <a:chOff x="9989883" y="4654296"/>
            <a:chExt cx="4407408" cy="4407408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0BD4A32A-4A70-0543-1300-E77C02EE6576}"/>
                </a:ext>
              </a:extLst>
            </p:cNvPr>
            <p:cNvSpPr/>
            <p:nvPr/>
          </p:nvSpPr>
          <p:spPr>
            <a:xfrm>
              <a:off x="9989883" y="4654296"/>
              <a:ext cx="4407408" cy="440740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Arc 11">
              <a:extLst>
                <a:ext uri="{FF2B5EF4-FFF2-40B4-BE49-F238E27FC236}">
                  <a16:creationId xmlns:a16="http://schemas.microsoft.com/office/drawing/2014/main" id="{6BA6B7AA-9C47-D698-B600-BB7D9EFC87CC}"/>
                </a:ext>
              </a:extLst>
            </p:cNvPr>
            <p:cNvSpPr/>
            <p:nvPr/>
          </p:nvSpPr>
          <p:spPr>
            <a:xfrm>
              <a:off x="9991545" y="4654296"/>
              <a:ext cx="4405746" cy="4405746"/>
            </a:xfrm>
            <a:prstGeom prst="arc">
              <a:avLst>
                <a:gd name="adj1" fmla="val 16200000"/>
                <a:gd name="adj2" fmla="val 20775565"/>
              </a:avLst>
            </a:prstGeom>
            <a:ln w="44450">
              <a:gradFill flip="none" rotWithShape="1">
                <a:gsLst>
                  <a:gs pos="23000">
                    <a:schemeClr val="bg2"/>
                  </a:gs>
                  <a:gs pos="99000">
                    <a:schemeClr val="bg1"/>
                  </a:gs>
                </a:gsLst>
                <a:lin ang="0" scaled="1"/>
                <a:tileRect/>
              </a:gra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6537471-9927-47A0-097B-A08D44F8ADCE}"/>
              </a:ext>
            </a:extLst>
          </p:cNvPr>
          <p:cNvGrpSpPr/>
          <p:nvPr/>
        </p:nvGrpSpPr>
        <p:grpSpPr>
          <a:xfrm>
            <a:off x="9260457" y="3924870"/>
            <a:ext cx="5866260" cy="5866260"/>
            <a:chOff x="9989883" y="4654296"/>
            <a:chExt cx="4407408" cy="4407408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EA56FAAA-99F4-08A1-5295-8E350150FDAD}"/>
                </a:ext>
              </a:extLst>
            </p:cNvPr>
            <p:cNvSpPr/>
            <p:nvPr/>
          </p:nvSpPr>
          <p:spPr>
            <a:xfrm>
              <a:off x="9989883" y="4654296"/>
              <a:ext cx="4407408" cy="440740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Arc 14">
              <a:extLst>
                <a:ext uri="{FF2B5EF4-FFF2-40B4-BE49-F238E27FC236}">
                  <a16:creationId xmlns:a16="http://schemas.microsoft.com/office/drawing/2014/main" id="{0FDD8634-526C-07C9-C5B0-F3209E3A1779}"/>
                </a:ext>
              </a:extLst>
            </p:cNvPr>
            <p:cNvSpPr/>
            <p:nvPr/>
          </p:nvSpPr>
          <p:spPr>
            <a:xfrm>
              <a:off x="9991545" y="4654296"/>
              <a:ext cx="4405746" cy="4405746"/>
            </a:xfrm>
            <a:prstGeom prst="arc">
              <a:avLst>
                <a:gd name="adj1" fmla="val 1000099"/>
                <a:gd name="adj2" fmla="val 7299557"/>
              </a:avLst>
            </a:prstGeom>
            <a:ln w="44450">
              <a:gradFill flip="none" rotWithShape="1">
                <a:gsLst>
                  <a:gs pos="0">
                    <a:schemeClr val="bg2"/>
                  </a:gs>
                  <a:gs pos="48000">
                    <a:schemeClr val="bg1"/>
                  </a:gs>
                </a:gsLst>
                <a:lin ang="10800000" scaled="1"/>
                <a:tileRect/>
              </a:gra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DE92853-CFF4-1BE8-FF6C-20BFA9DC28C4}"/>
              </a:ext>
            </a:extLst>
          </p:cNvPr>
          <p:cNvGrpSpPr/>
          <p:nvPr/>
        </p:nvGrpSpPr>
        <p:grpSpPr>
          <a:xfrm rot="15300000" flipH="1">
            <a:off x="8967144" y="3631557"/>
            <a:ext cx="6452886" cy="6452886"/>
            <a:chOff x="9989883" y="4654296"/>
            <a:chExt cx="4407408" cy="4407408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ADA7B9C6-17A6-1B56-1301-90B7591A5B74}"/>
                </a:ext>
              </a:extLst>
            </p:cNvPr>
            <p:cNvSpPr/>
            <p:nvPr/>
          </p:nvSpPr>
          <p:spPr>
            <a:xfrm>
              <a:off x="9989883" y="4654296"/>
              <a:ext cx="4407408" cy="440740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Arc 17">
              <a:extLst>
                <a:ext uri="{FF2B5EF4-FFF2-40B4-BE49-F238E27FC236}">
                  <a16:creationId xmlns:a16="http://schemas.microsoft.com/office/drawing/2014/main" id="{4621CB34-AE4C-DC20-8C29-2C7A801FEA94}"/>
                </a:ext>
              </a:extLst>
            </p:cNvPr>
            <p:cNvSpPr/>
            <p:nvPr/>
          </p:nvSpPr>
          <p:spPr>
            <a:xfrm>
              <a:off x="9991545" y="4654296"/>
              <a:ext cx="4405746" cy="4405746"/>
            </a:xfrm>
            <a:prstGeom prst="arc">
              <a:avLst>
                <a:gd name="adj1" fmla="val 96625"/>
                <a:gd name="adj2" fmla="val 4048638"/>
              </a:avLst>
            </a:prstGeom>
            <a:ln w="44450">
              <a:gradFill flip="none" rotWithShape="1">
                <a:gsLst>
                  <a:gs pos="22000">
                    <a:schemeClr val="bg2"/>
                  </a:gs>
                  <a:gs pos="99000">
                    <a:schemeClr val="bg1"/>
                  </a:gs>
                </a:gsLst>
                <a:lin ang="0" scaled="1"/>
                <a:tileRect/>
              </a:gra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9" name="Graphic 29">
            <a:extLst>
              <a:ext uri="{FF2B5EF4-FFF2-40B4-BE49-F238E27FC236}">
                <a16:creationId xmlns:a16="http://schemas.microsoft.com/office/drawing/2014/main" id="{EB239211-49B9-255F-184D-7F6007B96CE2}"/>
              </a:ext>
            </a:extLst>
          </p:cNvPr>
          <p:cNvGrpSpPr/>
          <p:nvPr/>
        </p:nvGrpSpPr>
        <p:grpSpPr>
          <a:xfrm>
            <a:off x="11462691" y="3482286"/>
            <a:ext cx="1461792" cy="2741345"/>
            <a:chOff x="1502100" y="653619"/>
            <a:chExt cx="2035484" cy="3817207"/>
          </a:xfrm>
          <a:solidFill>
            <a:schemeClr val="bg1"/>
          </a:solidFill>
        </p:grpSpPr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2688B303-FA61-C01C-1080-09D3108DFE9E}"/>
                </a:ext>
              </a:extLst>
            </p:cNvPr>
            <p:cNvSpPr/>
            <p:nvPr/>
          </p:nvSpPr>
          <p:spPr>
            <a:xfrm>
              <a:off x="1502100" y="653619"/>
              <a:ext cx="2035484" cy="3817207"/>
            </a:xfrm>
            <a:custGeom>
              <a:avLst/>
              <a:gdLst>
                <a:gd name="connsiteX0" fmla="*/ 1775452 w 2035484"/>
                <a:gd name="connsiteY0" fmla="*/ 2695942 h 3817207"/>
                <a:gd name="connsiteX1" fmla="*/ 1556377 w 2035484"/>
                <a:gd name="connsiteY1" fmla="*/ 2695942 h 3817207"/>
                <a:gd name="connsiteX2" fmla="*/ 1516372 w 2035484"/>
                <a:gd name="connsiteY2" fmla="*/ 2664509 h 3817207"/>
                <a:gd name="connsiteX3" fmla="*/ 1423027 w 2035484"/>
                <a:gd name="connsiteY3" fmla="*/ 2477819 h 3817207"/>
                <a:gd name="connsiteX4" fmla="*/ 1031549 w 2035484"/>
                <a:gd name="connsiteY4" fmla="*/ 2283509 h 3817207"/>
                <a:gd name="connsiteX5" fmla="*/ 508627 w 2035484"/>
                <a:gd name="connsiteY5" fmla="*/ 2785477 h 3817207"/>
                <a:gd name="connsiteX6" fmla="*/ 1010594 w 2035484"/>
                <a:gd name="connsiteY6" fmla="*/ 3308399 h 3817207"/>
                <a:gd name="connsiteX7" fmla="*/ 1515419 w 2035484"/>
                <a:gd name="connsiteY7" fmla="*/ 2931209 h 3817207"/>
                <a:gd name="connsiteX8" fmla="*/ 1518277 w 2035484"/>
                <a:gd name="connsiteY8" fmla="*/ 2917874 h 3817207"/>
                <a:gd name="connsiteX9" fmla="*/ 1546852 w 2035484"/>
                <a:gd name="connsiteY9" fmla="*/ 2895967 h 3817207"/>
                <a:gd name="connsiteX10" fmla="*/ 1985955 w 2035484"/>
                <a:gd name="connsiteY10" fmla="*/ 2895967 h 3817207"/>
                <a:gd name="connsiteX11" fmla="*/ 2022149 w 2035484"/>
                <a:gd name="connsiteY11" fmla="*/ 2895967 h 3817207"/>
                <a:gd name="connsiteX12" fmla="*/ 2035484 w 2035484"/>
                <a:gd name="connsiteY12" fmla="*/ 2909302 h 3817207"/>
                <a:gd name="connsiteX13" fmla="*/ 2035484 w 2035484"/>
                <a:gd name="connsiteY13" fmla="*/ 2912159 h 3817207"/>
                <a:gd name="connsiteX14" fmla="*/ 2033580 w 2035484"/>
                <a:gd name="connsiteY14" fmla="*/ 2935019 h 3817207"/>
                <a:gd name="connsiteX15" fmla="*/ 1294440 w 2035484"/>
                <a:gd name="connsiteY15" fmla="*/ 3779887 h 3817207"/>
                <a:gd name="connsiteX16" fmla="*/ 37139 w 2035484"/>
                <a:gd name="connsiteY16" fmla="*/ 3068369 h 3817207"/>
                <a:gd name="connsiteX17" fmla="*/ 65714 w 2035484"/>
                <a:gd name="connsiteY17" fmla="*/ 2434004 h 3817207"/>
                <a:gd name="connsiteX18" fmla="*/ 315269 w 2035484"/>
                <a:gd name="connsiteY18" fmla="*/ 1756777 h 3817207"/>
                <a:gd name="connsiteX19" fmla="*/ 944872 w 2035484"/>
                <a:gd name="connsiteY19" fmla="*/ 42277 h 3817207"/>
                <a:gd name="connsiteX20" fmla="*/ 1009642 w 2035484"/>
                <a:gd name="connsiteY20" fmla="*/ 20369 h 3817207"/>
                <a:gd name="connsiteX21" fmla="*/ 1340159 w 2035484"/>
                <a:gd name="connsiteY21" fmla="*/ 531862 h 3817207"/>
                <a:gd name="connsiteX22" fmla="*/ 1266817 w 2035484"/>
                <a:gd name="connsiteY22" fmla="*/ 1033829 h 3817207"/>
                <a:gd name="connsiteX23" fmla="*/ 929632 w 2035484"/>
                <a:gd name="connsiteY23" fmla="*/ 1708199 h 3817207"/>
                <a:gd name="connsiteX24" fmla="*/ 906772 w 2035484"/>
                <a:gd name="connsiteY24" fmla="*/ 1752967 h 3817207"/>
                <a:gd name="connsiteX25" fmla="*/ 923917 w 2035484"/>
                <a:gd name="connsiteY25" fmla="*/ 1779637 h 3817207"/>
                <a:gd name="connsiteX26" fmla="*/ 1038217 w 2035484"/>
                <a:gd name="connsiteY26" fmla="*/ 1776779 h 3817207"/>
                <a:gd name="connsiteX27" fmla="*/ 1658294 w 2035484"/>
                <a:gd name="connsiteY27" fmla="*/ 1999664 h 3817207"/>
                <a:gd name="connsiteX28" fmla="*/ 2023102 w 2035484"/>
                <a:gd name="connsiteY28" fmla="*/ 2599739 h 3817207"/>
                <a:gd name="connsiteX29" fmla="*/ 2034532 w 2035484"/>
                <a:gd name="connsiteY29" fmla="*/ 2672129 h 3817207"/>
                <a:gd name="connsiteX30" fmla="*/ 2013577 w 2035484"/>
                <a:gd name="connsiteY30" fmla="*/ 2697847 h 3817207"/>
                <a:gd name="connsiteX31" fmla="*/ 1774499 w 2035484"/>
                <a:gd name="connsiteY31" fmla="*/ 2697847 h 3817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035484" h="3817207">
                  <a:moveTo>
                    <a:pt x="1775452" y="2695942"/>
                  </a:moveTo>
                  <a:lnTo>
                    <a:pt x="1556377" y="2695942"/>
                  </a:lnTo>
                  <a:cubicBezTo>
                    <a:pt x="1525897" y="2695942"/>
                    <a:pt x="1524944" y="2695942"/>
                    <a:pt x="1516372" y="2664509"/>
                  </a:cubicBezTo>
                  <a:cubicBezTo>
                    <a:pt x="1499227" y="2595929"/>
                    <a:pt x="1466842" y="2533064"/>
                    <a:pt x="1423027" y="2477819"/>
                  </a:cubicBezTo>
                  <a:cubicBezTo>
                    <a:pt x="1322062" y="2353994"/>
                    <a:pt x="1191569" y="2287319"/>
                    <a:pt x="1031549" y="2283509"/>
                  </a:cubicBezTo>
                  <a:cubicBezTo>
                    <a:pt x="748657" y="2277794"/>
                    <a:pt x="514342" y="2502584"/>
                    <a:pt x="508627" y="2785477"/>
                  </a:cubicBezTo>
                  <a:cubicBezTo>
                    <a:pt x="502912" y="3068369"/>
                    <a:pt x="727702" y="3302684"/>
                    <a:pt x="1010594" y="3308399"/>
                  </a:cubicBezTo>
                  <a:cubicBezTo>
                    <a:pt x="1244909" y="3313162"/>
                    <a:pt x="1453507" y="3157904"/>
                    <a:pt x="1515419" y="2931209"/>
                  </a:cubicBezTo>
                  <a:cubicBezTo>
                    <a:pt x="1516372" y="2926447"/>
                    <a:pt x="1517324" y="2922637"/>
                    <a:pt x="1518277" y="2917874"/>
                  </a:cubicBezTo>
                  <a:cubicBezTo>
                    <a:pt x="1523992" y="2897872"/>
                    <a:pt x="1525897" y="2895967"/>
                    <a:pt x="1546852" y="2895967"/>
                  </a:cubicBezTo>
                  <a:lnTo>
                    <a:pt x="1985955" y="2895967"/>
                  </a:lnTo>
                  <a:cubicBezTo>
                    <a:pt x="1998337" y="2895967"/>
                    <a:pt x="2009767" y="2895967"/>
                    <a:pt x="2022149" y="2895967"/>
                  </a:cubicBezTo>
                  <a:cubicBezTo>
                    <a:pt x="2029769" y="2895967"/>
                    <a:pt x="2035484" y="2901682"/>
                    <a:pt x="2035484" y="2909302"/>
                  </a:cubicBezTo>
                  <a:cubicBezTo>
                    <a:pt x="2035484" y="2909302"/>
                    <a:pt x="2035484" y="2911207"/>
                    <a:pt x="2035484" y="2912159"/>
                  </a:cubicBezTo>
                  <a:cubicBezTo>
                    <a:pt x="2035484" y="2919779"/>
                    <a:pt x="2035484" y="2927399"/>
                    <a:pt x="2033580" y="2935019"/>
                  </a:cubicBezTo>
                  <a:cubicBezTo>
                    <a:pt x="1976430" y="3339832"/>
                    <a:pt x="1688774" y="3672254"/>
                    <a:pt x="1294440" y="3779887"/>
                  </a:cubicBezTo>
                  <a:cubicBezTo>
                    <a:pt x="750562" y="3930382"/>
                    <a:pt x="187634" y="3612247"/>
                    <a:pt x="37139" y="3068369"/>
                  </a:cubicBezTo>
                  <a:cubicBezTo>
                    <a:pt x="-20963" y="2858819"/>
                    <a:pt x="-10486" y="2636887"/>
                    <a:pt x="65714" y="2434004"/>
                  </a:cubicBezTo>
                  <a:cubicBezTo>
                    <a:pt x="148582" y="2208262"/>
                    <a:pt x="232402" y="1982519"/>
                    <a:pt x="315269" y="1756777"/>
                  </a:cubicBezTo>
                  <a:cubicBezTo>
                    <a:pt x="524819" y="1185277"/>
                    <a:pt x="735322" y="613777"/>
                    <a:pt x="944872" y="42277"/>
                  </a:cubicBezTo>
                  <a:cubicBezTo>
                    <a:pt x="963922" y="-9158"/>
                    <a:pt x="965827" y="-10111"/>
                    <a:pt x="1009642" y="20369"/>
                  </a:cubicBezTo>
                  <a:cubicBezTo>
                    <a:pt x="1189665" y="146099"/>
                    <a:pt x="1301107" y="316597"/>
                    <a:pt x="1340159" y="531862"/>
                  </a:cubicBezTo>
                  <a:cubicBezTo>
                    <a:pt x="1372544" y="702359"/>
                    <a:pt x="1346827" y="879524"/>
                    <a:pt x="1266817" y="1033829"/>
                  </a:cubicBezTo>
                  <a:cubicBezTo>
                    <a:pt x="1154422" y="1258619"/>
                    <a:pt x="1041074" y="1483409"/>
                    <a:pt x="929632" y="1708199"/>
                  </a:cubicBezTo>
                  <a:cubicBezTo>
                    <a:pt x="922012" y="1723439"/>
                    <a:pt x="914392" y="1737727"/>
                    <a:pt x="906772" y="1752967"/>
                  </a:cubicBezTo>
                  <a:cubicBezTo>
                    <a:pt x="897247" y="1774874"/>
                    <a:pt x="901057" y="1780589"/>
                    <a:pt x="923917" y="1779637"/>
                  </a:cubicBezTo>
                  <a:cubicBezTo>
                    <a:pt x="962017" y="1778684"/>
                    <a:pt x="1000117" y="1775827"/>
                    <a:pt x="1038217" y="1776779"/>
                  </a:cubicBezTo>
                  <a:cubicBezTo>
                    <a:pt x="1263959" y="1778684"/>
                    <a:pt x="1483034" y="1856789"/>
                    <a:pt x="1658294" y="1999664"/>
                  </a:cubicBezTo>
                  <a:cubicBezTo>
                    <a:pt x="1852605" y="2154922"/>
                    <a:pt x="1972619" y="2356852"/>
                    <a:pt x="2023102" y="2599739"/>
                  </a:cubicBezTo>
                  <a:cubicBezTo>
                    <a:pt x="2027865" y="2623552"/>
                    <a:pt x="2031674" y="2647364"/>
                    <a:pt x="2034532" y="2672129"/>
                  </a:cubicBezTo>
                  <a:cubicBezTo>
                    <a:pt x="2037390" y="2692132"/>
                    <a:pt x="2032627" y="2696894"/>
                    <a:pt x="2013577" y="2697847"/>
                  </a:cubicBezTo>
                  <a:lnTo>
                    <a:pt x="1774499" y="269784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5EE72DFC-1D9A-258F-52FD-C16096F5541A}"/>
                </a:ext>
              </a:extLst>
            </p:cNvPr>
            <p:cNvSpPr/>
            <p:nvPr/>
          </p:nvSpPr>
          <p:spPr>
            <a:xfrm>
              <a:off x="1503045" y="1064002"/>
              <a:ext cx="291914" cy="1722631"/>
            </a:xfrm>
            <a:custGeom>
              <a:avLst/>
              <a:gdLst>
                <a:gd name="connsiteX0" fmla="*/ 952 w 291914"/>
                <a:gd name="connsiteY0" fmla="*/ 1722632 h 1722631"/>
                <a:gd name="connsiteX1" fmla="*/ 952 w 291914"/>
                <a:gd name="connsiteY1" fmla="*/ 1374969 h 1722631"/>
                <a:gd name="connsiteX2" fmla="*/ 952 w 291914"/>
                <a:gd name="connsiteY2" fmla="*/ 1342584 h 1722631"/>
                <a:gd name="connsiteX3" fmla="*/ 3810 w 291914"/>
                <a:gd name="connsiteY3" fmla="*/ 465331 h 1722631"/>
                <a:gd name="connsiteX4" fmla="*/ 3810 w 291914"/>
                <a:gd name="connsiteY4" fmla="*/ 40516 h 1722631"/>
                <a:gd name="connsiteX5" fmla="*/ 48577 w 291914"/>
                <a:gd name="connsiteY5" fmla="*/ 4321 h 1722631"/>
                <a:gd name="connsiteX6" fmla="*/ 271463 w 291914"/>
                <a:gd name="connsiteY6" fmla="*/ 96714 h 1722631"/>
                <a:gd name="connsiteX7" fmla="*/ 290513 w 291914"/>
                <a:gd name="connsiteY7" fmla="*/ 136719 h 1722631"/>
                <a:gd name="connsiteX8" fmla="*/ 211455 w 291914"/>
                <a:gd name="connsiteY8" fmla="*/ 576774 h 1722631"/>
                <a:gd name="connsiteX9" fmla="*/ 122872 w 291914"/>
                <a:gd name="connsiteY9" fmla="*/ 1071122 h 1722631"/>
                <a:gd name="connsiteX10" fmla="*/ 16192 w 291914"/>
                <a:gd name="connsiteY10" fmla="*/ 1664529 h 1722631"/>
                <a:gd name="connsiteX11" fmla="*/ 0 w 291914"/>
                <a:gd name="connsiteY11" fmla="*/ 1720726 h 1722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1914" h="1722631">
                  <a:moveTo>
                    <a:pt x="952" y="1722632"/>
                  </a:moveTo>
                  <a:lnTo>
                    <a:pt x="952" y="1374969"/>
                  </a:lnTo>
                  <a:cubicBezTo>
                    <a:pt x="952" y="1364491"/>
                    <a:pt x="952" y="1354014"/>
                    <a:pt x="952" y="1342584"/>
                  </a:cubicBezTo>
                  <a:cubicBezTo>
                    <a:pt x="1905" y="1050166"/>
                    <a:pt x="2858" y="757749"/>
                    <a:pt x="3810" y="465331"/>
                  </a:cubicBezTo>
                  <a:cubicBezTo>
                    <a:pt x="3810" y="323409"/>
                    <a:pt x="3810" y="182439"/>
                    <a:pt x="3810" y="40516"/>
                  </a:cubicBezTo>
                  <a:cubicBezTo>
                    <a:pt x="3810" y="-1394"/>
                    <a:pt x="8572" y="-5204"/>
                    <a:pt x="48577" y="4321"/>
                  </a:cubicBezTo>
                  <a:cubicBezTo>
                    <a:pt x="126683" y="24324"/>
                    <a:pt x="201930" y="54804"/>
                    <a:pt x="271463" y="96714"/>
                  </a:cubicBezTo>
                  <a:cubicBezTo>
                    <a:pt x="287655" y="103381"/>
                    <a:pt x="295275" y="120527"/>
                    <a:pt x="290513" y="136719"/>
                  </a:cubicBezTo>
                  <a:cubicBezTo>
                    <a:pt x="262890" y="283404"/>
                    <a:pt x="238125" y="430089"/>
                    <a:pt x="211455" y="576774"/>
                  </a:cubicBezTo>
                  <a:cubicBezTo>
                    <a:pt x="181927" y="741557"/>
                    <a:pt x="152400" y="906339"/>
                    <a:pt x="122872" y="1071122"/>
                  </a:cubicBezTo>
                  <a:cubicBezTo>
                    <a:pt x="87630" y="1269241"/>
                    <a:pt x="51435" y="1466409"/>
                    <a:pt x="16192" y="1664529"/>
                  </a:cubicBezTo>
                  <a:cubicBezTo>
                    <a:pt x="12383" y="1681674"/>
                    <a:pt x="10477" y="1692151"/>
                    <a:pt x="0" y="17207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3F14E0A2-EF2F-2146-23A4-49EA7761D1A8}"/>
                </a:ext>
              </a:extLst>
            </p:cNvPr>
            <p:cNvSpPr/>
            <p:nvPr/>
          </p:nvSpPr>
          <p:spPr>
            <a:xfrm>
              <a:off x="1683067" y="817105"/>
              <a:ext cx="541936" cy="1609483"/>
            </a:xfrm>
            <a:custGeom>
              <a:avLst/>
              <a:gdLst>
                <a:gd name="connsiteX0" fmla="*/ 953 w 541936"/>
                <a:gd name="connsiteY0" fmla="*/ 1608531 h 1609483"/>
                <a:gd name="connsiteX1" fmla="*/ 89535 w 541936"/>
                <a:gd name="connsiteY1" fmla="*/ 1138949 h 1609483"/>
                <a:gd name="connsiteX2" fmla="*/ 224790 w 541936"/>
                <a:gd name="connsiteY2" fmla="*/ 384568 h 1609483"/>
                <a:gd name="connsiteX3" fmla="*/ 285750 w 541936"/>
                <a:gd name="connsiteY3" fmla="*/ 43573 h 1609483"/>
                <a:gd name="connsiteX4" fmla="*/ 342900 w 541936"/>
                <a:gd name="connsiteY4" fmla="*/ 13093 h 1609483"/>
                <a:gd name="connsiteX5" fmla="*/ 521017 w 541936"/>
                <a:gd name="connsiteY5" fmla="*/ 123583 h 1609483"/>
                <a:gd name="connsiteX6" fmla="*/ 535305 w 541936"/>
                <a:gd name="connsiteY6" fmla="*/ 173113 h 1609483"/>
                <a:gd name="connsiteX7" fmla="*/ 456248 w 541936"/>
                <a:gd name="connsiteY7" fmla="*/ 387426 h 1609483"/>
                <a:gd name="connsiteX8" fmla="*/ 200025 w 541936"/>
                <a:gd name="connsiteY8" fmla="*/ 1085608 h 1609483"/>
                <a:gd name="connsiteX9" fmla="*/ 35242 w 541936"/>
                <a:gd name="connsiteY9" fmla="*/ 1530426 h 1609483"/>
                <a:gd name="connsiteX10" fmla="*/ 0 w 541936"/>
                <a:gd name="connsiteY10" fmla="*/ 1609483 h 1609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1936" h="1609483">
                  <a:moveTo>
                    <a:pt x="953" y="1608531"/>
                  </a:moveTo>
                  <a:cubicBezTo>
                    <a:pt x="24765" y="1478038"/>
                    <a:pt x="66675" y="1268488"/>
                    <a:pt x="89535" y="1138949"/>
                  </a:cubicBezTo>
                  <a:cubicBezTo>
                    <a:pt x="134303" y="887488"/>
                    <a:pt x="180023" y="636028"/>
                    <a:pt x="224790" y="384568"/>
                  </a:cubicBezTo>
                  <a:cubicBezTo>
                    <a:pt x="244792" y="270268"/>
                    <a:pt x="264795" y="156921"/>
                    <a:pt x="285750" y="43573"/>
                  </a:cubicBezTo>
                  <a:cubicBezTo>
                    <a:pt x="294323" y="-1194"/>
                    <a:pt x="289560" y="-11672"/>
                    <a:pt x="342900" y="13093"/>
                  </a:cubicBezTo>
                  <a:cubicBezTo>
                    <a:pt x="406717" y="41668"/>
                    <a:pt x="466725" y="78816"/>
                    <a:pt x="521017" y="123583"/>
                  </a:cubicBezTo>
                  <a:cubicBezTo>
                    <a:pt x="545783" y="143586"/>
                    <a:pt x="545783" y="144538"/>
                    <a:pt x="535305" y="173113"/>
                  </a:cubicBezTo>
                  <a:cubicBezTo>
                    <a:pt x="509588" y="244551"/>
                    <a:pt x="482917" y="315988"/>
                    <a:pt x="456248" y="387426"/>
                  </a:cubicBezTo>
                  <a:cubicBezTo>
                    <a:pt x="370523" y="619836"/>
                    <a:pt x="284798" y="853199"/>
                    <a:pt x="200025" y="1085608"/>
                  </a:cubicBezTo>
                  <a:cubicBezTo>
                    <a:pt x="145733" y="1234199"/>
                    <a:pt x="90488" y="1382788"/>
                    <a:pt x="35242" y="1530426"/>
                  </a:cubicBezTo>
                  <a:lnTo>
                    <a:pt x="0" y="16094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823613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1" presetClass="mediacall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cmd type="call" cmd="playFrom(0.0)">
                                          <p:cBhvr>
                                            <p:cTn id="6" dur="11000" fill="hold"/>
                                            <p:tgtEl>
                                              <p:spTgt spid="4"/>
                                            </p:tgtEl>
                                          </p:cBhvr>
                                        </p:cmd>
                                      </p:childTnLst>
                                    </p:cTn>
                                  </p:par>
                                  <p:par>
                                    <p:cTn id="7" presetID="8" presetClass="emph" presetSubtype="0" repeatCount="indefinite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21600000">
                                          <p:cBhvr>
                                            <p:cTn id="8" dur="2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9" presetID="8" presetClass="emph" presetSubtype="0" repeatCount="indefinite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-21600000">
                                          <p:cBhvr>
                                            <p:cTn id="10" dur="20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11" presetID="8" presetClass="emph" presetSubtype="0" repeatCount="indefinite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21600000">
                                          <p:cBhvr>
                                            <p:cTn id="12" dur="2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13" presetID="8" presetClass="emph" presetSubtype="0" repeatCount="indefinite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-21600000">
                                          <p:cBhvr>
                                            <p:cTn id="14" dur="20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15" presetID="2" presetClass="entr" presetSubtype="8" fill="hold" grpId="0" nodeType="withEffect" p14:presetBounceEnd="8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80000">
                                          <p:cBhvr additive="base">
                                            <p:cTn id="17" dur="3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80000">
                                          <p:cBhvr additive="base">
                                            <p:cTn id="18" dur="3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9" presetID="2" presetClass="entr" presetSubtype="2" fill="hold" grpId="0" nodeType="withEffect" p14:presetBounceEnd="8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80000">
                                          <p:cBhvr additive="base">
                                            <p:cTn id="21" dur="3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80000">
                                          <p:cBhvr additive="base">
                                            <p:cTn id="22" dur="3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3" presetID="16" presetClass="entr" presetSubtype="37" fill="hold" grpId="0" nodeType="withEffect">
                                      <p:stCondLst>
                                        <p:cond delay="700"/>
                                      </p:stCondLst>
                                      <p:childTnLst>
                                        <p:set>
                                          <p:cBhvr>
                                            <p:cTn id="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barn(outVertical)">
                                          <p:cBhvr>
                                            <p:cTn id="25" dur="500"/>
                                            <p:tgtEl>
                                              <p:spTgt spid="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  <p:video>
                  <p:cMediaNode vol="80000">
                    <p:cTn id="26" repeatCount="indefinite" fill="hold" display="0">
                      <p:stCondLst>
                        <p:cond delay="indefinite"/>
                      </p:stCondLst>
                    </p:cTn>
                    <p:tgtEl>
                      <p:spTgt spid="4"/>
                    </p:tgtEl>
                  </p:cMediaNode>
                </p:video>
                <p:seq concurrent="1" nextAc="seek">
                  <p:cTn id="27" restart="whenNotActive" fill="hold" evtFilter="cancelBubble" nodeType="interactiveSeq">
                    <p:stCondLst>
                      <p:cond evt="onClick" delay="0">
                        <p:tgtEl>
                          <p:spTgt spid="4"/>
                        </p:tgtEl>
                      </p:cond>
                    </p:stCondLst>
                    <p:endSync evt="end" delay="0">
                      <p:rtn val="all"/>
                    </p:endSync>
                    <p:childTnLst>
                      <p:par>
                        <p:cTn id="28" fill="hold">
                          <p:stCondLst>
                            <p:cond delay="0"/>
                          </p:stCondLst>
                          <p:childTnLst>
                            <p:par>
                              <p:cTn id="29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0" presetID="2" presetClass="mediacall" presetSubtype="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cmd type="call" cmd="togglePause">
                                          <p:cBhvr>
                                            <p:cTn id="31" dur="1" fill="hold"/>
                                            <p:tgtEl>
                                              <p:spTgt spid="4"/>
                                            </p:tgtEl>
                                          </p:cBhvr>
                                        </p:cmd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nextCondLst>
                    <p:cond evt="onClick" delay="0">
                      <p:tgtEl>
                        <p:spTgt spid="4"/>
                      </p:tgtEl>
                    </p:cond>
                  </p:nextCondLst>
                </p:seq>
              </p:childTnLst>
            </p:cTn>
          </p:par>
        </p:tnLst>
        <p:bldLst>
          <p:bldP spid="2" grpId="0"/>
          <p:bldP spid="5" grpId="0"/>
          <p:bldP spid="7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1" presetClass="mediacall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cmd type="call" cmd="playFrom(0.0)">
                                          <p:cBhvr>
                                            <p:cTn id="6" dur="11000" fill="hold"/>
                                            <p:tgtEl>
                                              <p:spTgt spid="4"/>
                                            </p:tgtEl>
                                          </p:cBhvr>
                                        </p:cmd>
                                      </p:childTnLst>
                                    </p:cTn>
                                  </p:par>
                                  <p:par>
                                    <p:cTn id="7" presetID="8" presetClass="emph" presetSubtype="0" repeatCount="indefinite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21600000">
                                          <p:cBhvr>
                                            <p:cTn id="8" dur="2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9" presetID="8" presetClass="emph" presetSubtype="0" repeatCount="indefinite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-21600000">
                                          <p:cBhvr>
                                            <p:cTn id="10" dur="20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11" presetID="8" presetClass="emph" presetSubtype="0" repeatCount="indefinite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21600000">
                                          <p:cBhvr>
                                            <p:cTn id="12" dur="20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13" presetID="8" presetClass="emph" presetSubtype="0" repeatCount="indefinite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Rot by="-21600000">
                                          <p:cBhvr>
                                            <p:cTn id="14" dur="20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15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7" dur="3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8" dur="3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9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1" dur="3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2" dur="3000" fill="hold"/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3" presetID="16" presetClass="entr" presetSubtype="37" fill="hold" grpId="0" nodeType="withEffect">
                                      <p:stCondLst>
                                        <p:cond delay="700"/>
                                      </p:stCondLst>
                                      <p:childTnLst>
                                        <p:set>
                                          <p:cBhvr>
                                            <p:cTn id="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barn(outVertical)">
                                          <p:cBhvr>
                                            <p:cTn id="25" dur="500"/>
                                            <p:tgtEl>
                                              <p:spTgt spid="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  <p:video>
                  <p:cMediaNode vol="80000">
                    <p:cTn id="26" repeatCount="indefinite" fill="hold" display="0">
                      <p:stCondLst>
                        <p:cond delay="indefinite"/>
                      </p:stCondLst>
                    </p:cTn>
                    <p:tgtEl>
                      <p:spTgt spid="4"/>
                    </p:tgtEl>
                  </p:cMediaNode>
                </p:video>
                <p:seq concurrent="1" nextAc="seek">
                  <p:cTn id="27" restart="whenNotActive" fill="hold" evtFilter="cancelBubble" nodeType="interactiveSeq">
                    <p:stCondLst>
                      <p:cond evt="onClick" delay="0">
                        <p:tgtEl>
                          <p:spTgt spid="4"/>
                        </p:tgtEl>
                      </p:cond>
                    </p:stCondLst>
                    <p:endSync evt="end" delay="0">
                      <p:rtn val="all"/>
                    </p:endSync>
                    <p:childTnLst>
                      <p:par>
                        <p:cTn id="28" fill="hold">
                          <p:stCondLst>
                            <p:cond delay="0"/>
                          </p:stCondLst>
                          <p:childTnLst>
                            <p:par>
                              <p:cTn id="29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0" presetID="2" presetClass="mediacall" presetSubtype="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cmd type="call" cmd="togglePause">
                                          <p:cBhvr>
                                            <p:cTn id="31" dur="1" fill="hold"/>
                                            <p:tgtEl>
                                              <p:spTgt spid="4"/>
                                            </p:tgtEl>
                                          </p:cBhvr>
                                        </p:cmd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nextCondLst>
                    <p:cond evt="onClick" delay="0">
                      <p:tgtEl>
                        <p:spTgt spid="4"/>
                      </p:tgtEl>
                    </p:cond>
                  </p:nextCondLst>
                </p:seq>
              </p:childTnLst>
            </p:cTn>
          </p:par>
        </p:tnLst>
        <p:bldLst>
          <p:bldP spid="2" grpId="0"/>
          <p:bldP spid="5" grpId="0"/>
          <p:bldP spid="7" grpId="0"/>
        </p:bldLst>
      </p:timing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Stock-1097736574">
            <a:hlinkClick r:id="" action="ppaction://media"/>
            <a:extLst>
              <a:ext uri="{FF2B5EF4-FFF2-40B4-BE49-F238E27FC236}">
                <a16:creationId xmlns:a16="http://schemas.microsoft.com/office/drawing/2014/main" id="{E4CE41A1-8BBC-4DF7-1C9A-E072C3ECF1C3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-8038329" y="3172"/>
            <a:ext cx="24378356" cy="13712828"/>
          </a:xfrm>
          <a:prstGeom prst="rect">
            <a:avLst/>
          </a:prstGeom>
        </p:spPr>
      </p:pic>
      <p:sp>
        <p:nvSpPr>
          <p:cNvPr id="27" name="Freeform 26">
            <a:extLst>
              <a:ext uri="{FF2B5EF4-FFF2-40B4-BE49-F238E27FC236}">
                <a16:creationId xmlns:a16="http://schemas.microsoft.com/office/drawing/2014/main" id="{0E551CD4-5CA7-055E-A7E2-562E3F2FE73D}"/>
              </a:ext>
            </a:extLst>
          </p:cNvPr>
          <p:cNvSpPr/>
          <p:nvPr/>
        </p:nvSpPr>
        <p:spPr>
          <a:xfrm>
            <a:off x="-846668" y="-152400"/>
            <a:ext cx="3257477" cy="13986933"/>
          </a:xfrm>
          <a:custGeom>
            <a:avLst/>
            <a:gdLst>
              <a:gd name="connsiteX0" fmla="*/ 1 w 3257477"/>
              <a:gd name="connsiteY0" fmla="*/ 0 h 13986933"/>
              <a:gd name="connsiteX1" fmla="*/ 3257477 w 3257477"/>
              <a:gd name="connsiteY1" fmla="*/ 0 h 13986933"/>
              <a:gd name="connsiteX2" fmla="*/ 2179494 w 3257477"/>
              <a:gd name="connsiteY2" fmla="*/ 2935503 h 13986933"/>
              <a:gd name="connsiteX3" fmla="*/ 454290 w 3257477"/>
              <a:gd name="connsiteY3" fmla="*/ 7617257 h 13986933"/>
              <a:gd name="connsiteX4" fmla="*/ 256747 w 3257477"/>
              <a:gd name="connsiteY4" fmla="*/ 12002701 h 13986933"/>
              <a:gd name="connsiteX5" fmla="*/ 1123017 w 3257477"/>
              <a:gd name="connsiteY5" fmla="*/ 13941981 h 13986933"/>
              <a:gd name="connsiteX6" fmla="*/ 1153540 w 3257477"/>
              <a:gd name="connsiteY6" fmla="*/ 13986933 h 13986933"/>
              <a:gd name="connsiteX7" fmla="*/ 1 w 3257477"/>
              <a:gd name="connsiteY7" fmla="*/ 13986933 h 13986933"/>
              <a:gd name="connsiteX8" fmla="*/ 1 w 3257477"/>
              <a:gd name="connsiteY8" fmla="*/ 0 h 13986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57477" h="13986933">
                <a:moveTo>
                  <a:pt x="1" y="0"/>
                </a:moveTo>
                <a:lnTo>
                  <a:pt x="3257477" y="0"/>
                </a:lnTo>
                <a:lnTo>
                  <a:pt x="2179494" y="2935503"/>
                </a:lnTo>
                <a:cubicBezTo>
                  <a:pt x="1606625" y="4496085"/>
                  <a:pt x="1027167" y="6056675"/>
                  <a:pt x="454290" y="7617257"/>
                </a:cubicBezTo>
                <a:cubicBezTo>
                  <a:pt x="-72490" y="9019813"/>
                  <a:pt x="-144919" y="10554055"/>
                  <a:pt x="256747" y="12002701"/>
                </a:cubicBezTo>
                <a:cubicBezTo>
                  <a:pt x="451820" y="12707682"/>
                  <a:pt x="747131" y="13357798"/>
                  <a:pt x="1123017" y="13941981"/>
                </a:cubicBezTo>
                <a:lnTo>
                  <a:pt x="1153540" y="13986933"/>
                </a:lnTo>
                <a:lnTo>
                  <a:pt x="1" y="13986933"/>
                </a:lnTo>
                <a:lnTo>
                  <a:pt x="1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6F7001C3-7E42-84AC-BA95-1DC718CF0ED3}"/>
              </a:ext>
            </a:extLst>
          </p:cNvPr>
          <p:cNvSpPr/>
          <p:nvPr/>
        </p:nvSpPr>
        <p:spPr>
          <a:xfrm>
            <a:off x="2668796" y="-152400"/>
            <a:ext cx="21190270" cy="13986933"/>
          </a:xfrm>
          <a:custGeom>
            <a:avLst/>
            <a:gdLst>
              <a:gd name="connsiteX0" fmla="*/ 4208849 w 21190270"/>
              <a:gd name="connsiteY0" fmla="*/ 0 h 13986933"/>
              <a:gd name="connsiteX1" fmla="*/ 21190270 w 21190270"/>
              <a:gd name="connsiteY1" fmla="*/ 0 h 13986933"/>
              <a:gd name="connsiteX2" fmla="*/ 21190270 w 21190270"/>
              <a:gd name="connsiteY2" fmla="*/ 13986933 h 13986933"/>
              <a:gd name="connsiteX3" fmla="*/ 9454264 w 21190270"/>
              <a:gd name="connsiteY3" fmla="*/ 13986933 h 13986933"/>
              <a:gd name="connsiteX4" fmla="*/ 9471330 w 21190270"/>
              <a:gd name="connsiteY4" fmla="*/ 13962488 h 13986933"/>
              <a:gd name="connsiteX5" fmla="*/ 10542923 w 21190270"/>
              <a:gd name="connsiteY5" fmla="*/ 11080835 h 13986933"/>
              <a:gd name="connsiteX6" fmla="*/ 10556086 w 21190270"/>
              <a:gd name="connsiteY6" fmla="*/ 10922801 h 13986933"/>
              <a:gd name="connsiteX7" fmla="*/ 10556086 w 21190270"/>
              <a:gd name="connsiteY7" fmla="*/ 10903051 h 13986933"/>
              <a:gd name="connsiteX8" fmla="*/ 10463900 w 21190270"/>
              <a:gd name="connsiteY8" fmla="*/ 10810865 h 13986933"/>
              <a:gd name="connsiteX9" fmla="*/ 10213686 w 21190270"/>
              <a:gd name="connsiteY9" fmla="*/ 10810865 h 13986933"/>
              <a:gd name="connsiteX10" fmla="*/ 7178113 w 21190270"/>
              <a:gd name="connsiteY10" fmla="*/ 10810865 h 13986933"/>
              <a:gd name="connsiteX11" fmla="*/ 6980571 w 21190270"/>
              <a:gd name="connsiteY11" fmla="*/ 10962311 h 13986933"/>
              <a:gd name="connsiteX12" fmla="*/ 6960813 w 21190270"/>
              <a:gd name="connsiteY12" fmla="*/ 11054497 h 13986933"/>
              <a:gd name="connsiteX13" fmla="*/ 3470896 w 21190270"/>
              <a:gd name="connsiteY13" fmla="*/ 13662057 h 13986933"/>
              <a:gd name="connsiteX14" fmla="*/ 737 w 21190270"/>
              <a:gd name="connsiteY14" fmla="*/ 10047033 h 13986933"/>
              <a:gd name="connsiteX15" fmla="*/ 3615761 w 21190270"/>
              <a:gd name="connsiteY15" fmla="*/ 6576866 h 13986933"/>
              <a:gd name="connsiteX16" fmla="*/ 6322096 w 21190270"/>
              <a:gd name="connsiteY16" fmla="*/ 7920155 h 13986933"/>
              <a:gd name="connsiteX17" fmla="*/ 6967401 w 21190270"/>
              <a:gd name="connsiteY17" fmla="*/ 9210767 h 13986933"/>
              <a:gd name="connsiteX18" fmla="*/ 7243961 w 21190270"/>
              <a:gd name="connsiteY18" fmla="*/ 9428067 h 13986933"/>
              <a:gd name="connsiteX19" fmla="*/ 8758453 w 21190270"/>
              <a:gd name="connsiteY19" fmla="*/ 9428067 h 13986933"/>
              <a:gd name="connsiteX20" fmla="*/ 8751865 w 21190270"/>
              <a:gd name="connsiteY20" fmla="*/ 9441237 h 13986933"/>
              <a:gd name="connsiteX21" fmla="*/ 10404640 w 21190270"/>
              <a:gd name="connsiteY21" fmla="*/ 9441237 h 13986933"/>
              <a:gd name="connsiteX22" fmla="*/ 10549505 w 21190270"/>
              <a:gd name="connsiteY22" fmla="*/ 9263445 h 13986933"/>
              <a:gd name="connsiteX23" fmla="*/ 10470488 w 21190270"/>
              <a:gd name="connsiteY23" fmla="*/ 8763003 h 13986933"/>
              <a:gd name="connsiteX24" fmla="*/ 7948525 w 21190270"/>
              <a:gd name="connsiteY24" fmla="*/ 4614611 h 13986933"/>
              <a:gd name="connsiteX25" fmla="*/ 3661857 w 21190270"/>
              <a:gd name="connsiteY25" fmla="*/ 3073779 h 13986933"/>
              <a:gd name="connsiteX26" fmla="*/ 2871688 w 21190270"/>
              <a:gd name="connsiteY26" fmla="*/ 3093537 h 13986933"/>
              <a:gd name="connsiteX27" fmla="*/ 2753162 w 21190270"/>
              <a:gd name="connsiteY27" fmla="*/ 2909164 h 13986933"/>
              <a:gd name="connsiteX28" fmla="*/ 2911196 w 21190270"/>
              <a:gd name="connsiteY28" fmla="*/ 2599677 h 13986933"/>
              <a:gd name="connsiteX29" fmla="*/ 4074226 w 21190270"/>
              <a:gd name="connsiteY29" fmla="*/ 268676 h 13986933"/>
              <a:gd name="connsiteX30" fmla="*/ 4208849 w 21190270"/>
              <a:gd name="connsiteY30" fmla="*/ 0 h 13986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21190270" h="13986933">
                <a:moveTo>
                  <a:pt x="4208849" y="0"/>
                </a:moveTo>
                <a:lnTo>
                  <a:pt x="21190270" y="0"/>
                </a:lnTo>
                <a:lnTo>
                  <a:pt x="21190270" y="13986933"/>
                </a:lnTo>
                <a:lnTo>
                  <a:pt x="9454264" y="13986933"/>
                </a:lnTo>
                <a:lnTo>
                  <a:pt x="9471330" y="13962488"/>
                </a:lnTo>
                <a:cubicBezTo>
                  <a:pt x="10022521" y="13109351"/>
                  <a:pt x="10394766" y="12130281"/>
                  <a:pt x="10542923" y="11080835"/>
                </a:cubicBezTo>
                <a:cubicBezTo>
                  <a:pt x="10556086" y="11028157"/>
                  <a:pt x="10556086" y="10975479"/>
                  <a:pt x="10556086" y="10922801"/>
                </a:cubicBezTo>
                <a:cubicBezTo>
                  <a:pt x="10556086" y="10916221"/>
                  <a:pt x="10556086" y="10903051"/>
                  <a:pt x="10556086" y="10903051"/>
                </a:cubicBezTo>
                <a:cubicBezTo>
                  <a:pt x="10556086" y="10850373"/>
                  <a:pt x="10516578" y="10810865"/>
                  <a:pt x="10463900" y="10810865"/>
                </a:cubicBezTo>
                <a:cubicBezTo>
                  <a:pt x="10378301" y="10810865"/>
                  <a:pt x="10299284" y="10810865"/>
                  <a:pt x="10213686" y="10810865"/>
                </a:cubicBezTo>
                <a:lnTo>
                  <a:pt x="7178113" y="10810865"/>
                </a:lnTo>
                <a:cubicBezTo>
                  <a:pt x="7033249" y="10810865"/>
                  <a:pt x="7020079" y="10824033"/>
                  <a:pt x="6980571" y="10962311"/>
                </a:cubicBezTo>
                <a:cubicBezTo>
                  <a:pt x="6973983" y="10995237"/>
                  <a:pt x="6967401" y="11021577"/>
                  <a:pt x="6960813" y="11054497"/>
                </a:cubicBezTo>
                <a:cubicBezTo>
                  <a:pt x="6532808" y="12621667"/>
                  <a:pt x="5090744" y="13694985"/>
                  <a:pt x="3470896" y="13662057"/>
                </a:cubicBezTo>
                <a:cubicBezTo>
                  <a:pt x="1515229" y="13622549"/>
                  <a:pt x="-38772" y="12002701"/>
                  <a:pt x="737" y="10047033"/>
                </a:cubicBezTo>
                <a:cubicBezTo>
                  <a:pt x="40245" y="8091359"/>
                  <a:pt x="1660094" y="6537358"/>
                  <a:pt x="3615761" y="6576866"/>
                </a:cubicBezTo>
                <a:cubicBezTo>
                  <a:pt x="4721999" y="6603205"/>
                  <a:pt x="5624112" y="7064138"/>
                  <a:pt x="6322096" y="7920155"/>
                </a:cubicBezTo>
                <a:cubicBezTo>
                  <a:pt x="6624994" y="8302071"/>
                  <a:pt x="6848876" y="8736665"/>
                  <a:pt x="6967401" y="9210767"/>
                </a:cubicBezTo>
                <a:cubicBezTo>
                  <a:pt x="7026660" y="9428067"/>
                  <a:pt x="7033249" y="9428067"/>
                  <a:pt x="7243961" y="9428067"/>
                </a:cubicBezTo>
                <a:lnTo>
                  <a:pt x="8758453" y="9428067"/>
                </a:lnTo>
                <a:lnTo>
                  <a:pt x="8751865" y="9441237"/>
                </a:lnTo>
                <a:lnTo>
                  <a:pt x="10404640" y="9441237"/>
                </a:lnTo>
                <a:cubicBezTo>
                  <a:pt x="10536335" y="9434647"/>
                  <a:pt x="10569262" y="9401727"/>
                  <a:pt x="10549505" y="9263445"/>
                </a:cubicBezTo>
                <a:cubicBezTo>
                  <a:pt x="10529747" y="9092241"/>
                  <a:pt x="10503415" y="8927625"/>
                  <a:pt x="10470488" y="8763003"/>
                </a:cubicBezTo>
                <a:cubicBezTo>
                  <a:pt x="10121493" y="7083896"/>
                  <a:pt x="9291821" y="5687929"/>
                  <a:pt x="7948525" y="4614611"/>
                </a:cubicBezTo>
                <a:cubicBezTo>
                  <a:pt x="6736932" y="3626898"/>
                  <a:pt x="5222439" y="3086949"/>
                  <a:pt x="3661857" y="3073779"/>
                </a:cubicBezTo>
                <a:cubicBezTo>
                  <a:pt x="3398467" y="3067198"/>
                  <a:pt x="3135078" y="3086949"/>
                  <a:pt x="2871688" y="3093537"/>
                </a:cubicBezTo>
                <a:cubicBezTo>
                  <a:pt x="2713654" y="3100118"/>
                  <a:pt x="2687315" y="3060610"/>
                  <a:pt x="2753162" y="2909164"/>
                </a:cubicBezTo>
                <a:cubicBezTo>
                  <a:pt x="2805840" y="2803808"/>
                  <a:pt x="2858518" y="2705033"/>
                  <a:pt x="2911196" y="2599677"/>
                </a:cubicBezTo>
                <a:cubicBezTo>
                  <a:pt x="3296402" y="1822677"/>
                  <a:pt x="3684902" y="1045676"/>
                  <a:pt x="4074226" y="268676"/>
                </a:cubicBezTo>
                <a:lnTo>
                  <a:pt x="4208849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1" name="Freeform: Shape 31">
            <a:extLst>
              <a:ext uri="{FF2B5EF4-FFF2-40B4-BE49-F238E27FC236}">
                <a16:creationId xmlns:a16="http://schemas.microsoft.com/office/drawing/2014/main" id="{B91503F2-DFAC-123C-FB4B-57CEB23A4D9E}"/>
              </a:ext>
            </a:extLst>
          </p:cNvPr>
          <p:cNvSpPr>
            <a:spLocks/>
          </p:cNvSpPr>
          <p:nvPr/>
        </p:nvSpPr>
        <p:spPr bwMode="auto">
          <a:xfrm rot="1800000">
            <a:off x="12544573" y="-14780390"/>
            <a:ext cx="23004139" cy="23004141"/>
          </a:xfrm>
          <a:custGeom>
            <a:avLst/>
            <a:gdLst>
              <a:gd name="connsiteX0" fmla="*/ 10456427 w 20912854"/>
              <a:gd name="connsiteY0" fmla="*/ 6028864 h 20912855"/>
              <a:gd name="connsiteX1" fmla="*/ 7821943 w 20912854"/>
              <a:gd name="connsiteY1" fmla="*/ 7120044 h 20912855"/>
              <a:gd name="connsiteX2" fmla="*/ 7121444 w 20912854"/>
              <a:gd name="connsiteY2" fmla="*/ 7820837 h 20912855"/>
              <a:gd name="connsiteX3" fmla="*/ 7121444 w 20912854"/>
              <a:gd name="connsiteY3" fmla="*/ 13092017 h 20912855"/>
              <a:gd name="connsiteX4" fmla="*/ 7821943 w 20912854"/>
              <a:gd name="connsiteY4" fmla="*/ 13792810 h 20912855"/>
              <a:gd name="connsiteX5" fmla="*/ 13090911 w 20912854"/>
              <a:gd name="connsiteY5" fmla="*/ 13792810 h 20912855"/>
              <a:gd name="connsiteX6" fmla="*/ 13791410 w 20912854"/>
              <a:gd name="connsiteY6" fmla="*/ 13092017 h 20912855"/>
              <a:gd name="connsiteX7" fmla="*/ 13791410 w 20912854"/>
              <a:gd name="connsiteY7" fmla="*/ 7820837 h 20912855"/>
              <a:gd name="connsiteX8" fmla="*/ 13090911 w 20912854"/>
              <a:gd name="connsiteY8" fmla="*/ 7120044 h 20912855"/>
              <a:gd name="connsiteX9" fmla="*/ 10456427 w 20912854"/>
              <a:gd name="connsiteY9" fmla="*/ 6028864 h 20912855"/>
              <a:gd name="connsiteX10" fmla="*/ 10456427 w 20912854"/>
              <a:gd name="connsiteY10" fmla="*/ 0 h 20912855"/>
              <a:gd name="connsiteX11" fmla="*/ 20912854 w 20912854"/>
              <a:gd name="connsiteY11" fmla="*/ 10456428 h 20912855"/>
              <a:gd name="connsiteX12" fmla="*/ 10456427 w 20912854"/>
              <a:gd name="connsiteY12" fmla="*/ 20912855 h 20912855"/>
              <a:gd name="connsiteX13" fmla="*/ 0 w 20912854"/>
              <a:gd name="connsiteY13" fmla="*/ 10456428 h 20912855"/>
              <a:gd name="connsiteX14" fmla="*/ 10456427 w 20912854"/>
              <a:gd name="connsiteY14" fmla="*/ 0 h 20912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0912854" h="20912855">
                <a:moveTo>
                  <a:pt x="10456427" y="6028864"/>
                </a:moveTo>
                <a:cubicBezTo>
                  <a:pt x="9502759" y="6028864"/>
                  <a:pt x="8549091" y="6392591"/>
                  <a:pt x="7821943" y="7120044"/>
                </a:cubicBezTo>
                <a:cubicBezTo>
                  <a:pt x="7821943" y="7120044"/>
                  <a:pt x="7821943" y="7120044"/>
                  <a:pt x="7121444" y="7820837"/>
                </a:cubicBezTo>
                <a:cubicBezTo>
                  <a:pt x="5667149" y="9275744"/>
                  <a:pt x="5667149" y="11637111"/>
                  <a:pt x="7121444" y="13092017"/>
                </a:cubicBezTo>
                <a:cubicBezTo>
                  <a:pt x="7121444" y="13092017"/>
                  <a:pt x="7121444" y="13092017"/>
                  <a:pt x="7821943" y="13792810"/>
                </a:cubicBezTo>
                <a:cubicBezTo>
                  <a:pt x="9276239" y="15247717"/>
                  <a:pt x="11636615" y="15247717"/>
                  <a:pt x="13090911" y="13792810"/>
                </a:cubicBezTo>
                <a:cubicBezTo>
                  <a:pt x="13090911" y="13792810"/>
                  <a:pt x="13090911" y="13792810"/>
                  <a:pt x="13791410" y="13092017"/>
                </a:cubicBezTo>
                <a:cubicBezTo>
                  <a:pt x="15245706" y="11637111"/>
                  <a:pt x="15245706" y="9275744"/>
                  <a:pt x="13791410" y="7820837"/>
                </a:cubicBezTo>
                <a:cubicBezTo>
                  <a:pt x="13791410" y="7820837"/>
                  <a:pt x="13791410" y="7820837"/>
                  <a:pt x="13090911" y="7120044"/>
                </a:cubicBezTo>
                <a:cubicBezTo>
                  <a:pt x="12363763" y="6392591"/>
                  <a:pt x="11410095" y="6028864"/>
                  <a:pt x="10456427" y="6028864"/>
                </a:cubicBezTo>
                <a:close/>
                <a:moveTo>
                  <a:pt x="10456427" y="0"/>
                </a:moveTo>
                <a:cubicBezTo>
                  <a:pt x="16231352" y="0"/>
                  <a:pt x="20912854" y="4681502"/>
                  <a:pt x="20912854" y="10456428"/>
                </a:cubicBezTo>
                <a:cubicBezTo>
                  <a:pt x="20912854" y="16231352"/>
                  <a:pt x="16231352" y="20912855"/>
                  <a:pt x="10456427" y="20912855"/>
                </a:cubicBezTo>
                <a:cubicBezTo>
                  <a:pt x="4681502" y="20912855"/>
                  <a:pt x="0" y="16231352"/>
                  <a:pt x="0" y="10456428"/>
                </a:cubicBezTo>
                <a:cubicBezTo>
                  <a:pt x="0" y="4681502"/>
                  <a:pt x="4681502" y="0"/>
                  <a:pt x="10456427" y="0"/>
                </a:cubicBezTo>
                <a:close/>
              </a:path>
            </a:pathLst>
          </a:custGeom>
          <a:solidFill>
            <a:schemeClr val="accent1">
              <a:alpha val="70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32" name="Freeform: Shape 5">
            <a:extLst>
              <a:ext uri="{FF2B5EF4-FFF2-40B4-BE49-F238E27FC236}">
                <a16:creationId xmlns:a16="http://schemas.microsoft.com/office/drawing/2014/main" id="{D4836254-8260-D7E4-6D35-BD6881EF16C6}"/>
              </a:ext>
            </a:extLst>
          </p:cNvPr>
          <p:cNvSpPr>
            <a:spLocks/>
          </p:cNvSpPr>
          <p:nvPr/>
        </p:nvSpPr>
        <p:spPr bwMode="auto">
          <a:xfrm rot="20700000">
            <a:off x="11887006" y="-15418907"/>
            <a:ext cx="24319273" cy="24319274"/>
          </a:xfrm>
          <a:custGeom>
            <a:avLst/>
            <a:gdLst>
              <a:gd name="connsiteX0" fmla="*/ 10456427 w 20912854"/>
              <a:gd name="connsiteY0" fmla="*/ 6028864 h 20912855"/>
              <a:gd name="connsiteX1" fmla="*/ 7821943 w 20912854"/>
              <a:gd name="connsiteY1" fmla="*/ 7120044 h 20912855"/>
              <a:gd name="connsiteX2" fmla="*/ 7121444 w 20912854"/>
              <a:gd name="connsiteY2" fmla="*/ 7820837 h 20912855"/>
              <a:gd name="connsiteX3" fmla="*/ 7121444 w 20912854"/>
              <a:gd name="connsiteY3" fmla="*/ 13092017 h 20912855"/>
              <a:gd name="connsiteX4" fmla="*/ 7821943 w 20912854"/>
              <a:gd name="connsiteY4" fmla="*/ 13792810 h 20912855"/>
              <a:gd name="connsiteX5" fmla="*/ 13090911 w 20912854"/>
              <a:gd name="connsiteY5" fmla="*/ 13792810 h 20912855"/>
              <a:gd name="connsiteX6" fmla="*/ 13791410 w 20912854"/>
              <a:gd name="connsiteY6" fmla="*/ 13092017 h 20912855"/>
              <a:gd name="connsiteX7" fmla="*/ 13791410 w 20912854"/>
              <a:gd name="connsiteY7" fmla="*/ 7820837 h 20912855"/>
              <a:gd name="connsiteX8" fmla="*/ 13090911 w 20912854"/>
              <a:gd name="connsiteY8" fmla="*/ 7120044 h 20912855"/>
              <a:gd name="connsiteX9" fmla="*/ 10456427 w 20912854"/>
              <a:gd name="connsiteY9" fmla="*/ 6028864 h 20912855"/>
              <a:gd name="connsiteX10" fmla="*/ 10456427 w 20912854"/>
              <a:gd name="connsiteY10" fmla="*/ 0 h 20912855"/>
              <a:gd name="connsiteX11" fmla="*/ 20912854 w 20912854"/>
              <a:gd name="connsiteY11" fmla="*/ 10456428 h 20912855"/>
              <a:gd name="connsiteX12" fmla="*/ 10456427 w 20912854"/>
              <a:gd name="connsiteY12" fmla="*/ 20912855 h 20912855"/>
              <a:gd name="connsiteX13" fmla="*/ 0 w 20912854"/>
              <a:gd name="connsiteY13" fmla="*/ 10456428 h 20912855"/>
              <a:gd name="connsiteX14" fmla="*/ 10456427 w 20912854"/>
              <a:gd name="connsiteY14" fmla="*/ 0 h 20912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0912854" h="20912855">
                <a:moveTo>
                  <a:pt x="10456427" y="6028864"/>
                </a:moveTo>
                <a:cubicBezTo>
                  <a:pt x="9502759" y="6028864"/>
                  <a:pt x="8549091" y="6392591"/>
                  <a:pt x="7821943" y="7120044"/>
                </a:cubicBezTo>
                <a:cubicBezTo>
                  <a:pt x="7821943" y="7120044"/>
                  <a:pt x="7821943" y="7120044"/>
                  <a:pt x="7121444" y="7820837"/>
                </a:cubicBezTo>
                <a:cubicBezTo>
                  <a:pt x="5667149" y="9275744"/>
                  <a:pt x="5667149" y="11637111"/>
                  <a:pt x="7121444" y="13092017"/>
                </a:cubicBezTo>
                <a:cubicBezTo>
                  <a:pt x="7121444" y="13092017"/>
                  <a:pt x="7121444" y="13092017"/>
                  <a:pt x="7821943" y="13792810"/>
                </a:cubicBezTo>
                <a:cubicBezTo>
                  <a:pt x="9276239" y="15247717"/>
                  <a:pt x="11636615" y="15247717"/>
                  <a:pt x="13090911" y="13792810"/>
                </a:cubicBezTo>
                <a:cubicBezTo>
                  <a:pt x="13090911" y="13792810"/>
                  <a:pt x="13090911" y="13792810"/>
                  <a:pt x="13791410" y="13092017"/>
                </a:cubicBezTo>
                <a:cubicBezTo>
                  <a:pt x="15245706" y="11637111"/>
                  <a:pt x="15245706" y="9275744"/>
                  <a:pt x="13791410" y="7820837"/>
                </a:cubicBezTo>
                <a:cubicBezTo>
                  <a:pt x="13791410" y="7820837"/>
                  <a:pt x="13791410" y="7820837"/>
                  <a:pt x="13090911" y="7120044"/>
                </a:cubicBezTo>
                <a:cubicBezTo>
                  <a:pt x="12363763" y="6392591"/>
                  <a:pt x="11410095" y="6028864"/>
                  <a:pt x="10456427" y="6028864"/>
                </a:cubicBezTo>
                <a:close/>
                <a:moveTo>
                  <a:pt x="10456427" y="0"/>
                </a:moveTo>
                <a:cubicBezTo>
                  <a:pt x="16231352" y="0"/>
                  <a:pt x="20912854" y="4681502"/>
                  <a:pt x="20912854" y="10456428"/>
                </a:cubicBezTo>
                <a:cubicBezTo>
                  <a:pt x="20912854" y="16231352"/>
                  <a:pt x="16231352" y="20912855"/>
                  <a:pt x="10456427" y="20912855"/>
                </a:cubicBezTo>
                <a:cubicBezTo>
                  <a:pt x="4681502" y="20912855"/>
                  <a:pt x="0" y="16231352"/>
                  <a:pt x="0" y="10456428"/>
                </a:cubicBezTo>
                <a:cubicBezTo>
                  <a:pt x="0" y="4681502"/>
                  <a:pt x="4681502" y="0"/>
                  <a:pt x="10456427" y="0"/>
                </a:cubicBezTo>
                <a:close/>
              </a:path>
            </a:pathLst>
          </a:custGeom>
          <a:solidFill>
            <a:schemeClr val="accent4">
              <a:alpha val="70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33" name="Freeform: Shape 4">
            <a:extLst>
              <a:ext uri="{FF2B5EF4-FFF2-40B4-BE49-F238E27FC236}">
                <a16:creationId xmlns:a16="http://schemas.microsoft.com/office/drawing/2014/main" id="{280FC0E3-C2B6-6FAC-7532-3AEDB7E17431}"/>
              </a:ext>
            </a:extLst>
          </p:cNvPr>
          <p:cNvSpPr>
            <a:spLocks/>
          </p:cNvSpPr>
          <p:nvPr/>
        </p:nvSpPr>
        <p:spPr bwMode="auto">
          <a:xfrm rot="20989499">
            <a:off x="11394366" y="-15911547"/>
            <a:ext cx="25304553" cy="25304555"/>
          </a:xfrm>
          <a:custGeom>
            <a:avLst/>
            <a:gdLst>
              <a:gd name="connsiteX0" fmla="*/ 10456427 w 20912854"/>
              <a:gd name="connsiteY0" fmla="*/ 6028864 h 20912855"/>
              <a:gd name="connsiteX1" fmla="*/ 7821943 w 20912854"/>
              <a:gd name="connsiteY1" fmla="*/ 7120044 h 20912855"/>
              <a:gd name="connsiteX2" fmla="*/ 7121444 w 20912854"/>
              <a:gd name="connsiteY2" fmla="*/ 7820837 h 20912855"/>
              <a:gd name="connsiteX3" fmla="*/ 7121444 w 20912854"/>
              <a:gd name="connsiteY3" fmla="*/ 13092017 h 20912855"/>
              <a:gd name="connsiteX4" fmla="*/ 7821943 w 20912854"/>
              <a:gd name="connsiteY4" fmla="*/ 13792810 h 20912855"/>
              <a:gd name="connsiteX5" fmla="*/ 13090911 w 20912854"/>
              <a:gd name="connsiteY5" fmla="*/ 13792810 h 20912855"/>
              <a:gd name="connsiteX6" fmla="*/ 13791410 w 20912854"/>
              <a:gd name="connsiteY6" fmla="*/ 13092017 h 20912855"/>
              <a:gd name="connsiteX7" fmla="*/ 13791410 w 20912854"/>
              <a:gd name="connsiteY7" fmla="*/ 7820837 h 20912855"/>
              <a:gd name="connsiteX8" fmla="*/ 13090911 w 20912854"/>
              <a:gd name="connsiteY8" fmla="*/ 7120044 h 20912855"/>
              <a:gd name="connsiteX9" fmla="*/ 10456427 w 20912854"/>
              <a:gd name="connsiteY9" fmla="*/ 6028864 h 20912855"/>
              <a:gd name="connsiteX10" fmla="*/ 10456427 w 20912854"/>
              <a:gd name="connsiteY10" fmla="*/ 0 h 20912855"/>
              <a:gd name="connsiteX11" fmla="*/ 20912854 w 20912854"/>
              <a:gd name="connsiteY11" fmla="*/ 10456428 h 20912855"/>
              <a:gd name="connsiteX12" fmla="*/ 10456427 w 20912854"/>
              <a:gd name="connsiteY12" fmla="*/ 20912855 h 20912855"/>
              <a:gd name="connsiteX13" fmla="*/ 0 w 20912854"/>
              <a:gd name="connsiteY13" fmla="*/ 10456428 h 20912855"/>
              <a:gd name="connsiteX14" fmla="*/ 10456427 w 20912854"/>
              <a:gd name="connsiteY14" fmla="*/ 0 h 20912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0912854" h="20912855">
                <a:moveTo>
                  <a:pt x="10456427" y="6028864"/>
                </a:moveTo>
                <a:cubicBezTo>
                  <a:pt x="9502759" y="6028864"/>
                  <a:pt x="8549091" y="6392591"/>
                  <a:pt x="7821943" y="7120044"/>
                </a:cubicBezTo>
                <a:cubicBezTo>
                  <a:pt x="7821943" y="7120044"/>
                  <a:pt x="7821943" y="7120044"/>
                  <a:pt x="7121444" y="7820837"/>
                </a:cubicBezTo>
                <a:cubicBezTo>
                  <a:pt x="5667149" y="9275744"/>
                  <a:pt x="5667149" y="11637111"/>
                  <a:pt x="7121444" y="13092017"/>
                </a:cubicBezTo>
                <a:cubicBezTo>
                  <a:pt x="7121444" y="13092017"/>
                  <a:pt x="7121444" y="13092017"/>
                  <a:pt x="7821943" y="13792810"/>
                </a:cubicBezTo>
                <a:cubicBezTo>
                  <a:pt x="9276239" y="15247717"/>
                  <a:pt x="11636615" y="15247717"/>
                  <a:pt x="13090911" y="13792810"/>
                </a:cubicBezTo>
                <a:cubicBezTo>
                  <a:pt x="13090911" y="13792810"/>
                  <a:pt x="13090911" y="13792810"/>
                  <a:pt x="13791410" y="13092017"/>
                </a:cubicBezTo>
                <a:cubicBezTo>
                  <a:pt x="15245706" y="11637111"/>
                  <a:pt x="15245706" y="9275744"/>
                  <a:pt x="13791410" y="7820837"/>
                </a:cubicBezTo>
                <a:cubicBezTo>
                  <a:pt x="13791410" y="7820837"/>
                  <a:pt x="13791410" y="7820837"/>
                  <a:pt x="13090911" y="7120044"/>
                </a:cubicBezTo>
                <a:cubicBezTo>
                  <a:pt x="12363763" y="6392591"/>
                  <a:pt x="11410095" y="6028864"/>
                  <a:pt x="10456427" y="6028864"/>
                </a:cubicBezTo>
                <a:close/>
                <a:moveTo>
                  <a:pt x="10456427" y="0"/>
                </a:moveTo>
                <a:cubicBezTo>
                  <a:pt x="16231352" y="0"/>
                  <a:pt x="20912854" y="4681502"/>
                  <a:pt x="20912854" y="10456428"/>
                </a:cubicBezTo>
                <a:cubicBezTo>
                  <a:pt x="20912854" y="16231352"/>
                  <a:pt x="16231352" y="20912855"/>
                  <a:pt x="10456427" y="20912855"/>
                </a:cubicBezTo>
                <a:cubicBezTo>
                  <a:pt x="4681502" y="20912855"/>
                  <a:pt x="0" y="16231352"/>
                  <a:pt x="0" y="10456428"/>
                </a:cubicBezTo>
                <a:cubicBezTo>
                  <a:pt x="0" y="4681502"/>
                  <a:pt x="4681502" y="0"/>
                  <a:pt x="10456427" y="0"/>
                </a:cubicBezTo>
                <a:close/>
              </a:path>
            </a:pathLst>
          </a:custGeom>
          <a:solidFill>
            <a:schemeClr val="bg2">
              <a:alpha val="70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34" name="Freeform: Shape 3">
            <a:extLst>
              <a:ext uri="{FF2B5EF4-FFF2-40B4-BE49-F238E27FC236}">
                <a16:creationId xmlns:a16="http://schemas.microsoft.com/office/drawing/2014/main" id="{8F1F7B28-3329-4BC0-463A-46566CB57E99}"/>
              </a:ext>
            </a:extLst>
          </p:cNvPr>
          <p:cNvSpPr>
            <a:spLocks/>
          </p:cNvSpPr>
          <p:nvPr/>
        </p:nvSpPr>
        <p:spPr bwMode="auto">
          <a:xfrm>
            <a:off x="10482016" y="-16760388"/>
            <a:ext cx="27141943" cy="27141946"/>
          </a:xfrm>
          <a:custGeom>
            <a:avLst/>
            <a:gdLst>
              <a:gd name="connsiteX0" fmla="*/ 10456427 w 20912854"/>
              <a:gd name="connsiteY0" fmla="*/ 6028864 h 20912855"/>
              <a:gd name="connsiteX1" fmla="*/ 7821943 w 20912854"/>
              <a:gd name="connsiteY1" fmla="*/ 7120044 h 20912855"/>
              <a:gd name="connsiteX2" fmla="*/ 7121444 w 20912854"/>
              <a:gd name="connsiteY2" fmla="*/ 7820837 h 20912855"/>
              <a:gd name="connsiteX3" fmla="*/ 7121444 w 20912854"/>
              <a:gd name="connsiteY3" fmla="*/ 13092017 h 20912855"/>
              <a:gd name="connsiteX4" fmla="*/ 7821943 w 20912854"/>
              <a:gd name="connsiteY4" fmla="*/ 13792810 h 20912855"/>
              <a:gd name="connsiteX5" fmla="*/ 13090911 w 20912854"/>
              <a:gd name="connsiteY5" fmla="*/ 13792810 h 20912855"/>
              <a:gd name="connsiteX6" fmla="*/ 13791410 w 20912854"/>
              <a:gd name="connsiteY6" fmla="*/ 13092017 h 20912855"/>
              <a:gd name="connsiteX7" fmla="*/ 13791410 w 20912854"/>
              <a:gd name="connsiteY7" fmla="*/ 7820837 h 20912855"/>
              <a:gd name="connsiteX8" fmla="*/ 13090911 w 20912854"/>
              <a:gd name="connsiteY8" fmla="*/ 7120044 h 20912855"/>
              <a:gd name="connsiteX9" fmla="*/ 10456427 w 20912854"/>
              <a:gd name="connsiteY9" fmla="*/ 6028864 h 20912855"/>
              <a:gd name="connsiteX10" fmla="*/ 10456427 w 20912854"/>
              <a:gd name="connsiteY10" fmla="*/ 0 h 20912855"/>
              <a:gd name="connsiteX11" fmla="*/ 20912854 w 20912854"/>
              <a:gd name="connsiteY11" fmla="*/ 10456428 h 20912855"/>
              <a:gd name="connsiteX12" fmla="*/ 10456427 w 20912854"/>
              <a:gd name="connsiteY12" fmla="*/ 20912855 h 20912855"/>
              <a:gd name="connsiteX13" fmla="*/ 0 w 20912854"/>
              <a:gd name="connsiteY13" fmla="*/ 10456428 h 20912855"/>
              <a:gd name="connsiteX14" fmla="*/ 10456427 w 20912854"/>
              <a:gd name="connsiteY14" fmla="*/ 0 h 20912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0912854" h="20912855">
                <a:moveTo>
                  <a:pt x="10456427" y="6028864"/>
                </a:moveTo>
                <a:cubicBezTo>
                  <a:pt x="9502759" y="6028864"/>
                  <a:pt x="8549091" y="6392591"/>
                  <a:pt x="7821943" y="7120044"/>
                </a:cubicBezTo>
                <a:cubicBezTo>
                  <a:pt x="7821943" y="7120044"/>
                  <a:pt x="7821943" y="7120044"/>
                  <a:pt x="7121444" y="7820837"/>
                </a:cubicBezTo>
                <a:cubicBezTo>
                  <a:pt x="5667149" y="9275744"/>
                  <a:pt x="5667149" y="11637111"/>
                  <a:pt x="7121444" y="13092017"/>
                </a:cubicBezTo>
                <a:cubicBezTo>
                  <a:pt x="7121444" y="13092017"/>
                  <a:pt x="7121444" y="13092017"/>
                  <a:pt x="7821943" y="13792810"/>
                </a:cubicBezTo>
                <a:cubicBezTo>
                  <a:pt x="9276239" y="15247717"/>
                  <a:pt x="11636615" y="15247717"/>
                  <a:pt x="13090911" y="13792810"/>
                </a:cubicBezTo>
                <a:cubicBezTo>
                  <a:pt x="13090911" y="13792810"/>
                  <a:pt x="13090911" y="13792810"/>
                  <a:pt x="13791410" y="13092017"/>
                </a:cubicBezTo>
                <a:cubicBezTo>
                  <a:pt x="15245706" y="11637111"/>
                  <a:pt x="15245706" y="9275744"/>
                  <a:pt x="13791410" y="7820837"/>
                </a:cubicBezTo>
                <a:cubicBezTo>
                  <a:pt x="13791410" y="7820837"/>
                  <a:pt x="13791410" y="7820837"/>
                  <a:pt x="13090911" y="7120044"/>
                </a:cubicBezTo>
                <a:cubicBezTo>
                  <a:pt x="12363763" y="6392591"/>
                  <a:pt x="11410095" y="6028864"/>
                  <a:pt x="10456427" y="6028864"/>
                </a:cubicBezTo>
                <a:close/>
                <a:moveTo>
                  <a:pt x="10456427" y="0"/>
                </a:moveTo>
                <a:cubicBezTo>
                  <a:pt x="16231352" y="0"/>
                  <a:pt x="20912854" y="4681502"/>
                  <a:pt x="20912854" y="10456428"/>
                </a:cubicBezTo>
                <a:cubicBezTo>
                  <a:pt x="20912854" y="16231352"/>
                  <a:pt x="16231352" y="20912855"/>
                  <a:pt x="10456427" y="20912855"/>
                </a:cubicBezTo>
                <a:cubicBezTo>
                  <a:pt x="4681502" y="20912855"/>
                  <a:pt x="0" y="16231352"/>
                  <a:pt x="0" y="10456428"/>
                </a:cubicBezTo>
                <a:cubicBezTo>
                  <a:pt x="0" y="4681502"/>
                  <a:pt x="4681502" y="0"/>
                  <a:pt x="1045642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8C4DDCA-D556-874D-CB22-AC415A40AACE}"/>
              </a:ext>
            </a:extLst>
          </p:cNvPr>
          <p:cNvSpPr txBox="1"/>
          <p:nvPr/>
        </p:nvSpPr>
        <p:spPr>
          <a:xfrm>
            <a:off x="14423569" y="2495725"/>
            <a:ext cx="13263569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0" b="1" dirty="0">
                <a:latin typeface="Futura Md BT" panose="020B0602020204020303" pitchFamily="34" charset="0"/>
              </a:rPr>
              <a:t>Advanced </a:t>
            </a:r>
            <a:br>
              <a:rPr lang="en-US" sz="9000" b="1" dirty="0">
                <a:latin typeface="Futura Md BT" panose="020B0602020204020303" pitchFamily="34" charset="0"/>
              </a:rPr>
            </a:br>
            <a:r>
              <a:rPr lang="en-US" sz="9000" b="1" dirty="0">
                <a:latin typeface="Futura Md BT" panose="020B0602020204020303" pitchFamily="34" charset="0"/>
              </a:rPr>
              <a:t>Data Security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82C4BD48-AE43-4234-791F-C33C12756A7E}"/>
              </a:ext>
            </a:extLst>
          </p:cNvPr>
          <p:cNvSpPr txBox="1"/>
          <p:nvPr/>
        </p:nvSpPr>
        <p:spPr>
          <a:xfrm>
            <a:off x="14394994" y="5693242"/>
            <a:ext cx="7976053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400" dirty="0">
                <a:latin typeface="FUTURA MEDIUM BT" panose="020B0602020204020303" pitchFamily="34" charset="0"/>
              </a:rPr>
              <a:t>Breadcrumbs has partnered with Sentinel, providing a decentralized VPN powered by Cosmos.</a:t>
            </a:r>
          </a:p>
          <a:p>
            <a:endParaRPr lang="en-US" sz="3400" dirty="0">
              <a:latin typeface="FUTURA MEDIUM BT" panose="020B0602020204020303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400" dirty="0">
                <a:latin typeface="FUTURA MEDIUM BT" panose="020B0602020204020303" pitchFamily="34" charset="0"/>
              </a:rPr>
              <a:t>This removes the need for users to trust a central authority, making Breadcrumbs the most secure VPN service available on Earth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3400" dirty="0">
              <a:latin typeface="FUTURA MEDIUM BT" panose="020B0602020204020303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400" dirty="0">
                <a:latin typeface="FUTURA MEDIUM BT" panose="020B0602020204020303" pitchFamily="34" charset="0"/>
              </a:rPr>
              <a:t>Best of all, </a:t>
            </a:r>
            <a:r>
              <a:rPr lang="en-US" sz="3400" dirty="0">
                <a:solidFill>
                  <a:schemeClr val="accent1"/>
                </a:solidFill>
                <a:latin typeface="FUTURA MEDIUM BT" panose="020B0602020204020303" pitchFamily="34" charset="0"/>
              </a:rPr>
              <a:t>our </a:t>
            </a:r>
            <a:r>
              <a:rPr lang="en-US" sz="3400" dirty="0" err="1">
                <a:solidFill>
                  <a:schemeClr val="accent1"/>
                </a:solidFill>
                <a:latin typeface="FUTURA MEDIUM BT" panose="020B0602020204020303" pitchFamily="34" charset="0"/>
              </a:rPr>
              <a:t>dVPN</a:t>
            </a:r>
            <a:r>
              <a:rPr lang="en-US" sz="3400" dirty="0">
                <a:solidFill>
                  <a:schemeClr val="accent1"/>
                </a:solidFill>
                <a:latin typeface="FUTURA MEDIUM BT" panose="020B0602020204020303" pitchFamily="34" charset="0"/>
              </a:rPr>
              <a:t> is free.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C21141B-1C42-52C8-B4AD-9657CA7B84E7}"/>
              </a:ext>
            </a:extLst>
          </p:cNvPr>
          <p:cNvGrpSpPr/>
          <p:nvPr/>
        </p:nvGrpSpPr>
        <p:grpSpPr>
          <a:xfrm>
            <a:off x="-25552402" y="-8214581"/>
            <a:ext cx="24705734" cy="22066047"/>
            <a:chOff x="-24892000" y="-8214581"/>
            <a:chExt cx="24705734" cy="22066047"/>
          </a:xfrm>
        </p:grpSpPr>
        <p:sp>
          <p:nvSpPr>
            <p:cNvPr id="2" name="Freeform 1">
              <a:extLst>
                <a:ext uri="{FF2B5EF4-FFF2-40B4-BE49-F238E27FC236}">
                  <a16:creationId xmlns:a16="http://schemas.microsoft.com/office/drawing/2014/main" id="{1EEB8B5F-1D77-7C94-DC65-27966D9A1DC2}"/>
                </a:ext>
              </a:extLst>
            </p:cNvPr>
            <p:cNvSpPr/>
            <p:nvPr/>
          </p:nvSpPr>
          <p:spPr>
            <a:xfrm>
              <a:off x="-24892000" y="-135467"/>
              <a:ext cx="3257477" cy="13986933"/>
            </a:xfrm>
            <a:custGeom>
              <a:avLst/>
              <a:gdLst>
                <a:gd name="connsiteX0" fmla="*/ 1 w 3257477"/>
                <a:gd name="connsiteY0" fmla="*/ 0 h 13986933"/>
                <a:gd name="connsiteX1" fmla="*/ 3257477 w 3257477"/>
                <a:gd name="connsiteY1" fmla="*/ 0 h 13986933"/>
                <a:gd name="connsiteX2" fmla="*/ 2179494 w 3257477"/>
                <a:gd name="connsiteY2" fmla="*/ 2935503 h 13986933"/>
                <a:gd name="connsiteX3" fmla="*/ 454290 w 3257477"/>
                <a:gd name="connsiteY3" fmla="*/ 7617257 h 13986933"/>
                <a:gd name="connsiteX4" fmla="*/ 256747 w 3257477"/>
                <a:gd name="connsiteY4" fmla="*/ 12002701 h 13986933"/>
                <a:gd name="connsiteX5" fmla="*/ 1123017 w 3257477"/>
                <a:gd name="connsiteY5" fmla="*/ 13941981 h 13986933"/>
                <a:gd name="connsiteX6" fmla="*/ 1153540 w 3257477"/>
                <a:gd name="connsiteY6" fmla="*/ 13986933 h 13986933"/>
                <a:gd name="connsiteX7" fmla="*/ 1 w 3257477"/>
                <a:gd name="connsiteY7" fmla="*/ 13986933 h 13986933"/>
                <a:gd name="connsiteX8" fmla="*/ 1 w 3257477"/>
                <a:gd name="connsiteY8" fmla="*/ 0 h 13986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57477" h="13986933">
                  <a:moveTo>
                    <a:pt x="1" y="0"/>
                  </a:moveTo>
                  <a:lnTo>
                    <a:pt x="3257477" y="0"/>
                  </a:lnTo>
                  <a:lnTo>
                    <a:pt x="2179494" y="2935503"/>
                  </a:lnTo>
                  <a:cubicBezTo>
                    <a:pt x="1606625" y="4496085"/>
                    <a:pt x="1027167" y="6056675"/>
                    <a:pt x="454290" y="7617257"/>
                  </a:cubicBezTo>
                  <a:cubicBezTo>
                    <a:pt x="-72490" y="9019813"/>
                    <a:pt x="-144919" y="10554055"/>
                    <a:pt x="256747" y="12002701"/>
                  </a:cubicBezTo>
                  <a:cubicBezTo>
                    <a:pt x="451820" y="12707682"/>
                    <a:pt x="747131" y="13357798"/>
                    <a:pt x="1123017" y="13941981"/>
                  </a:cubicBezTo>
                  <a:lnTo>
                    <a:pt x="1153540" y="13986933"/>
                  </a:lnTo>
                  <a:lnTo>
                    <a:pt x="1" y="1398693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" name="Freeform 2">
              <a:extLst>
                <a:ext uri="{FF2B5EF4-FFF2-40B4-BE49-F238E27FC236}">
                  <a16:creationId xmlns:a16="http://schemas.microsoft.com/office/drawing/2014/main" id="{C9457622-E774-DA4B-3293-0A3727E98173}"/>
                </a:ext>
              </a:extLst>
            </p:cNvPr>
            <p:cNvSpPr/>
            <p:nvPr/>
          </p:nvSpPr>
          <p:spPr>
            <a:xfrm>
              <a:off x="-21376536" y="-135467"/>
              <a:ext cx="21190270" cy="13986933"/>
            </a:xfrm>
            <a:custGeom>
              <a:avLst/>
              <a:gdLst>
                <a:gd name="connsiteX0" fmla="*/ 4208849 w 21190270"/>
                <a:gd name="connsiteY0" fmla="*/ 0 h 13986933"/>
                <a:gd name="connsiteX1" fmla="*/ 21190270 w 21190270"/>
                <a:gd name="connsiteY1" fmla="*/ 0 h 13986933"/>
                <a:gd name="connsiteX2" fmla="*/ 21190270 w 21190270"/>
                <a:gd name="connsiteY2" fmla="*/ 13986933 h 13986933"/>
                <a:gd name="connsiteX3" fmla="*/ 9454264 w 21190270"/>
                <a:gd name="connsiteY3" fmla="*/ 13986933 h 13986933"/>
                <a:gd name="connsiteX4" fmla="*/ 9471330 w 21190270"/>
                <a:gd name="connsiteY4" fmla="*/ 13962488 h 13986933"/>
                <a:gd name="connsiteX5" fmla="*/ 10542923 w 21190270"/>
                <a:gd name="connsiteY5" fmla="*/ 11080835 h 13986933"/>
                <a:gd name="connsiteX6" fmla="*/ 10556086 w 21190270"/>
                <a:gd name="connsiteY6" fmla="*/ 10922801 h 13986933"/>
                <a:gd name="connsiteX7" fmla="*/ 10556086 w 21190270"/>
                <a:gd name="connsiteY7" fmla="*/ 10903051 h 13986933"/>
                <a:gd name="connsiteX8" fmla="*/ 10463900 w 21190270"/>
                <a:gd name="connsiteY8" fmla="*/ 10810865 h 13986933"/>
                <a:gd name="connsiteX9" fmla="*/ 10213686 w 21190270"/>
                <a:gd name="connsiteY9" fmla="*/ 10810865 h 13986933"/>
                <a:gd name="connsiteX10" fmla="*/ 7178113 w 21190270"/>
                <a:gd name="connsiteY10" fmla="*/ 10810865 h 13986933"/>
                <a:gd name="connsiteX11" fmla="*/ 6980571 w 21190270"/>
                <a:gd name="connsiteY11" fmla="*/ 10962311 h 13986933"/>
                <a:gd name="connsiteX12" fmla="*/ 6960813 w 21190270"/>
                <a:gd name="connsiteY12" fmla="*/ 11054497 h 13986933"/>
                <a:gd name="connsiteX13" fmla="*/ 3470896 w 21190270"/>
                <a:gd name="connsiteY13" fmla="*/ 13662057 h 13986933"/>
                <a:gd name="connsiteX14" fmla="*/ 737 w 21190270"/>
                <a:gd name="connsiteY14" fmla="*/ 10047033 h 13986933"/>
                <a:gd name="connsiteX15" fmla="*/ 3615761 w 21190270"/>
                <a:gd name="connsiteY15" fmla="*/ 6576866 h 13986933"/>
                <a:gd name="connsiteX16" fmla="*/ 6322096 w 21190270"/>
                <a:gd name="connsiteY16" fmla="*/ 7920155 h 13986933"/>
                <a:gd name="connsiteX17" fmla="*/ 6967401 w 21190270"/>
                <a:gd name="connsiteY17" fmla="*/ 9210767 h 13986933"/>
                <a:gd name="connsiteX18" fmla="*/ 7243961 w 21190270"/>
                <a:gd name="connsiteY18" fmla="*/ 9428067 h 13986933"/>
                <a:gd name="connsiteX19" fmla="*/ 8758453 w 21190270"/>
                <a:gd name="connsiteY19" fmla="*/ 9428067 h 13986933"/>
                <a:gd name="connsiteX20" fmla="*/ 8751865 w 21190270"/>
                <a:gd name="connsiteY20" fmla="*/ 9441237 h 13986933"/>
                <a:gd name="connsiteX21" fmla="*/ 10404640 w 21190270"/>
                <a:gd name="connsiteY21" fmla="*/ 9441237 h 13986933"/>
                <a:gd name="connsiteX22" fmla="*/ 10549505 w 21190270"/>
                <a:gd name="connsiteY22" fmla="*/ 9263445 h 13986933"/>
                <a:gd name="connsiteX23" fmla="*/ 10470488 w 21190270"/>
                <a:gd name="connsiteY23" fmla="*/ 8763003 h 13986933"/>
                <a:gd name="connsiteX24" fmla="*/ 7948525 w 21190270"/>
                <a:gd name="connsiteY24" fmla="*/ 4614611 h 13986933"/>
                <a:gd name="connsiteX25" fmla="*/ 3661857 w 21190270"/>
                <a:gd name="connsiteY25" fmla="*/ 3073779 h 13986933"/>
                <a:gd name="connsiteX26" fmla="*/ 2871688 w 21190270"/>
                <a:gd name="connsiteY26" fmla="*/ 3093537 h 13986933"/>
                <a:gd name="connsiteX27" fmla="*/ 2753162 w 21190270"/>
                <a:gd name="connsiteY27" fmla="*/ 2909164 h 13986933"/>
                <a:gd name="connsiteX28" fmla="*/ 2911196 w 21190270"/>
                <a:gd name="connsiteY28" fmla="*/ 2599677 h 13986933"/>
                <a:gd name="connsiteX29" fmla="*/ 4074226 w 21190270"/>
                <a:gd name="connsiteY29" fmla="*/ 268676 h 13986933"/>
                <a:gd name="connsiteX30" fmla="*/ 4208849 w 21190270"/>
                <a:gd name="connsiteY30" fmla="*/ 0 h 139869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1190270" h="13986933">
                  <a:moveTo>
                    <a:pt x="4208849" y="0"/>
                  </a:moveTo>
                  <a:lnTo>
                    <a:pt x="21190270" y="0"/>
                  </a:lnTo>
                  <a:lnTo>
                    <a:pt x="21190270" y="13986933"/>
                  </a:lnTo>
                  <a:lnTo>
                    <a:pt x="9454264" y="13986933"/>
                  </a:lnTo>
                  <a:lnTo>
                    <a:pt x="9471330" y="13962488"/>
                  </a:lnTo>
                  <a:cubicBezTo>
                    <a:pt x="10022521" y="13109351"/>
                    <a:pt x="10394766" y="12130281"/>
                    <a:pt x="10542923" y="11080835"/>
                  </a:cubicBezTo>
                  <a:cubicBezTo>
                    <a:pt x="10556086" y="11028157"/>
                    <a:pt x="10556086" y="10975479"/>
                    <a:pt x="10556086" y="10922801"/>
                  </a:cubicBezTo>
                  <a:cubicBezTo>
                    <a:pt x="10556086" y="10916221"/>
                    <a:pt x="10556086" y="10903051"/>
                    <a:pt x="10556086" y="10903051"/>
                  </a:cubicBezTo>
                  <a:cubicBezTo>
                    <a:pt x="10556086" y="10850373"/>
                    <a:pt x="10516578" y="10810865"/>
                    <a:pt x="10463900" y="10810865"/>
                  </a:cubicBezTo>
                  <a:cubicBezTo>
                    <a:pt x="10378301" y="10810865"/>
                    <a:pt x="10299284" y="10810865"/>
                    <a:pt x="10213686" y="10810865"/>
                  </a:cubicBezTo>
                  <a:lnTo>
                    <a:pt x="7178113" y="10810865"/>
                  </a:lnTo>
                  <a:cubicBezTo>
                    <a:pt x="7033249" y="10810865"/>
                    <a:pt x="7020079" y="10824033"/>
                    <a:pt x="6980571" y="10962311"/>
                  </a:cubicBezTo>
                  <a:cubicBezTo>
                    <a:pt x="6973983" y="10995237"/>
                    <a:pt x="6967401" y="11021577"/>
                    <a:pt x="6960813" y="11054497"/>
                  </a:cubicBezTo>
                  <a:cubicBezTo>
                    <a:pt x="6532808" y="12621667"/>
                    <a:pt x="5090744" y="13694985"/>
                    <a:pt x="3470896" y="13662057"/>
                  </a:cubicBezTo>
                  <a:cubicBezTo>
                    <a:pt x="1515229" y="13622549"/>
                    <a:pt x="-38772" y="12002701"/>
                    <a:pt x="737" y="10047033"/>
                  </a:cubicBezTo>
                  <a:cubicBezTo>
                    <a:pt x="40245" y="8091359"/>
                    <a:pt x="1660094" y="6537358"/>
                    <a:pt x="3615761" y="6576866"/>
                  </a:cubicBezTo>
                  <a:cubicBezTo>
                    <a:pt x="4721999" y="6603205"/>
                    <a:pt x="5624112" y="7064138"/>
                    <a:pt x="6322096" y="7920155"/>
                  </a:cubicBezTo>
                  <a:cubicBezTo>
                    <a:pt x="6624994" y="8302071"/>
                    <a:pt x="6848876" y="8736665"/>
                    <a:pt x="6967401" y="9210767"/>
                  </a:cubicBezTo>
                  <a:cubicBezTo>
                    <a:pt x="7026660" y="9428067"/>
                    <a:pt x="7033249" y="9428067"/>
                    <a:pt x="7243961" y="9428067"/>
                  </a:cubicBezTo>
                  <a:lnTo>
                    <a:pt x="8758453" y="9428067"/>
                  </a:lnTo>
                  <a:lnTo>
                    <a:pt x="8751865" y="9441237"/>
                  </a:lnTo>
                  <a:lnTo>
                    <a:pt x="10404640" y="9441237"/>
                  </a:lnTo>
                  <a:cubicBezTo>
                    <a:pt x="10536335" y="9434647"/>
                    <a:pt x="10569262" y="9401727"/>
                    <a:pt x="10549505" y="9263445"/>
                  </a:cubicBezTo>
                  <a:cubicBezTo>
                    <a:pt x="10529747" y="9092241"/>
                    <a:pt x="10503415" y="8927625"/>
                    <a:pt x="10470488" y="8763003"/>
                  </a:cubicBezTo>
                  <a:cubicBezTo>
                    <a:pt x="10121493" y="7083896"/>
                    <a:pt x="9291821" y="5687929"/>
                    <a:pt x="7948525" y="4614611"/>
                  </a:cubicBezTo>
                  <a:cubicBezTo>
                    <a:pt x="6736932" y="3626898"/>
                    <a:pt x="5222439" y="3086949"/>
                    <a:pt x="3661857" y="3073779"/>
                  </a:cubicBezTo>
                  <a:cubicBezTo>
                    <a:pt x="3398467" y="3067198"/>
                    <a:pt x="3135078" y="3086949"/>
                    <a:pt x="2871688" y="3093537"/>
                  </a:cubicBezTo>
                  <a:cubicBezTo>
                    <a:pt x="2713654" y="3100118"/>
                    <a:pt x="2687315" y="3060610"/>
                    <a:pt x="2753162" y="2909164"/>
                  </a:cubicBezTo>
                  <a:cubicBezTo>
                    <a:pt x="2805840" y="2803808"/>
                    <a:pt x="2858518" y="2705033"/>
                    <a:pt x="2911196" y="2599677"/>
                  </a:cubicBezTo>
                  <a:cubicBezTo>
                    <a:pt x="3296402" y="1822677"/>
                    <a:pt x="3684902" y="1045676"/>
                    <a:pt x="4074226" y="268676"/>
                  </a:cubicBezTo>
                  <a:lnTo>
                    <a:pt x="4208849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5AA8EFB6-3D2C-5675-4A1A-85D57C9423D4}"/>
                </a:ext>
              </a:extLst>
            </p:cNvPr>
            <p:cNvSpPr/>
            <p:nvPr/>
          </p:nvSpPr>
          <p:spPr>
            <a:xfrm>
              <a:off x="-24885467" y="-6507752"/>
              <a:ext cx="2018037" cy="11908761"/>
            </a:xfrm>
            <a:custGeom>
              <a:avLst/>
              <a:gdLst>
                <a:gd name="connsiteX0" fmla="*/ 952 w 291914"/>
                <a:gd name="connsiteY0" fmla="*/ 1722632 h 1722631"/>
                <a:gd name="connsiteX1" fmla="*/ 952 w 291914"/>
                <a:gd name="connsiteY1" fmla="*/ 1374969 h 1722631"/>
                <a:gd name="connsiteX2" fmla="*/ 952 w 291914"/>
                <a:gd name="connsiteY2" fmla="*/ 1342584 h 1722631"/>
                <a:gd name="connsiteX3" fmla="*/ 3810 w 291914"/>
                <a:gd name="connsiteY3" fmla="*/ 465331 h 1722631"/>
                <a:gd name="connsiteX4" fmla="*/ 3810 w 291914"/>
                <a:gd name="connsiteY4" fmla="*/ 40516 h 1722631"/>
                <a:gd name="connsiteX5" fmla="*/ 48577 w 291914"/>
                <a:gd name="connsiteY5" fmla="*/ 4321 h 1722631"/>
                <a:gd name="connsiteX6" fmla="*/ 271463 w 291914"/>
                <a:gd name="connsiteY6" fmla="*/ 96714 h 1722631"/>
                <a:gd name="connsiteX7" fmla="*/ 290513 w 291914"/>
                <a:gd name="connsiteY7" fmla="*/ 136719 h 1722631"/>
                <a:gd name="connsiteX8" fmla="*/ 211455 w 291914"/>
                <a:gd name="connsiteY8" fmla="*/ 576774 h 1722631"/>
                <a:gd name="connsiteX9" fmla="*/ 122872 w 291914"/>
                <a:gd name="connsiteY9" fmla="*/ 1071122 h 1722631"/>
                <a:gd name="connsiteX10" fmla="*/ 16192 w 291914"/>
                <a:gd name="connsiteY10" fmla="*/ 1664529 h 1722631"/>
                <a:gd name="connsiteX11" fmla="*/ 0 w 291914"/>
                <a:gd name="connsiteY11" fmla="*/ 1720726 h 1722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1914" h="1722631">
                  <a:moveTo>
                    <a:pt x="952" y="1722632"/>
                  </a:moveTo>
                  <a:lnTo>
                    <a:pt x="952" y="1374969"/>
                  </a:lnTo>
                  <a:cubicBezTo>
                    <a:pt x="952" y="1364491"/>
                    <a:pt x="952" y="1354014"/>
                    <a:pt x="952" y="1342584"/>
                  </a:cubicBezTo>
                  <a:cubicBezTo>
                    <a:pt x="1905" y="1050166"/>
                    <a:pt x="2858" y="757749"/>
                    <a:pt x="3810" y="465331"/>
                  </a:cubicBezTo>
                  <a:cubicBezTo>
                    <a:pt x="3810" y="323409"/>
                    <a:pt x="3810" y="182439"/>
                    <a:pt x="3810" y="40516"/>
                  </a:cubicBezTo>
                  <a:cubicBezTo>
                    <a:pt x="3810" y="-1394"/>
                    <a:pt x="8572" y="-5204"/>
                    <a:pt x="48577" y="4321"/>
                  </a:cubicBezTo>
                  <a:cubicBezTo>
                    <a:pt x="126683" y="24324"/>
                    <a:pt x="201930" y="54804"/>
                    <a:pt x="271463" y="96714"/>
                  </a:cubicBezTo>
                  <a:cubicBezTo>
                    <a:pt x="287655" y="103381"/>
                    <a:pt x="295275" y="120527"/>
                    <a:pt x="290513" y="136719"/>
                  </a:cubicBezTo>
                  <a:cubicBezTo>
                    <a:pt x="262890" y="283404"/>
                    <a:pt x="238125" y="430089"/>
                    <a:pt x="211455" y="576774"/>
                  </a:cubicBezTo>
                  <a:cubicBezTo>
                    <a:pt x="181927" y="741557"/>
                    <a:pt x="152400" y="906339"/>
                    <a:pt x="122872" y="1071122"/>
                  </a:cubicBezTo>
                  <a:cubicBezTo>
                    <a:pt x="87630" y="1269241"/>
                    <a:pt x="51435" y="1466409"/>
                    <a:pt x="16192" y="1664529"/>
                  </a:cubicBezTo>
                  <a:cubicBezTo>
                    <a:pt x="12383" y="1681674"/>
                    <a:pt x="10477" y="1692151"/>
                    <a:pt x="0" y="1720726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068996A8-2526-FD2A-C33E-8455691C2B74}"/>
                </a:ext>
              </a:extLst>
            </p:cNvPr>
            <p:cNvSpPr/>
            <p:nvPr/>
          </p:nvSpPr>
          <p:spPr>
            <a:xfrm>
              <a:off x="-23640953" y="-8214581"/>
              <a:ext cx="3746470" cy="11126555"/>
            </a:xfrm>
            <a:custGeom>
              <a:avLst/>
              <a:gdLst>
                <a:gd name="connsiteX0" fmla="*/ 953 w 541936"/>
                <a:gd name="connsiteY0" fmla="*/ 1608531 h 1609483"/>
                <a:gd name="connsiteX1" fmla="*/ 89535 w 541936"/>
                <a:gd name="connsiteY1" fmla="*/ 1138949 h 1609483"/>
                <a:gd name="connsiteX2" fmla="*/ 224790 w 541936"/>
                <a:gd name="connsiteY2" fmla="*/ 384568 h 1609483"/>
                <a:gd name="connsiteX3" fmla="*/ 285750 w 541936"/>
                <a:gd name="connsiteY3" fmla="*/ 43573 h 1609483"/>
                <a:gd name="connsiteX4" fmla="*/ 342900 w 541936"/>
                <a:gd name="connsiteY4" fmla="*/ 13093 h 1609483"/>
                <a:gd name="connsiteX5" fmla="*/ 521017 w 541936"/>
                <a:gd name="connsiteY5" fmla="*/ 123583 h 1609483"/>
                <a:gd name="connsiteX6" fmla="*/ 535305 w 541936"/>
                <a:gd name="connsiteY6" fmla="*/ 173113 h 1609483"/>
                <a:gd name="connsiteX7" fmla="*/ 456248 w 541936"/>
                <a:gd name="connsiteY7" fmla="*/ 387426 h 1609483"/>
                <a:gd name="connsiteX8" fmla="*/ 200025 w 541936"/>
                <a:gd name="connsiteY8" fmla="*/ 1085608 h 1609483"/>
                <a:gd name="connsiteX9" fmla="*/ 35242 w 541936"/>
                <a:gd name="connsiteY9" fmla="*/ 1530426 h 1609483"/>
                <a:gd name="connsiteX10" fmla="*/ 0 w 541936"/>
                <a:gd name="connsiteY10" fmla="*/ 1609483 h 1609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1936" h="1609483">
                  <a:moveTo>
                    <a:pt x="953" y="1608531"/>
                  </a:moveTo>
                  <a:cubicBezTo>
                    <a:pt x="24765" y="1478038"/>
                    <a:pt x="66675" y="1268488"/>
                    <a:pt x="89535" y="1138949"/>
                  </a:cubicBezTo>
                  <a:cubicBezTo>
                    <a:pt x="134303" y="887488"/>
                    <a:pt x="180023" y="636028"/>
                    <a:pt x="224790" y="384568"/>
                  </a:cubicBezTo>
                  <a:cubicBezTo>
                    <a:pt x="244792" y="270268"/>
                    <a:pt x="264795" y="156921"/>
                    <a:pt x="285750" y="43573"/>
                  </a:cubicBezTo>
                  <a:cubicBezTo>
                    <a:pt x="294323" y="-1194"/>
                    <a:pt x="289560" y="-11672"/>
                    <a:pt x="342900" y="13093"/>
                  </a:cubicBezTo>
                  <a:cubicBezTo>
                    <a:pt x="406717" y="41668"/>
                    <a:pt x="466725" y="78816"/>
                    <a:pt x="521017" y="123583"/>
                  </a:cubicBezTo>
                  <a:cubicBezTo>
                    <a:pt x="545783" y="143586"/>
                    <a:pt x="545783" y="144538"/>
                    <a:pt x="535305" y="173113"/>
                  </a:cubicBezTo>
                  <a:cubicBezTo>
                    <a:pt x="509588" y="244551"/>
                    <a:pt x="482917" y="315988"/>
                    <a:pt x="456248" y="387426"/>
                  </a:cubicBezTo>
                  <a:cubicBezTo>
                    <a:pt x="370523" y="619836"/>
                    <a:pt x="284798" y="853199"/>
                    <a:pt x="200025" y="1085608"/>
                  </a:cubicBezTo>
                  <a:cubicBezTo>
                    <a:pt x="145733" y="1234199"/>
                    <a:pt x="90488" y="1382788"/>
                    <a:pt x="35242" y="1530426"/>
                  </a:cubicBezTo>
                  <a:lnTo>
                    <a:pt x="0" y="1609483"/>
                  </a:ln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8381417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1000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18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57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12" dur="96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3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4" dur="57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5" presetID="2" presetClass="entr" presetSubtype="4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1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1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1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1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23" repeatCount="indefinite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24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5" fill="hold">
                      <p:stCondLst>
                        <p:cond delay="0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8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  <p:bldLst>
      <p:bldP spid="31" grpId="0" animBg="1"/>
      <p:bldP spid="32" grpId="0" animBg="1"/>
      <p:bldP spid="33" grpId="0" animBg="1"/>
      <p:bldP spid="34" grpId="0" animBg="1"/>
      <p:bldP spid="35" grpId="0"/>
      <p:bldP spid="36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20">
            <a:extLst>
              <a:ext uri="{FF2B5EF4-FFF2-40B4-BE49-F238E27FC236}">
                <a16:creationId xmlns:a16="http://schemas.microsoft.com/office/drawing/2014/main" id="{AC019CDB-954F-D28C-B11F-FEC125600E1B}"/>
              </a:ext>
            </a:extLst>
          </p:cNvPr>
          <p:cNvGrpSpPr/>
          <p:nvPr/>
        </p:nvGrpSpPr>
        <p:grpSpPr>
          <a:xfrm>
            <a:off x="519439" y="446240"/>
            <a:ext cx="23290086" cy="12774192"/>
            <a:chOff x="519439" y="446240"/>
            <a:chExt cx="23290086" cy="12774192"/>
          </a:xfrm>
        </p:grpSpPr>
        <p:sp>
          <p:nvSpPr>
            <p:cNvPr id="2" name="Slide Number Placeholder 5">
              <a:extLst>
                <a:ext uri="{FF2B5EF4-FFF2-40B4-BE49-F238E27FC236}">
                  <a16:creationId xmlns:a16="http://schemas.microsoft.com/office/drawing/2014/main" id="{3B4D108F-5A82-4C4C-EE2A-90BCDAC3F3C0}"/>
                </a:ext>
              </a:extLst>
            </p:cNvPr>
            <p:cNvSpPr txBox="1">
              <a:spLocks/>
            </p:cNvSpPr>
            <p:nvPr/>
          </p:nvSpPr>
          <p:spPr>
            <a:xfrm>
              <a:off x="23408916" y="8877743"/>
              <a:ext cx="324565" cy="582761"/>
            </a:xfrm>
            <a:prstGeom prst="rect">
              <a:avLst/>
            </a:prstGeom>
          </p:spPr>
          <p:txBody>
            <a:bodyPr vert="horz" wrap="none" lIns="121920" tIns="60960" rIns="121920" bIns="60960" rtlCol="0" anchor="ctr">
              <a:noAutofit/>
            </a:bodyPr>
            <a:lstStyle>
              <a:defPPr>
                <a:defRPr lang="en-US"/>
              </a:defPPr>
              <a:lvl1pPr marL="0" algn="r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fld id="{1A290D8D-6BA0-418D-AFED-C65293F70DA0}" type="slidenum">
                <a:rPr lang="en-US" sz="2400" b="1" smtClean="0">
                  <a:solidFill>
                    <a:schemeClr val="bg1"/>
                  </a:solidFill>
                  <a:latin typeface="+mj-lt"/>
                </a:rPr>
                <a:pPr algn="ctr"/>
                <a:t>14</a:t>
              </a:fld>
              <a:endParaRPr lang="en-US" sz="1400" b="1" dirty="0">
                <a:solidFill>
                  <a:schemeClr val="bg1"/>
                </a:solidFill>
                <a:latin typeface="+mj-lt"/>
              </a:endParaRPr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7782EFCD-115C-C1BD-0A90-18BA7280D534}"/>
                </a:ext>
              </a:extLst>
            </p:cNvPr>
            <p:cNvGrpSpPr/>
            <p:nvPr/>
          </p:nvGrpSpPr>
          <p:grpSpPr>
            <a:xfrm>
              <a:off x="23332870" y="446240"/>
              <a:ext cx="476655" cy="337457"/>
              <a:chOff x="6167336" y="2130357"/>
              <a:chExt cx="476655" cy="337457"/>
            </a:xfrm>
          </p:grpSpPr>
          <p:cxnSp>
            <p:nvCxnSpPr>
              <p:cNvPr id="5" name="Straight Connector 4">
                <a:extLst>
                  <a:ext uri="{FF2B5EF4-FFF2-40B4-BE49-F238E27FC236}">
                    <a16:creationId xmlns:a16="http://schemas.microsoft.com/office/drawing/2014/main" id="{95B6EF32-BCB6-98D3-A306-50CDBEA686A4}"/>
                  </a:ext>
                </a:extLst>
              </p:cNvPr>
              <p:cNvCxnSpPr/>
              <p:nvPr userDrawn="1"/>
            </p:nvCxnSpPr>
            <p:spPr>
              <a:xfrm>
                <a:off x="6167336" y="2130357"/>
                <a:ext cx="476655" cy="0"/>
              </a:xfrm>
              <a:prstGeom prst="line">
                <a:avLst/>
              </a:prstGeom>
              <a:ln w="190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" name="Straight Connector 6">
                <a:extLst>
                  <a:ext uri="{FF2B5EF4-FFF2-40B4-BE49-F238E27FC236}">
                    <a16:creationId xmlns:a16="http://schemas.microsoft.com/office/drawing/2014/main" id="{32E49360-B304-AB4B-1EA6-863ED6FA8975}"/>
                  </a:ext>
                </a:extLst>
              </p:cNvPr>
              <p:cNvCxnSpPr/>
              <p:nvPr userDrawn="1"/>
            </p:nvCxnSpPr>
            <p:spPr>
              <a:xfrm>
                <a:off x="6167336" y="2299086"/>
                <a:ext cx="476655" cy="0"/>
              </a:xfrm>
              <a:prstGeom prst="line">
                <a:avLst/>
              </a:prstGeom>
              <a:ln w="190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" name="Straight Connector 7">
                <a:extLst>
                  <a:ext uri="{FF2B5EF4-FFF2-40B4-BE49-F238E27FC236}">
                    <a16:creationId xmlns:a16="http://schemas.microsoft.com/office/drawing/2014/main" id="{53B41F88-1A74-E815-2461-2C25D15BCE64}"/>
                  </a:ext>
                </a:extLst>
              </p:cNvPr>
              <p:cNvCxnSpPr/>
              <p:nvPr userDrawn="1"/>
            </p:nvCxnSpPr>
            <p:spPr>
              <a:xfrm>
                <a:off x="6167336" y="2467814"/>
                <a:ext cx="476655" cy="0"/>
              </a:xfrm>
              <a:prstGeom prst="line">
                <a:avLst/>
              </a:prstGeom>
              <a:ln w="190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FFC29795-AB45-44B4-1221-E6147C108375}"/>
                </a:ext>
              </a:extLst>
            </p:cNvPr>
            <p:cNvGrpSpPr/>
            <p:nvPr/>
          </p:nvGrpSpPr>
          <p:grpSpPr>
            <a:xfrm>
              <a:off x="23519785" y="12234167"/>
              <a:ext cx="102824" cy="698136"/>
              <a:chOff x="729638" y="739163"/>
              <a:chExt cx="102824" cy="698136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7BA18B73-9852-54C8-A5A5-DB323456823C}"/>
                  </a:ext>
                </a:extLst>
              </p:cNvPr>
              <p:cNvSpPr/>
              <p:nvPr userDrawn="1"/>
            </p:nvSpPr>
            <p:spPr>
              <a:xfrm>
                <a:off x="729638" y="739163"/>
                <a:ext cx="102824" cy="10282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CA2C2FE6-5151-66F2-E86B-2A527B185380}"/>
                  </a:ext>
                </a:extLst>
              </p:cNvPr>
              <p:cNvSpPr/>
              <p:nvPr userDrawn="1"/>
            </p:nvSpPr>
            <p:spPr>
              <a:xfrm>
                <a:off x="729638" y="1036819"/>
                <a:ext cx="102824" cy="10282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E29F1347-0FBA-B079-F5EE-A44ACF97247F}"/>
                  </a:ext>
                </a:extLst>
              </p:cNvPr>
              <p:cNvSpPr/>
              <p:nvPr userDrawn="1"/>
            </p:nvSpPr>
            <p:spPr>
              <a:xfrm>
                <a:off x="729638" y="1334475"/>
                <a:ext cx="102824" cy="10282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D3B4B49-B4EB-A5E9-FF74-AE73DC5DE47C}"/>
                </a:ext>
              </a:extLst>
            </p:cNvPr>
            <p:cNvSpPr/>
            <p:nvPr/>
          </p:nvSpPr>
          <p:spPr>
            <a:xfrm>
              <a:off x="724593" y="12000254"/>
              <a:ext cx="184730" cy="584775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endParaRPr lang="en-US" sz="3200" dirty="0">
                <a:solidFill>
                  <a:schemeClr val="bg1"/>
                </a:solidFill>
                <a:latin typeface="Designball-Social-01" pitchFamily="2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3E3D0A0-C080-6507-0EFB-94718458DAAE}"/>
                </a:ext>
              </a:extLst>
            </p:cNvPr>
            <p:cNvSpPr/>
            <p:nvPr/>
          </p:nvSpPr>
          <p:spPr>
            <a:xfrm>
              <a:off x="519439" y="11364851"/>
              <a:ext cx="595036" cy="584775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/>
              <a:endParaRPr lang="en-US" sz="3200" dirty="0">
                <a:solidFill>
                  <a:schemeClr val="bg1"/>
                </a:solidFill>
                <a:latin typeface="Designball-Social-01" pitchFamily="2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A2624A4-4260-B761-C959-7ADC918299B7}"/>
                </a:ext>
              </a:extLst>
            </p:cNvPr>
            <p:cNvSpPr/>
            <p:nvPr/>
          </p:nvSpPr>
          <p:spPr>
            <a:xfrm>
              <a:off x="724594" y="12635657"/>
              <a:ext cx="184730" cy="584775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/>
              <a:endParaRPr lang="en-US" sz="3200" dirty="0">
                <a:solidFill>
                  <a:schemeClr val="bg1"/>
                </a:solidFill>
                <a:latin typeface="Designball-Social-01" pitchFamily="2" charset="0"/>
              </a:endParaRPr>
            </a:p>
          </p:txBody>
        </p:sp>
        <p:grpSp>
          <p:nvGrpSpPr>
            <p:cNvPr id="16" name="Graphic 29">
              <a:extLst>
                <a:ext uri="{FF2B5EF4-FFF2-40B4-BE49-F238E27FC236}">
                  <a16:creationId xmlns:a16="http://schemas.microsoft.com/office/drawing/2014/main" id="{40D41346-3895-6F82-CD19-AE352EDA93F3}"/>
                </a:ext>
              </a:extLst>
            </p:cNvPr>
            <p:cNvGrpSpPr/>
            <p:nvPr/>
          </p:nvGrpSpPr>
          <p:grpSpPr>
            <a:xfrm>
              <a:off x="631422" y="446240"/>
              <a:ext cx="589131" cy="1104816"/>
              <a:chOff x="1502100" y="653619"/>
              <a:chExt cx="2035484" cy="3817207"/>
            </a:xfrm>
            <a:solidFill>
              <a:schemeClr val="bg1"/>
            </a:solidFill>
          </p:grpSpPr>
          <p:sp>
            <p:nvSpPr>
              <p:cNvPr id="17" name="Freeform 16">
                <a:extLst>
                  <a:ext uri="{FF2B5EF4-FFF2-40B4-BE49-F238E27FC236}">
                    <a16:creationId xmlns:a16="http://schemas.microsoft.com/office/drawing/2014/main" id="{A81B5D8E-CC56-2A6D-36AC-6BB5BB1DC25C}"/>
                  </a:ext>
                </a:extLst>
              </p:cNvPr>
              <p:cNvSpPr/>
              <p:nvPr/>
            </p:nvSpPr>
            <p:spPr>
              <a:xfrm>
                <a:off x="1502100" y="653619"/>
                <a:ext cx="2035484" cy="3817207"/>
              </a:xfrm>
              <a:custGeom>
                <a:avLst/>
                <a:gdLst>
                  <a:gd name="connsiteX0" fmla="*/ 1775452 w 2035484"/>
                  <a:gd name="connsiteY0" fmla="*/ 2695942 h 3817207"/>
                  <a:gd name="connsiteX1" fmla="*/ 1556377 w 2035484"/>
                  <a:gd name="connsiteY1" fmla="*/ 2695942 h 3817207"/>
                  <a:gd name="connsiteX2" fmla="*/ 1516372 w 2035484"/>
                  <a:gd name="connsiteY2" fmla="*/ 2664509 h 3817207"/>
                  <a:gd name="connsiteX3" fmla="*/ 1423027 w 2035484"/>
                  <a:gd name="connsiteY3" fmla="*/ 2477819 h 3817207"/>
                  <a:gd name="connsiteX4" fmla="*/ 1031549 w 2035484"/>
                  <a:gd name="connsiteY4" fmla="*/ 2283509 h 3817207"/>
                  <a:gd name="connsiteX5" fmla="*/ 508627 w 2035484"/>
                  <a:gd name="connsiteY5" fmla="*/ 2785477 h 3817207"/>
                  <a:gd name="connsiteX6" fmla="*/ 1010594 w 2035484"/>
                  <a:gd name="connsiteY6" fmla="*/ 3308399 h 3817207"/>
                  <a:gd name="connsiteX7" fmla="*/ 1515419 w 2035484"/>
                  <a:gd name="connsiteY7" fmla="*/ 2931209 h 3817207"/>
                  <a:gd name="connsiteX8" fmla="*/ 1518277 w 2035484"/>
                  <a:gd name="connsiteY8" fmla="*/ 2917874 h 3817207"/>
                  <a:gd name="connsiteX9" fmla="*/ 1546852 w 2035484"/>
                  <a:gd name="connsiteY9" fmla="*/ 2895967 h 3817207"/>
                  <a:gd name="connsiteX10" fmla="*/ 1985955 w 2035484"/>
                  <a:gd name="connsiteY10" fmla="*/ 2895967 h 3817207"/>
                  <a:gd name="connsiteX11" fmla="*/ 2022149 w 2035484"/>
                  <a:gd name="connsiteY11" fmla="*/ 2895967 h 3817207"/>
                  <a:gd name="connsiteX12" fmla="*/ 2035484 w 2035484"/>
                  <a:gd name="connsiteY12" fmla="*/ 2909302 h 3817207"/>
                  <a:gd name="connsiteX13" fmla="*/ 2035484 w 2035484"/>
                  <a:gd name="connsiteY13" fmla="*/ 2912159 h 3817207"/>
                  <a:gd name="connsiteX14" fmla="*/ 2033580 w 2035484"/>
                  <a:gd name="connsiteY14" fmla="*/ 2935019 h 3817207"/>
                  <a:gd name="connsiteX15" fmla="*/ 1294440 w 2035484"/>
                  <a:gd name="connsiteY15" fmla="*/ 3779887 h 3817207"/>
                  <a:gd name="connsiteX16" fmla="*/ 37139 w 2035484"/>
                  <a:gd name="connsiteY16" fmla="*/ 3068369 h 3817207"/>
                  <a:gd name="connsiteX17" fmla="*/ 65714 w 2035484"/>
                  <a:gd name="connsiteY17" fmla="*/ 2434004 h 3817207"/>
                  <a:gd name="connsiteX18" fmla="*/ 315269 w 2035484"/>
                  <a:gd name="connsiteY18" fmla="*/ 1756777 h 3817207"/>
                  <a:gd name="connsiteX19" fmla="*/ 944872 w 2035484"/>
                  <a:gd name="connsiteY19" fmla="*/ 42277 h 3817207"/>
                  <a:gd name="connsiteX20" fmla="*/ 1009642 w 2035484"/>
                  <a:gd name="connsiteY20" fmla="*/ 20369 h 3817207"/>
                  <a:gd name="connsiteX21" fmla="*/ 1340159 w 2035484"/>
                  <a:gd name="connsiteY21" fmla="*/ 531862 h 3817207"/>
                  <a:gd name="connsiteX22" fmla="*/ 1266817 w 2035484"/>
                  <a:gd name="connsiteY22" fmla="*/ 1033829 h 3817207"/>
                  <a:gd name="connsiteX23" fmla="*/ 929632 w 2035484"/>
                  <a:gd name="connsiteY23" fmla="*/ 1708199 h 3817207"/>
                  <a:gd name="connsiteX24" fmla="*/ 906772 w 2035484"/>
                  <a:gd name="connsiteY24" fmla="*/ 1752967 h 3817207"/>
                  <a:gd name="connsiteX25" fmla="*/ 923917 w 2035484"/>
                  <a:gd name="connsiteY25" fmla="*/ 1779637 h 3817207"/>
                  <a:gd name="connsiteX26" fmla="*/ 1038217 w 2035484"/>
                  <a:gd name="connsiteY26" fmla="*/ 1776779 h 3817207"/>
                  <a:gd name="connsiteX27" fmla="*/ 1658294 w 2035484"/>
                  <a:gd name="connsiteY27" fmla="*/ 1999664 h 3817207"/>
                  <a:gd name="connsiteX28" fmla="*/ 2023102 w 2035484"/>
                  <a:gd name="connsiteY28" fmla="*/ 2599739 h 3817207"/>
                  <a:gd name="connsiteX29" fmla="*/ 2034532 w 2035484"/>
                  <a:gd name="connsiteY29" fmla="*/ 2672129 h 3817207"/>
                  <a:gd name="connsiteX30" fmla="*/ 2013577 w 2035484"/>
                  <a:gd name="connsiteY30" fmla="*/ 2697847 h 3817207"/>
                  <a:gd name="connsiteX31" fmla="*/ 1774499 w 2035484"/>
                  <a:gd name="connsiteY31" fmla="*/ 2697847 h 3817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035484" h="3817207">
                    <a:moveTo>
                      <a:pt x="1775452" y="2695942"/>
                    </a:moveTo>
                    <a:lnTo>
                      <a:pt x="1556377" y="2695942"/>
                    </a:lnTo>
                    <a:cubicBezTo>
                      <a:pt x="1525897" y="2695942"/>
                      <a:pt x="1524944" y="2695942"/>
                      <a:pt x="1516372" y="2664509"/>
                    </a:cubicBezTo>
                    <a:cubicBezTo>
                      <a:pt x="1499227" y="2595929"/>
                      <a:pt x="1466842" y="2533064"/>
                      <a:pt x="1423027" y="2477819"/>
                    </a:cubicBezTo>
                    <a:cubicBezTo>
                      <a:pt x="1322062" y="2353994"/>
                      <a:pt x="1191569" y="2287319"/>
                      <a:pt x="1031549" y="2283509"/>
                    </a:cubicBezTo>
                    <a:cubicBezTo>
                      <a:pt x="748657" y="2277794"/>
                      <a:pt x="514342" y="2502584"/>
                      <a:pt x="508627" y="2785477"/>
                    </a:cubicBezTo>
                    <a:cubicBezTo>
                      <a:pt x="502912" y="3068369"/>
                      <a:pt x="727702" y="3302684"/>
                      <a:pt x="1010594" y="3308399"/>
                    </a:cubicBezTo>
                    <a:cubicBezTo>
                      <a:pt x="1244909" y="3313162"/>
                      <a:pt x="1453507" y="3157904"/>
                      <a:pt x="1515419" y="2931209"/>
                    </a:cubicBezTo>
                    <a:cubicBezTo>
                      <a:pt x="1516372" y="2926447"/>
                      <a:pt x="1517324" y="2922637"/>
                      <a:pt x="1518277" y="2917874"/>
                    </a:cubicBezTo>
                    <a:cubicBezTo>
                      <a:pt x="1523992" y="2897872"/>
                      <a:pt x="1525897" y="2895967"/>
                      <a:pt x="1546852" y="2895967"/>
                    </a:cubicBezTo>
                    <a:lnTo>
                      <a:pt x="1985955" y="2895967"/>
                    </a:lnTo>
                    <a:cubicBezTo>
                      <a:pt x="1998337" y="2895967"/>
                      <a:pt x="2009767" y="2895967"/>
                      <a:pt x="2022149" y="2895967"/>
                    </a:cubicBezTo>
                    <a:cubicBezTo>
                      <a:pt x="2029769" y="2895967"/>
                      <a:pt x="2035484" y="2901682"/>
                      <a:pt x="2035484" y="2909302"/>
                    </a:cubicBezTo>
                    <a:cubicBezTo>
                      <a:pt x="2035484" y="2909302"/>
                      <a:pt x="2035484" y="2911207"/>
                      <a:pt x="2035484" y="2912159"/>
                    </a:cubicBezTo>
                    <a:cubicBezTo>
                      <a:pt x="2035484" y="2919779"/>
                      <a:pt x="2035484" y="2927399"/>
                      <a:pt x="2033580" y="2935019"/>
                    </a:cubicBezTo>
                    <a:cubicBezTo>
                      <a:pt x="1976430" y="3339832"/>
                      <a:pt x="1688774" y="3672254"/>
                      <a:pt x="1294440" y="3779887"/>
                    </a:cubicBezTo>
                    <a:cubicBezTo>
                      <a:pt x="750562" y="3930382"/>
                      <a:pt x="187634" y="3612247"/>
                      <a:pt x="37139" y="3068369"/>
                    </a:cubicBezTo>
                    <a:cubicBezTo>
                      <a:pt x="-20963" y="2858819"/>
                      <a:pt x="-10486" y="2636887"/>
                      <a:pt x="65714" y="2434004"/>
                    </a:cubicBezTo>
                    <a:cubicBezTo>
                      <a:pt x="148582" y="2208262"/>
                      <a:pt x="232402" y="1982519"/>
                      <a:pt x="315269" y="1756777"/>
                    </a:cubicBezTo>
                    <a:cubicBezTo>
                      <a:pt x="524819" y="1185277"/>
                      <a:pt x="735322" y="613777"/>
                      <a:pt x="944872" y="42277"/>
                    </a:cubicBezTo>
                    <a:cubicBezTo>
                      <a:pt x="963922" y="-9158"/>
                      <a:pt x="965827" y="-10111"/>
                      <a:pt x="1009642" y="20369"/>
                    </a:cubicBezTo>
                    <a:cubicBezTo>
                      <a:pt x="1189665" y="146099"/>
                      <a:pt x="1301107" y="316597"/>
                      <a:pt x="1340159" y="531862"/>
                    </a:cubicBezTo>
                    <a:cubicBezTo>
                      <a:pt x="1372544" y="702359"/>
                      <a:pt x="1346827" y="879524"/>
                      <a:pt x="1266817" y="1033829"/>
                    </a:cubicBezTo>
                    <a:cubicBezTo>
                      <a:pt x="1154422" y="1258619"/>
                      <a:pt x="1041074" y="1483409"/>
                      <a:pt x="929632" y="1708199"/>
                    </a:cubicBezTo>
                    <a:cubicBezTo>
                      <a:pt x="922012" y="1723439"/>
                      <a:pt x="914392" y="1737727"/>
                      <a:pt x="906772" y="1752967"/>
                    </a:cubicBezTo>
                    <a:cubicBezTo>
                      <a:pt x="897247" y="1774874"/>
                      <a:pt x="901057" y="1780589"/>
                      <a:pt x="923917" y="1779637"/>
                    </a:cubicBezTo>
                    <a:cubicBezTo>
                      <a:pt x="962017" y="1778684"/>
                      <a:pt x="1000117" y="1775827"/>
                      <a:pt x="1038217" y="1776779"/>
                    </a:cubicBezTo>
                    <a:cubicBezTo>
                      <a:pt x="1263959" y="1778684"/>
                      <a:pt x="1483034" y="1856789"/>
                      <a:pt x="1658294" y="1999664"/>
                    </a:cubicBezTo>
                    <a:cubicBezTo>
                      <a:pt x="1852605" y="2154922"/>
                      <a:pt x="1972619" y="2356852"/>
                      <a:pt x="2023102" y="2599739"/>
                    </a:cubicBezTo>
                    <a:cubicBezTo>
                      <a:pt x="2027865" y="2623552"/>
                      <a:pt x="2031674" y="2647364"/>
                      <a:pt x="2034532" y="2672129"/>
                    </a:cubicBezTo>
                    <a:cubicBezTo>
                      <a:pt x="2037390" y="2692132"/>
                      <a:pt x="2032627" y="2696894"/>
                      <a:pt x="2013577" y="2697847"/>
                    </a:cubicBezTo>
                    <a:lnTo>
                      <a:pt x="1774499" y="269784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id="{14215584-C9FE-B93A-00FA-E17ADA999091}"/>
                  </a:ext>
                </a:extLst>
              </p:cNvPr>
              <p:cNvSpPr/>
              <p:nvPr/>
            </p:nvSpPr>
            <p:spPr>
              <a:xfrm>
                <a:off x="1503045" y="1064002"/>
                <a:ext cx="291914" cy="1722631"/>
              </a:xfrm>
              <a:custGeom>
                <a:avLst/>
                <a:gdLst>
                  <a:gd name="connsiteX0" fmla="*/ 952 w 291914"/>
                  <a:gd name="connsiteY0" fmla="*/ 1722632 h 1722631"/>
                  <a:gd name="connsiteX1" fmla="*/ 952 w 291914"/>
                  <a:gd name="connsiteY1" fmla="*/ 1374969 h 1722631"/>
                  <a:gd name="connsiteX2" fmla="*/ 952 w 291914"/>
                  <a:gd name="connsiteY2" fmla="*/ 1342584 h 1722631"/>
                  <a:gd name="connsiteX3" fmla="*/ 3810 w 291914"/>
                  <a:gd name="connsiteY3" fmla="*/ 465331 h 1722631"/>
                  <a:gd name="connsiteX4" fmla="*/ 3810 w 291914"/>
                  <a:gd name="connsiteY4" fmla="*/ 40516 h 1722631"/>
                  <a:gd name="connsiteX5" fmla="*/ 48577 w 291914"/>
                  <a:gd name="connsiteY5" fmla="*/ 4321 h 1722631"/>
                  <a:gd name="connsiteX6" fmla="*/ 271463 w 291914"/>
                  <a:gd name="connsiteY6" fmla="*/ 96714 h 1722631"/>
                  <a:gd name="connsiteX7" fmla="*/ 290513 w 291914"/>
                  <a:gd name="connsiteY7" fmla="*/ 136719 h 1722631"/>
                  <a:gd name="connsiteX8" fmla="*/ 211455 w 291914"/>
                  <a:gd name="connsiteY8" fmla="*/ 576774 h 1722631"/>
                  <a:gd name="connsiteX9" fmla="*/ 122872 w 291914"/>
                  <a:gd name="connsiteY9" fmla="*/ 1071122 h 1722631"/>
                  <a:gd name="connsiteX10" fmla="*/ 16192 w 291914"/>
                  <a:gd name="connsiteY10" fmla="*/ 1664529 h 1722631"/>
                  <a:gd name="connsiteX11" fmla="*/ 0 w 291914"/>
                  <a:gd name="connsiteY11" fmla="*/ 1720726 h 17226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91914" h="1722631">
                    <a:moveTo>
                      <a:pt x="952" y="1722632"/>
                    </a:moveTo>
                    <a:lnTo>
                      <a:pt x="952" y="1374969"/>
                    </a:lnTo>
                    <a:cubicBezTo>
                      <a:pt x="952" y="1364491"/>
                      <a:pt x="952" y="1354014"/>
                      <a:pt x="952" y="1342584"/>
                    </a:cubicBezTo>
                    <a:cubicBezTo>
                      <a:pt x="1905" y="1050166"/>
                      <a:pt x="2858" y="757749"/>
                      <a:pt x="3810" y="465331"/>
                    </a:cubicBezTo>
                    <a:cubicBezTo>
                      <a:pt x="3810" y="323409"/>
                      <a:pt x="3810" y="182439"/>
                      <a:pt x="3810" y="40516"/>
                    </a:cubicBezTo>
                    <a:cubicBezTo>
                      <a:pt x="3810" y="-1394"/>
                      <a:pt x="8572" y="-5204"/>
                      <a:pt x="48577" y="4321"/>
                    </a:cubicBezTo>
                    <a:cubicBezTo>
                      <a:pt x="126683" y="24324"/>
                      <a:pt x="201930" y="54804"/>
                      <a:pt x="271463" y="96714"/>
                    </a:cubicBezTo>
                    <a:cubicBezTo>
                      <a:pt x="287655" y="103381"/>
                      <a:pt x="295275" y="120527"/>
                      <a:pt x="290513" y="136719"/>
                    </a:cubicBezTo>
                    <a:cubicBezTo>
                      <a:pt x="262890" y="283404"/>
                      <a:pt x="238125" y="430089"/>
                      <a:pt x="211455" y="576774"/>
                    </a:cubicBezTo>
                    <a:cubicBezTo>
                      <a:pt x="181927" y="741557"/>
                      <a:pt x="152400" y="906339"/>
                      <a:pt x="122872" y="1071122"/>
                    </a:cubicBezTo>
                    <a:cubicBezTo>
                      <a:pt x="87630" y="1269241"/>
                      <a:pt x="51435" y="1466409"/>
                      <a:pt x="16192" y="1664529"/>
                    </a:cubicBezTo>
                    <a:cubicBezTo>
                      <a:pt x="12383" y="1681674"/>
                      <a:pt x="10477" y="1692151"/>
                      <a:pt x="0" y="172072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id="{DCB6FBCB-1A3B-FD7C-2891-F9A461FA82CE}"/>
                  </a:ext>
                </a:extLst>
              </p:cNvPr>
              <p:cNvSpPr/>
              <p:nvPr/>
            </p:nvSpPr>
            <p:spPr>
              <a:xfrm>
                <a:off x="1683067" y="817105"/>
                <a:ext cx="541936" cy="1609483"/>
              </a:xfrm>
              <a:custGeom>
                <a:avLst/>
                <a:gdLst>
                  <a:gd name="connsiteX0" fmla="*/ 953 w 541936"/>
                  <a:gd name="connsiteY0" fmla="*/ 1608531 h 1609483"/>
                  <a:gd name="connsiteX1" fmla="*/ 89535 w 541936"/>
                  <a:gd name="connsiteY1" fmla="*/ 1138949 h 1609483"/>
                  <a:gd name="connsiteX2" fmla="*/ 224790 w 541936"/>
                  <a:gd name="connsiteY2" fmla="*/ 384568 h 1609483"/>
                  <a:gd name="connsiteX3" fmla="*/ 285750 w 541936"/>
                  <a:gd name="connsiteY3" fmla="*/ 43573 h 1609483"/>
                  <a:gd name="connsiteX4" fmla="*/ 342900 w 541936"/>
                  <a:gd name="connsiteY4" fmla="*/ 13093 h 1609483"/>
                  <a:gd name="connsiteX5" fmla="*/ 521017 w 541936"/>
                  <a:gd name="connsiteY5" fmla="*/ 123583 h 1609483"/>
                  <a:gd name="connsiteX6" fmla="*/ 535305 w 541936"/>
                  <a:gd name="connsiteY6" fmla="*/ 173113 h 1609483"/>
                  <a:gd name="connsiteX7" fmla="*/ 456248 w 541936"/>
                  <a:gd name="connsiteY7" fmla="*/ 387426 h 1609483"/>
                  <a:gd name="connsiteX8" fmla="*/ 200025 w 541936"/>
                  <a:gd name="connsiteY8" fmla="*/ 1085608 h 1609483"/>
                  <a:gd name="connsiteX9" fmla="*/ 35242 w 541936"/>
                  <a:gd name="connsiteY9" fmla="*/ 1530426 h 1609483"/>
                  <a:gd name="connsiteX10" fmla="*/ 0 w 541936"/>
                  <a:gd name="connsiteY10" fmla="*/ 1609483 h 1609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41936" h="1609483">
                    <a:moveTo>
                      <a:pt x="953" y="1608531"/>
                    </a:moveTo>
                    <a:cubicBezTo>
                      <a:pt x="24765" y="1478038"/>
                      <a:pt x="66675" y="1268488"/>
                      <a:pt x="89535" y="1138949"/>
                    </a:cubicBezTo>
                    <a:cubicBezTo>
                      <a:pt x="134303" y="887488"/>
                      <a:pt x="180023" y="636028"/>
                      <a:pt x="224790" y="384568"/>
                    </a:cubicBezTo>
                    <a:cubicBezTo>
                      <a:pt x="244792" y="270268"/>
                      <a:pt x="264795" y="156921"/>
                      <a:pt x="285750" y="43573"/>
                    </a:cubicBezTo>
                    <a:cubicBezTo>
                      <a:pt x="294323" y="-1194"/>
                      <a:pt x="289560" y="-11672"/>
                      <a:pt x="342900" y="13093"/>
                    </a:cubicBezTo>
                    <a:cubicBezTo>
                      <a:pt x="406717" y="41668"/>
                      <a:pt x="466725" y="78816"/>
                      <a:pt x="521017" y="123583"/>
                    </a:cubicBezTo>
                    <a:cubicBezTo>
                      <a:pt x="545783" y="143586"/>
                      <a:pt x="545783" y="144538"/>
                      <a:pt x="535305" y="173113"/>
                    </a:cubicBezTo>
                    <a:cubicBezTo>
                      <a:pt x="509588" y="244551"/>
                      <a:pt x="482917" y="315988"/>
                      <a:pt x="456248" y="387426"/>
                    </a:cubicBezTo>
                    <a:cubicBezTo>
                      <a:pt x="370523" y="619836"/>
                      <a:pt x="284798" y="853199"/>
                      <a:pt x="200025" y="1085608"/>
                    </a:cubicBezTo>
                    <a:cubicBezTo>
                      <a:pt x="145733" y="1234199"/>
                      <a:pt x="90488" y="1382788"/>
                      <a:pt x="35242" y="1530426"/>
                    </a:cubicBezTo>
                    <a:lnTo>
                      <a:pt x="0" y="160948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837BD61-50D7-6F20-5C3D-4CAEB83CAAFD}"/>
                </a:ext>
              </a:extLst>
            </p:cNvPr>
            <p:cNvSpPr txBox="1"/>
            <p:nvPr/>
          </p:nvSpPr>
          <p:spPr>
            <a:xfrm rot="16200000">
              <a:off x="-1444725" y="5332504"/>
              <a:ext cx="462952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3200" b="1" dirty="0" err="1">
                  <a:solidFill>
                    <a:schemeClr val="bg1"/>
                  </a:solidFill>
                </a:rPr>
                <a:t>breadcrumbsdata.com</a:t>
              </a:r>
              <a:endParaRPr lang="en-US" sz="3200" b="1" dirty="0">
                <a:solidFill>
                  <a:schemeClr val="bg1"/>
                </a:solidFill>
              </a:endParaRPr>
            </a:p>
          </p:txBody>
        </p:sp>
      </p:grpSp>
      <p:pic>
        <p:nvPicPr>
          <p:cNvPr id="6" name="iphone11">
            <a:extLst>
              <a:ext uri="{FF2B5EF4-FFF2-40B4-BE49-F238E27FC236}">
                <a16:creationId xmlns:a16="http://schemas.microsoft.com/office/drawing/2014/main" id="{D7C48372-FE22-486F-81E2-84950260729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308" y="-1299748"/>
            <a:ext cx="22974299" cy="17230725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25085249-AFD9-4D25-B937-EA1D7B0F671F}"/>
              </a:ext>
            </a:extLst>
          </p:cNvPr>
          <p:cNvSpPr txBox="1"/>
          <p:nvPr/>
        </p:nvSpPr>
        <p:spPr>
          <a:xfrm>
            <a:off x="2717093" y="2451485"/>
            <a:ext cx="7433057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0" b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d BT" panose="020B0602020204020303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Introducing</a:t>
            </a:r>
            <a:r>
              <a:rPr kumimoji="0" lang="en-US" sz="9000" b="1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d BT" panose="020B0602020204020303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 Atlas</a:t>
            </a:r>
            <a:endParaRPr kumimoji="0" lang="en-US" sz="9000" b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d BT" panose="020B0602020204020303" pitchFamily="34" charset="0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94C2EBB4-33DD-46CB-B95D-2FC9682E4CF0}"/>
              </a:ext>
            </a:extLst>
          </p:cNvPr>
          <p:cNvSpPr txBox="1"/>
          <p:nvPr/>
        </p:nvSpPr>
        <p:spPr>
          <a:xfrm>
            <a:off x="2806412" y="5551987"/>
            <a:ext cx="6794787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bg1"/>
                </a:solidFill>
                <a:latin typeface="FUTURA MEDIUM BT" panose="020B0602020204020303" pitchFamily="34" charset="0"/>
              </a:rPr>
              <a:t>Powered by Akash, Atlas empowers users to truly interact with their data for the first tim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400" dirty="0">
              <a:solidFill>
                <a:schemeClr val="bg1"/>
              </a:solidFill>
              <a:latin typeface="FUTURA MEDIUM BT" panose="020B06020202040203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bg1"/>
                </a:solidFill>
                <a:latin typeface="FUTURA MEDIUM BT" panose="020B0602020204020303" pitchFamily="34" charset="0"/>
              </a:rPr>
              <a:t>"Google" your own </a:t>
            </a:r>
            <a:r>
              <a:rPr lang="en-GB" sz="2400" dirty="0" err="1">
                <a:solidFill>
                  <a:schemeClr val="bg1"/>
                </a:solidFill>
                <a:latin typeface="FUTURA MEDIUM BT" panose="020B0602020204020303" pitchFamily="34" charset="0"/>
              </a:rPr>
              <a:t>behavior</a:t>
            </a:r>
            <a:r>
              <a:rPr lang="en-GB" sz="2400" dirty="0">
                <a:solidFill>
                  <a:schemeClr val="bg1"/>
                </a:solidFill>
                <a:latin typeface="FUTURA MEDIUM BT" panose="020B0602020204020303" pitchFamily="34" charset="0"/>
              </a:rPr>
              <a:t>: "Hey Atlas, how much time did I spend at the gym this month?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400" dirty="0">
              <a:solidFill>
                <a:schemeClr val="bg1"/>
              </a:solidFill>
              <a:latin typeface="FUTURA MEDIUM BT" panose="020B06020202040203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bg1"/>
                </a:solidFill>
                <a:latin typeface="FUTURA MEDIUM BT" panose="020B0602020204020303" pitchFamily="34" charset="0"/>
              </a:rPr>
              <a:t>Atlas aggregates your various data sources to generate unprecedented insights. For example, find out how your heart rate variability affects your spending habi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400" dirty="0">
              <a:solidFill>
                <a:schemeClr val="bg1"/>
              </a:solidFill>
              <a:latin typeface="FUTURA MEDIUM BT" panose="020B06020202040203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bg1"/>
                </a:solidFill>
                <a:latin typeface="FUTURA MEDIUM BT" panose="020B0602020204020303" pitchFamily="34" charset="0"/>
              </a:rPr>
              <a:t>Atlas is built with exclusive technology that ensures you private data can only be accessed by you.</a:t>
            </a:r>
          </a:p>
        </p:txBody>
      </p:sp>
      <p:pic>
        <p:nvPicPr>
          <p:cNvPr id="4" name="Picture Placeholder 3">
            <a:extLst>
              <a:ext uri="{FF2B5EF4-FFF2-40B4-BE49-F238E27FC236}">
                <a16:creationId xmlns:a16="http://schemas.microsoft.com/office/drawing/2014/main" id="{448909C6-0DC1-7655-ABB8-7A457CBE5491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80" r="4580"/>
          <a:stretch>
            <a:fillRect/>
          </a:stretch>
        </p:blipFill>
        <p:spPr>
          <a:xfrm>
            <a:off x="13529032" y="1854433"/>
            <a:ext cx="4908529" cy="10482558"/>
          </a:xfrm>
        </p:spPr>
      </p:pic>
    </p:spTree>
    <p:extLst>
      <p:ext uri="{BB962C8B-B14F-4D97-AF65-F5344CB8AC3E}">
        <p14:creationId xmlns:p14="http://schemas.microsoft.com/office/powerpoint/2010/main" val="27399754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/>
      <p:bldP spid="97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FE7929AC-895A-4355-9025-B1CD8FBAC379}"/>
              </a:ext>
            </a:extLst>
          </p:cNvPr>
          <p:cNvGrpSpPr/>
          <p:nvPr/>
        </p:nvGrpSpPr>
        <p:grpSpPr>
          <a:xfrm>
            <a:off x="9769513" y="4433926"/>
            <a:ext cx="4848149" cy="4848149"/>
            <a:chOff x="9989883" y="4654296"/>
            <a:chExt cx="4407408" cy="4407408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1311C088-D982-4226-B167-252BCA98ECF9}"/>
                </a:ext>
              </a:extLst>
            </p:cNvPr>
            <p:cNvSpPr/>
            <p:nvPr/>
          </p:nvSpPr>
          <p:spPr>
            <a:xfrm>
              <a:off x="9989883" y="4654296"/>
              <a:ext cx="4407408" cy="440740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" name="Arc 2">
              <a:extLst>
                <a:ext uri="{FF2B5EF4-FFF2-40B4-BE49-F238E27FC236}">
                  <a16:creationId xmlns:a16="http://schemas.microsoft.com/office/drawing/2014/main" id="{38A01CA3-205F-4BD0-B433-8E4E9FBFE9C1}"/>
                </a:ext>
              </a:extLst>
            </p:cNvPr>
            <p:cNvSpPr/>
            <p:nvPr/>
          </p:nvSpPr>
          <p:spPr>
            <a:xfrm>
              <a:off x="9991545" y="4654296"/>
              <a:ext cx="4405746" cy="4405746"/>
            </a:xfrm>
            <a:prstGeom prst="arc">
              <a:avLst>
                <a:gd name="adj1" fmla="val 16200000"/>
                <a:gd name="adj2" fmla="val 20775565"/>
              </a:avLst>
            </a:prstGeom>
            <a:ln w="50800">
              <a:gradFill flip="none" rotWithShape="1">
                <a:gsLst>
                  <a:gs pos="23000">
                    <a:schemeClr val="bg2"/>
                  </a:gs>
                  <a:gs pos="100000">
                    <a:schemeClr val="bg1"/>
                  </a:gs>
                </a:gsLst>
                <a:lin ang="0" scaled="1"/>
                <a:tileRect/>
              </a:gra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813A274C-E13C-4D39-96DF-C5BA2B2A72B9}"/>
              </a:ext>
            </a:extLst>
          </p:cNvPr>
          <p:cNvSpPr txBox="1"/>
          <p:nvPr/>
        </p:nvSpPr>
        <p:spPr>
          <a:xfrm>
            <a:off x="2777634" y="6388715"/>
            <a:ext cx="18830219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>
              <a:defRPr/>
            </a:pPr>
            <a:r>
              <a:rPr lang="en-US" sz="9600" b="1" dirty="0">
                <a:solidFill>
                  <a:srgbClr val="FFFFFF"/>
                </a:solidFill>
                <a:effectLst>
                  <a:outerShdw blurRad="190500" dist="38100" dir="5400000" sx="103000" sy="103000" algn="t" rotWithShape="0">
                    <a:srgbClr val="377DFF">
                      <a:lumMod val="50000"/>
                      <a:alpha val="53000"/>
                    </a:srgbClr>
                  </a:outerShdw>
                </a:effectLst>
                <a:latin typeface="Futura Md BT" panose="020B0602020204020303" pitchFamily="34" charset="0"/>
              </a:rPr>
              <a:t>Why We Beat The Competition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12F8C9F-BED7-4E5C-94FE-7269FBFE52E3}"/>
              </a:ext>
            </a:extLst>
          </p:cNvPr>
          <p:cNvGrpSpPr/>
          <p:nvPr/>
        </p:nvGrpSpPr>
        <p:grpSpPr>
          <a:xfrm rot="15300000" flipH="1">
            <a:off x="9527105" y="4191518"/>
            <a:ext cx="5332964" cy="5332964"/>
            <a:chOff x="9989883" y="4654296"/>
            <a:chExt cx="4407408" cy="4407408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F2453F8C-5855-4737-87AB-E74913B63CAC}"/>
                </a:ext>
              </a:extLst>
            </p:cNvPr>
            <p:cNvSpPr/>
            <p:nvPr/>
          </p:nvSpPr>
          <p:spPr>
            <a:xfrm>
              <a:off x="9989883" y="4654296"/>
              <a:ext cx="4407408" cy="440740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Arc 9">
              <a:extLst>
                <a:ext uri="{FF2B5EF4-FFF2-40B4-BE49-F238E27FC236}">
                  <a16:creationId xmlns:a16="http://schemas.microsoft.com/office/drawing/2014/main" id="{8E20C951-8FC1-42C5-A17B-CFD1271C33D0}"/>
                </a:ext>
              </a:extLst>
            </p:cNvPr>
            <p:cNvSpPr/>
            <p:nvPr/>
          </p:nvSpPr>
          <p:spPr>
            <a:xfrm>
              <a:off x="9991545" y="4654296"/>
              <a:ext cx="4405746" cy="4405746"/>
            </a:xfrm>
            <a:prstGeom prst="arc">
              <a:avLst>
                <a:gd name="adj1" fmla="val 16200000"/>
                <a:gd name="adj2" fmla="val 20775565"/>
              </a:avLst>
            </a:prstGeom>
            <a:ln w="44450">
              <a:gradFill flip="none" rotWithShape="1">
                <a:gsLst>
                  <a:gs pos="23000">
                    <a:schemeClr val="bg2"/>
                  </a:gs>
                  <a:gs pos="99000">
                    <a:schemeClr val="bg1"/>
                  </a:gs>
                </a:gsLst>
                <a:lin ang="0" scaled="1"/>
                <a:tileRect/>
              </a:gra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F9AB356-5BFC-40AE-B58E-F94D6453C2F7}"/>
              </a:ext>
            </a:extLst>
          </p:cNvPr>
          <p:cNvGrpSpPr/>
          <p:nvPr/>
        </p:nvGrpSpPr>
        <p:grpSpPr>
          <a:xfrm>
            <a:off x="9260457" y="3924870"/>
            <a:ext cx="5866260" cy="5866260"/>
            <a:chOff x="9989883" y="4654296"/>
            <a:chExt cx="4407408" cy="4407408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CC75AEA2-07CA-4390-9880-3A4EF185183A}"/>
                </a:ext>
              </a:extLst>
            </p:cNvPr>
            <p:cNvSpPr/>
            <p:nvPr/>
          </p:nvSpPr>
          <p:spPr>
            <a:xfrm>
              <a:off x="9989883" y="4654296"/>
              <a:ext cx="4407408" cy="440740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Arc 16">
              <a:extLst>
                <a:ext uri="{FF2B5EF4-FFF2-40B4-BE49-F238E27FC236}">
                  <a16:creationId xmlns:a16="http://schemas.microsoft.com/office/drawing/2014/main" id="{37330191-19CD-413C-BB04-2993D10A625E}"/>
                </a:ext>
              </a:extLst>
            </p:cNvPr>
            <p:cNvSpPr/>
            <p:nvPr/>
          </p:nvSpPr>
          <p:spPr>
            <a:xfrm>
              <a:off x="9991545" y="4654296"/>
              <a:ext cx="4405746" cy="4405746"/>
            </a:xfrm>
            <a:prstGeom prst="arc">
              <a:avLst>
                <a:gd name="adj1" fmla="val 1000099"/>
                <a:gd name="adj2" fmla="val 7299557"/>
              </a:avLst>
            </a:prstGeom>
            <a:ln w="44450">
              <a:gradFill flip="none" rotWithShape="1">
                <a:gsLst>
                  <a:gs pos="0">
                    <a:schemeClr val="bg2"/>
                  </a:gs>
                  <a:gs pos="48000">
                    <a:schemeClr val="bg1"/>
                  </a:gs>
                </a:gsLst>
                <a:lin ang="10800000" scaled="1"/>
                <a:tileRect/>
              </a:gra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3DE2AF3-4FE8-401C-946B-F8DA8F63359D}"/>
              </a:ext>
            </a:extLst>
          </p:cNvPr>
          <p:cNvGrpSpPr/>
          <p:nvPr/>
        </p:nvGrpSpPr>
        <p:grpSpPr>
          <a:xfrm rot="15300000" flipH="1">
            <a:off x="8967144" y="3631557"/>
            <a:ext cx="6452886" cy="6452886"/>
            <a:chOff x="9989883" y="4654296"/>
            <a:chExt cx="4407408" cy="4407408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3AEBD042-CB66-48F9-A794-85E94DD1E9EA}"/>
                </a:ext>
              </a:extLst>
            </p:cNvPr>
            <p:cNvSpPr/>
            <p:nvPr/>
          </p:nvSpPr>
          <p:spPr>
            <a:xfrm>
              <a:off x="9989883" y="4654296"/>
              <a:ext cx="4407408" cy="440740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Arc 19">
              <a:extLst>
                <a:ext uri="{FF2B5EF4-FFF2-40B4-BE49-F238E27FC236}">
                  <a16:creationId xmlns:a16="http://schemas.microsoft.com/office/drawing/2014/main" id="{93A0AC6C-62BA-4DEB-8E50-0EA702FD55ED}"/>
                </a:ext>
              </a:extLst>
            </p:cNvPr>
            <p:cNvSpPr/>
            <p:nvPr/>
          </p:nvSpPr>
          <p:spPr>
            <a:xfrm>
              <a:off x="9991545" y="4654296"/>
              <a:ext cx="4405746" cy="4405746"/>
            </a:xfrm>
            <a:prstGeom prst="arc">
              <a:avLst>
                <a:gd name="adj1" fmla="val 96625"/>
                <a:gd name="adj2" fmla="val 4048638"/>
              </a:avLst>
            </a:prstGeom>
            <a:ln w="44450">
              <a:gradFill flip="none" rotWithShape="1">
                <a:gsLst>
                  <a:gs pos="22000">
                    <a:schemeClr val="bg2"/>
                  </a:gs>
                  <a:gs pos="99000">
                    <a:schemeClr val="bg1"/>
                  </a:gs>
                </a:gsLst>
                <a:lin ang="0" scaled="1"/>
                <a:tileRect/>
              </a:gra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45BF0F58-9FA6-F9EB-B018-F66729E0C6F3}"/>
              </a:ext>
            </a:extLst>
          </p:cNvPr>
          <p:cNvSpPr txBox="1">
            <a:spLocks/>
          </p:cNvSpPr>
          <p:nvPr/>
        </p:nvSpPr>
        <p:spPr>
          <a:xfrm>
            <a:off x="23408916" y="8877743"/>
            <a:ext cx="324565" cy="582761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2400" b="1" smtClean="0">
                <a:solidFill>
                  <a:schemeClr val="bg1"/>
                </a:solidFill>
                <a:latin typeface="+mj-lt"/>
              </a:rPr>
              <a:pPr algn="ctr"/>
              <a:t>15</a:t>
            </a:fld>
            <a:endParaRPr lang="en-US" sz="1400" b="1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26DCBE4C-F530-1AB2-CCC9-C7AF2BF2550E}"/>
              </a:ext>
            </a:extLst>
          </p:cNvPr>
          <p:cNvGrpSpPr/>
          <p:nvPr/>
        </p:nvGrpSpPr>
        <p:grpSpPr>
          <a:xfrm>
            <a:off x="23332870" y="446240"/>
            <a:ext cx="476655" cy="337457"/>
            <a:chOff x="6167336" y="2130357"/>
            <a:chExt cx="476655" cy="337457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2767F6AF-0314-CD17-A98F-808AE5192053}"/>
                </a:ext>
              </a:extLst>
            </p:cNvPr>
            <p:cNvCxnSpPr/>
            <p:nvPr userDrawn="1"/>
          </p:nvCxnSpPr>
          <p:spPr>
            <a:xfrm>
              <a:off x="6167336" y="2130357"/>
              <a:ext cx="4766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B0A7F14F-382A-9755-5924-DB2E2C1B1B5E}"/>
                </a:ext>
              </a:extLst>
            </p:cNvPr>
            <p:cNvCxnSpPr/>
            <p:nvPr userDrawn="1"/>
          </p:nvCxnSpPr>
          <p:spPr>
            <a:xfrm>
              <a:off x="6167336" y="2299086"/>
              <a:ext cx="4766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6C4B4436-C853-9C55-09D7-70FCE97CFE4E}"/>
                </a:ext>
              </a:extLst>
            </p:cNvPr>
            <p:cNvCxnSpPr/>
            <p:nvPr userDrawn="1"/>
          </p:nvCxnSpPr>
          <p:spPr>
            <a:xfrm>
              <a:off x="6167336" y="2467814"/>
              <a:ext cx="4766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5909E566-3C06-0FCB-A9A3-033ED93FEC2B}"/>
              </a:ext>
            </a:extLst>
          </p:cNvPr>
          <p:cNvGrpSpPr/>
          <p:nvPr/>
        </p:nvGrpSpPr>
        <p:grpSpPr>
          <a:xfrm>
            <a:off x="23519785" y="12234167"/>
            <a:ext cx="102824" cy="698136"/>
            <a:chOff x="729638" y="739163"/>
            <a:chExt cx="102824" cy="698136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B39FA729-9C52-05D9-1A0D-F99BFDEC9A18}"/>
                </a:ext>
              </a:extLst>
            </p:cNvPr>
            <p:cNvSpPr/>
            <p:nvPr userDrawn="1"/>
          </p:nvSpPr>
          <p:spPr>
            <a:xfrm>
              <a:off x="729638" y="739163"/>
              <a:ext cx="102824" cy="10282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C7FF70BF-48DC-3121-092E-581B80255B0F}"/>
                </a:ext>
              </a:extLst>
            </p:cNvPr>
            <p:cNvSpPr/>
            <p:nvPr userDrawn="1"/>
          </p:nvSpPr>
          <p:spPr>
            <a:xfrm>
              <a:off x="729638" y="1036819"/>
              <a:ext cx="102824" cy="10282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2222FE59-762C-C463-5258-E5B913ED5700}"/>
                </a:ext>
              </a:extLst>
            </p:cNvPr>
            <p:cNvSpPr/>
            <p:nvPr userDrawn="1"/>
          </p:nvSpPr>
          <p:spPr>
            <a:xfrm>
              <a:off x="729638" y="1334475"/>
              <a:ext cx="102824" cy="10282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C8AD8613-7733-BD03-9F72-717B08E4D7FF}"/>
              </a:ext>
            </a:extLst>
          </p:cNvPr>
          <p:cNvSpPr/>
          <p:nvPr/>
        </p:nvSpPr>
        <p:spPr>
          <a:xfrm>
            <a:off x="519440" y="12000254"/>
            <a:ext cx="595036" cy="58477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  <a:latin typeface="Designball-Social-01" pitchFamily="2" charset="0"/>
              </a:rPr>
              <a:t>b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06124A0-0B95-DDB9-4094-E54BF8BB2917}"/>
              </a:ext>
            </a:extLst>
          </p:cNvPr>
          <p:cNvSpPr/>
          <p:nvPr/>
        </p:nvSpPr>
        <p:spPr>
          <a:xfrm>
            <a:off x="519439" y="11364851"/>
            <a:ext cx="595036" cy="58477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  <a:latin typeface="Designball-Social-01" pitchFamily="2" charset="0"/>
              </a:rPr>
              <a:t>C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1A653DC-6BBA-A189-443F-4B4534CE5EA3}"/>
              </a:ext>
            </a:extLst>
          </p:cNvPr>
          <p:cNvSpPr/>
          <p:nvPr/>
        </p:nvSpPr>
        <p:spPr>
          <a:xfrm>
            <a:off x="519441" y="12635657"/>
            <a:ext cx="595036" cy="58477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  <a:latin typeface="Designball-Social-01" pitchFamily="2" charset="0"/>
              </a:rPr>
              <a:t>c</a:t>
            </a:r>
          </a:p>
        </p:txBody>
      </p:sp>
      <p:grpSp>
        <p:nvGrpSpPr>
          <p:cNvPr id="36" name="Graphic 29">
            <a:extLst>
              <a:ext uri="{FF2B5EF4-FFF2-40B4-BE49-F238E27FC236}">
                <a16:creationId xmlns:a16="http://schemas.microsoft.com/office/drawing/2014/main" id="{B5C2BA1B-4332-64FF-1DFC-D6716A781CF0}"/>
              </a:ext>
            </a:extLst>
          </p:cNvPr>
          <p:cNvGrpSpPr/>
          <p:nvPr/>
        </p:nvGrpSpPr>
        <p:grpSpPr>
          <a:xfrm>
            <a:off x="631422" y="446240"/>
            <a:ext cx="589131" cy="1104816"/>
            <a:chOff x="1502100" y="653619"/>
            <a:chExt cx="2035484" cy="3817207"/>
          </a:xfrm>
          <a:solidFill>
            <a:schemeClr val="bg1"/>
          </a:solidFill>
        </p:grpSpPr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431E167F-96BD-8049-DA73-94B66D417F88}"/>
                </a:ext>
              </a:extLst>
            </p:cNvPr>
            <p:cNvSpPr/>
            <p:nvPr/>
          </p:nvSpPr>
          <p:spPr>
            <a:xfrm>
              <a:off x="1502100" y="653619"/>
              <a:ext cx="2035484" cy="3817207"/>
            </a:xfrm>
            <a:custGeom>
              <a:avLst/>
              <a:gdLst>
                <a:gd name="connsiteX0" fmla="*/ 1775452 w 2035484"/>
                <a:gd name="connsiteY0" fmla="*/ 2695942 h 3817207"/>
                <a:gd name="connsiteX1" fmla="*/ 1556377 w 2035484"/>
                <a:gd name="connsiteY1" fmla="*/ 2695942 h 3817207"/>
                <a:gd name="connsiteX2" fmla="*/ 1516372 w 2035484"/>
                <a:gd name="connsiteY2" fmla="*/ 2664509 h 3817207"/>
                <a:gd name="connsiteX3" fmla="*/ 1423027 w 2035484"/>
                <a:gd name="connsiteY3" fmla="*/ 2477819 h 3817207"/>
                <a:gd name="connsiteX4" fmla="*/ 1031549 w 2035484"/>
                <a:gd name="connsiteY4" fmla="*/ 2283509 h 3817207"/>
                <a:gd name="connsiteX5" fmla="*/ 508627 w 2035484"/>
                <a:gd name="connsiteY5" fmla="*/ 2785477 h 3817207"/>
                <a:gd name="connsiteX6" fmla="*/ 1010594 w 2035484"/>
                <a:gd name="connsiteY6" fmla="*/ 3308399 h 3817207"/>
                <a:gd name="connsiteX7" fmla="*/ 1515419 w 2035484"/>
                <a:gd name="connsiteY7" fmla="*/ 2931209 h 3817207"/>
                <a:gd name="connsiteX8" fmla="*/ 1518277 w 2035484"/>
                <a:gd name="connsiteY8" fmla="*/ 2917874 h 3817207"/>
                <a:gd name="connsiteX9" fmla="*/ 1546852 w 2035484"/>
                <a:gd name="connsiteY9" fmla="*/ 2895967 h 3817207"/>
                <a:gd name="connsiteX10" fmla="*/ 1985955 w 2035484"/>
                <a:gd name="connsiteY10" fmla="*/ 2895967 h 3817207"/>
                <a:gd name="connsiteX11" fmla="*/ 2022149 w 2035484"/>
                <a:gd name="connsiteY11" fmla="*/ 2895967 h 3817207"/>
                <a:gd name="connsiteX12" fmla="*/ 2035484 w 2035484"/>
                <a:gd name="connsiteY12" fmla="*/ 2909302 h 3817207"/>
                <a:gd name="connsiteX13" fmla="*/ 2035484 w 2035484"/>
                <a:gd name="connsiteY13" fmla="*/ 2912159 h 3817207"/>
                <a:gd name="connsiteX14" fmla="*/ 2033580 w 2035484"/>
                <a:gd name="connsiteY14" fmla="*/ 2935019 h 3817207"/>
                <a:gd name="connsiteX15" fmla="*/ 1294440 w 2035484"/>
                <a:gd name="connsiteY15" fmla="*/ 3779887 h 3817207"/>
                <a:gd name="connsiteX16" fmla="*/ 37139 w 2035484"/>
                <a:gd name="connsiteY16" fmla="*/ 3068369 h 3817207"/>
                <a:gd name="connsiteX17" fmla="*/ 65714 w 2035484"/>
                <a:gd name="connsiteY17" fmla="*/ 2434004 h 3817207"/>
                <a:gd name="connsiteX18" fmla="*/ 315269 w 2035484"/>
                <a:gd name="connsiteY18" fmla="*/ 1756777 h 3817207"/>
                <a:gd name="connsiteX19" fmla="*/ 944872 w 2035484"/>
                <a:gd name="connsiteY19" fmla="*/ 42277 h 3817207"/>
                <a:gd name="connsiteX20" fmla="*/ 1009642 w 2035484"/>
                <a:gd name="connsiteY20" fmla="*/ 20369 h 3817207"/>
                <a:gd name="connsiteX21" fmla="*/ 1340159 w 2035484"/>
                <a:gd name="connsiteY21" fmla="*/ 531862 h 3817207"/>
                <a:gd name="connsiteX22" fmla="*/ 1266817 w 2035484"/>
                <a:gd name="connsiteY22" fmla="*/ 1033829 h 3817207"/>
                <a:gd name="connsiteX23" fmla="*/ 929632 w 2035484"/>
                <a:gd name="connsiteY23" fmla="*/ 1708199 h 3817207"/>
                <a:gd name="connsiteX24" fmla="*/ 906772 w 2035484"/>
                <a:gd name="connsiteY24" fmla="*/ 1752967 h 3817207"/>
                <a:gd name="connsiteX25" fmla="*/ 923917 w 2035484"/>
                <a:gd name="connsiteY25" fmla="*/ 1779637 h 3817207"/>
                <a:gd name="connsiteX26" fmla="*/ 1038217 w 2035484"/>
                <a:gd name="connsiteY26" fmla="*/ 1776779 h 3817207"/>
                <a:gd name="connsiteX27" fmla="*/ 1658294 w 2035484"/>
                <a:gd name="connsiteY27" fmla="*/ 1999664 h 3817207"/>
                <a:gd name="connsiteX28" fmla="*/ 2023102 w 2035484"/>
                <a:gd name="connsiteY28" fmla="*/ 2599739 h 3817207"/>
                <a:gd name="connsiteX29" fmla="*/ 2034532 w 2035484"/>
                <a:gd name="connsiteY29" fmla="*/ 2672129 h 3817207"/>
                <a:gd name="connsiteX30" fmla="*/ 2013577 w 2035484"/>
                <a:gd name="connsiteY30" fmla="*/ 2697847 h 3817207"/>
                <a:gd name="connsiteX31" fmla="*/ 1774499 w 2035484"/>
                <a:gd name="connsiteY31" fmla="*/ 2697847 h 3817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035484" h="3817207">
                  <a:moveTo>
                    <a:pt x="1775452" y="2695942"/>
                  </a:moveTo>
                  <a:lnTo>
                    <a:pt x="1556377" y="2695942"/>
                  </a:lnTo>
                  <a:cubicBezTo>
                    <a:pt x="1525897" y="2695942"/>
                    <a:pt x="1524944" y="2695942"/>
                    <a:pt x="1516372" y="2664509"/>
                  </a:cubicBezTo>
                  <a:cubicBezTo>
                    <a:pt x="1499227" y="2595929"/>
                    <a:pt x="1466842" y="2533064"/>
                    <a:pt x="1423027" y="2477819"/>
                  </a:cubicBezTo>
                  <a:cubicBezTo>
                    <a:pt x="1322062" y="2353994"/>
                    <a:pt x="1191569" y="2287319"/>
                    <a:pt x="1031549" y="2283509"/>
                  </a:cubicBezTo>
                  <a:cubicBezTo>
                    <a:pt x="748657" y="2277794"/>
                    <a:pt x="514342" y="2502584"/>
                    <a:pt x="508627" y="2785477"/>
                  </a:cubicBezTo>
                  <a:cubicBezTo>
                    <a:pt x="502912" y="3068369"/>
                    <a:pt x="727702" y="3302684"/>
                    <a:pt x="1010594" y="3308399"/>
                  </a:cubicBezTo>
                  <a:cubicBezTo>
                    <a:pt x="1244909" y="3313162"/>
                    <a:pt x="1453507" y="3157904"/>
                    <a:pt x="1515419" y="2931209"/>
                  </a:cubicBezTo>
                  <a:cubicBezTo>
                    <a:pt x="1516372" y="2926447"/>
                    <a:pt x="1517324" y="2922637"/>
                    <a:pt x="1518277" y="2917874"/>
                  </a:cubicBezTo>
                  <a:cubicBezTo>
                    <a:pt x="1523992" y="2897872"/>
                    <a:pt x="1525897" y="2895967"/>
                    <a:pt x="1546852" y="2895967"/>
                  </a:cubicBezTo>
                  <a:lnTo>
                    <a:pt x="1985955" y="2895967"/>
                  </a:lnTo>
                  <a:cubicBezTo>
                    <a:pt x="1998337" y="2895967"/>
                    <a:pt x="2009767" y="2895967"/>
                    <a:pt x="2022149" y="2895967"/>
                  </a:cubicBezTo>
                  <a:cubicBezTo>
                    <a:pt x="2029769" y="2895967"/>
                    <a:pt x="2035484" y="2901682"/>
                    <a:pt x="2035484" y="2909302"/>
                  </a:cubicBezTo>
                  <a:cubicBezTo>
                    <a:pt x="2035484" y="2909302"/>
                    <a:pt x="2035484" y="2911207"/>
                    <a:pt x="2035484" y="2912159"/>
                  </a:cubicBezTo>
                  <a:cubicBezTo>
                    <a:pt x="2035484" y="2919779"/>
                    <a:pt x="2035484" y="2927399"/>
                    <a:pt x="2033580" y="2935019"/>
                  </a:cubicBezTo>
                  <a:cubicBezTo>
                    <a:pt x="1976430" y="3339832"/>
                    <a:pt x="1688774" y="3672254"/>
                    <a:pt x="1294440" y="3779887"/>
                  </a:cubicBezTo>
                  <a:cubicBezTo>
                    <a:pt x="750562" y="3930382"/>
                    <a:pt x="187634" y="3612247"/>
                    <a:pt x="37139" y="3068369"/>
                  </a:cubicBezTo>
                  <a:cubicBezTo>
                    <a:pt x="-20963" y="2858819"/>
                    <a:pt x="-10486" y="2636887"/>
                    <a:pt x="65714" y="2434004"/>
                  </a:cubicBezTo>
                  <a:cubicBezTo>
                    <a:pt x="148582" y="2208262"/>
                    <a:pt x="232402" y="1982519"/>
                    <a:pt x="315269" y="1756777"/>
                  </a:cubicBezTo>
                  <a:cubicBezTo>
                    <a:pt x="524819" y="1185277"/>
                    <a:pt x="735322" y="613777"/>
                    <a:pt x="944872" y="42277"/>
                  </a:cubicBezTo>
                  <a:cubicBezTo>
                    <a:pt x="963922" y="-9158"/>
                    <a:pt x="965827" y="-10111"/>
                    <a:pt x="1009642" y="20369"/>
                  </a:cubicBezTo>
                  <a:cubicBezTo>
                    <a:pt x="1189665" y="146099"/>
                    <a:pt x="1301107" y="316597"/>
                    <a:pt x="1340159" y="531862"/>
                  </a:cubicBezTo>
                  <a:cubicBezTo>
                    <a:pt x="1372544" y="702359"/>
                    <a:pt x="1346827" y="879524"/>
                    <a:pt x="1266817" y="1033829"/>
                  </a:cubicBezTo>
                  <a:cubicBezTo>
                    <a:pt x="1154422" y="1258619"/>
                    <a:pt x="1041074" y="1483409"/>
                    <a:pt x="929632" y="1708199"/>
                  </a:cubicBezTo>
                  <a:cubicBezTo>
                    <a:pt x="922012" y="1723439"/>
                    <a:pt x="914392" y="1737727"/>
                    <a:pt x="906772" y="1752967"/>
                  </a:cubicBezTo>
                  <a:cubicBezTo>
                    <a:pt x="897247" y="1774874"/>
                    <a:pt x="901057" y="1780589"/>
                    <a:pt x="923917" y="1779637"/>
                  </a:cubicBezTo>
                  <a:cubicBezTo>
                    <a:pt x="962017" y="1778684"/>
                    <a:pt x="1000117" y="1775827"/>
                    <a:pt x="1038217" y="1776779"/>
                  </a:cubicBezTo>
                  <a:cubicBezTo>
                    <a:pt x="1263959" y="1778684"/>
                    <a:pt x="1483034" y="1856789"/>
                    <a:pt x="1658294" y="1999664"/>
                  </a:cubicBezTo>
                  <a:cubicBezTo>
                    <a:pt x="1852605" y="2154922"/>
                    <a:pt x="1972619" y="2356852"/>
                    <a:pt x="2023102" y="2599739"/>
                  </a:cubicBezTo>
                  <a:cubicBezTo>
                    <a:pt x="2027865" y="2623552"/>
                    <a:pt x="2031674" y="2647364"/>
                    <a:pt x="2034532" y="2672129"/>
                  </a:cubicBezTo>
                  <a:cubicBezTo>
                    <a:pt x="2037390" y="2692132"/>
                    <a:pt x="2032627" y="2696894"/>
                    <a:pt x="2013577" y="2697847"/>
                  </a:cubicBezTo>
                  <a:lnTo>
                    <a:pt x="1774499" y="269784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18BBB283-2832-AC3F-F55C-3269A6B7E734}"/>
                </a:ext>
              </a:extLst>
            </p:cNvPr>
            <p:cNvSpPr/>
            <p:nvPr/>
          </p:nvSpPr>
          <p:spPr>
            <a:xfrm>
              <a:off x="1503045" y="1064002"/>
              <a:ext cx="291914" cy="1722631"/>
            </a:xfrm>
            <a:custGeom>
              <a:avLst/>
              <a:gdLst>
                <a:gd name="connsiteX0" fmla="*/ 952 w 291914"/>
                <a:gd name="connsiteY0" fmla="*/ 1722632 h 1722631"/>
                <a:gd name="connsiteX1" fmla="*/ 952 w 291914"/>
                <a:gd name="connsiteY1" fmla="*/ 1374969 h 1722631"/>
                <a:gd name="connsiteX2" fmla="*/ 952 w 291914"/>
                <a:gd name="connsiteY2" fmla="*/ 1342584 h 1722631"/>
                <a:gd name="connsiteX3" fmla="*/ 3810 w 291914"/>
                <a:gd name="connsiteY3" fmla="*/ 465331 h 1722631"/>
                <a:gd name="connsiteX4" fmla="*/ 3810 w 291914"/>
                <a:gd name="connsiteY4" fmla="*/ 40516 h 1722631"/>
                <a:gd name="connsiteX5" fmla="*/ 48577 w 291914"/>
                <a:gd name="connsiteY5" fmla="*/ 4321 h 1722631"/>
                <a:gd name="connsiteX6" fmla="*/ 271463 w 291914"/>
                <a:gd name="connsiteY6" fmla="*/ 96714 h 1722631"/>
                <a:gd name="connsiteX7" fmla="*/ 290513 w 291914"/>
                <a:gd name="connsiteY7" fmla="*/ 136719 h 1722631"/>
                <a:gd name="connsiteX8" fmla="*/ 211455 w 291914"/>
                <a:gd name="connsiteY8" fmla="*/ 576774 h 1722631"/>
                <a:gd name="connsiteX9" fmla="*/ 122872 w 291914"/>
                <a:gd name="connsiteY9" fmla="*/ 1071122 h 1722631"/>
                <a:gd name="connsiteX10" fmla="*/ 16192 w 291914"/>
                <a:gd name="connsiteY10" fmla="*/ 1664529 h 1722631"/>
                <a:gd name="connsiteX11" fmla="*/ 0 w 291914"/>
                <a:gd name="connsiteY11" fmla="*/ 1720726 h 1722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1914" h="1722631">
                  <a:moveTo>
                    <a:pt x="952" y="1722632"/>
                  </a:moveTo>
                  <a:lnTo>
                    <a:pt x="952" y="1374969"/>
                  </a:lnTo>
                  <a:cubicBezTo>
                    <a:pt x="952" y="1364491"/>
                    <a:pt x="952" y="1354014"/>
                    <a:pt x="952" y="1342584"/>
                  </a:cubicBezTo>
                  <a:cubicBezTo>
                    <a:pt x="1905" y="1050166"/>
                    <a:pt x="2858" y="757749"/>
                    <a:pt x="3810" y="465331"/>
                  </a:cubicBezTo>
                  <a:cubicBezTo>
                    <a:pt x="3810" y="323409"/>
                    <a:pt x="3810" y="182439"/>
                    <a:pt x="3810" y="40516"/>
                  </a:cubicBezTo>
                  <a:cubicBezTo>
                    <a:pt x="3810" y="-1394"/>
                    <a:pt x="8572" y="-5204"/>
                    <a:pt x="48577" y="4321"/>
                  </a:cubicBezTo>
                  <a:cubicBezTo>
                    <a:pt x="126683" y="24324"/>
                    <a:pt x="201930" y="54804"/>
                    <a:pt x="271463" y="96714"/>
                  </a:cubicBezTo>
                  <a:cubicBezTo>
                    <a:pt x="287655" y="103381"/>
                    <a:pt x="295275" y="120527"/>
                    <a:pt x="290513" y="136719"/>
                  </a:cubicBezTo>
                  <a:cubicBezTo>
                    <a:pt x="262890" y="283404"/>
                    <a:pt x="238125" y="430089"/>
                    <a:pt x="211455" y="576774"/>
                  </a:cubicBezTo>
                  <a:cubicBezTo>
                    <a:pt x="181927" y="741557"/>
                    <a:pt x="152400" y="906339"/>
                    <a:pt x="122872" y="1071122"/>
                  </a:cubicBezTo>
                  <a:cubicBezTo>
                    <a:pt x="87630" y="1269241"/>
                    <a:pt x="51435" y="1466409"/>
                    <a:pt x="16192" y="1664529"/>
                  </a:cubicBezTo>
                  <a:cubicBezTo>
                    <a:pt x="12383" y="1681674"/>
                    <a:pt x="10477" y="1692151"/>
                    <a:pt x="0" y="17207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B8E5F3AB-E66C-6CC6-162C-DFF15BE48B15}"/>
                </a:ext>
              </a:extLst>
            </p:cNvPr>
            <p:cNvSpPr/>
            <p:nvPr/>
          </p:nvSpPr>
          <p:spPr>
            <a:xfrm>
              <a:off x="1683067" y="817105"/>
              <a:ext cx="541936" cy="1609483"/>
            </a:xfrm>
            <a:custGeom>
              <a:avLst/>
              <a:gdLst>
                <a:gd name="connsiteX0" fmla="*/ 953 w 541936"/>
                <a:gd name="connsiteY0" fmla="*/ 1608531 h 1609483"/>
                <a:gd name="connsiteX1" fmla="*/ 89535 w 541936"/>
                <a:gd name="connsiteY1" fmla="*/ 1138949 h 1609483"/>
                <a:gd name="connsiteX2" fmla="*/ 224790 w 541936"/>
                <a:gd name="connsiteY2" fmla="*/ 384568 h 1609483"/>
                <a:gd name="connsiteX3" fmla="*/ 285750 w 541936"/>
                <a:gd name="connsiteY3" fmla="*/ 43573 h 1609483"/>
                <a:gd name="connsiteX4" fmla="*/ 342900 w 541936"/>
                <a:gd name="connsiteY4" fmla="*/ 13093 h 1609483"/>
                <a:gd name="connsiteX5" fmla="*/ 521017 w 541936"/>
                <a:gd name="connsiteY5" fmla="*/ 123583 h 1609483"/>
                <a:gd name="connsiteX6" fmla="*/ 535305 w 541936"/>
                <a:gd name="connsiteY6" fmla="*/ 173113 h 1609483"/>
                <a:gd name="connsiteX7" fmla="*/ 456248 w 541936"/>
                <a:gd name="connsiteY7" fmla="*/ 387426 h 1609483"/>
                <a:gd name="connsiteX8" fmla="*/ 200025 w 541936"/>
                <a:gd name="connsiteY8" fmla="*/ 1085608 h 1609483"/>
                <a:gd name="connsiteX9" fmla="*/ 35242 w 541936"/>
                <a:gd name="connsiteY9" fmla="*/ 1530426 h 1609483"/>
                <a:gd name="connsiteX10" fmla="*/ 0 w 541936"/>
                <a:gd name="connsiteY10" fmla="*/ 1609483 h 1609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1936" h="1609483">
                  <a:moveTo>
                    <a:pt x="953" y="1608531"/>
                  </a:moveTo>
                  <a:cubicBezTo>
                    <a:pt x="24765" y="1478038"/>
                    <a:pt x="66675" y="1268488"/>
                    <a:pt x="89535" y="1138949"/>
                  </a:cubicBezTo>
                  <a:cubicBezTo>
                    <a:pt x="134303" y="887488"/>
                    <a:pt x="180023" y="636028"/>
                    <a:pt x="224790" y="384568"/>
                  </a:cubicBezTo>
                  <a:cubicBezTo>
                    <a:pt x="244792" y="270268"/>
                    <a:pt x="264795" y="156921"/>
                    <a:pt x="285750" y="43573"/>
                  </a:cubicBezTo>
                  <a:cubicBezTo>
                    <a:pt x="294323" y="-1194"/>
                    <a:pt x="289560" y="-11672"/>
                    <a:pt x="342900" y="13093"/>
                  </a:cubicBezTo>
                  <a:cubicBezTo>
                    <a:pt x="406717" y="41668"/>
                    <a:pt x="466725" y="78816"/>
                    <a:pt x="521017" y="123583"/>
                  </a:cubicBezTo>
                  <a:cubicBezTo>
                    <a:pt x="545783" y="143586"/>
                    <a:pt x="545783" y="144538"/>
                    <a:pt x="535305" y="173113"/>
                  </a:cubicBezTo>
                  <a:cubicBezTo>
                    <a:pt x="509588" y="244551"/>
                    <a:pt x="482917" y="315988"/>
                    <a:pt x="456248" y="387426"/>
                  </a:cubicBezTo>
                  <a:cubicBezTo>
                    <a:pt x="370523" y="619836"/>
                    <a:pt x="284798" y="853199"/>
                    <a:pt x="200025" y="1085608"/>
                  </a:cubicBezTo>
                  <a:cubicBezTo>
                    <a:pt x="145733" y="1234199"/>
                    <a:pt x="90488" y="1382788"/>
                    <a:pt x="35242" y="1530426"/>
                  </a:cubicBezTo>
                  <a:lnTo>
                    <a:pt x="0" y="16094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0" name="TextBox 39">
            <a:extLst>
              <a:ext uri="{FF2B5EF4-FFF2-40B4-BE49-F238E27FC236}">
                <a16:creationId xmlns:a16="http://schemas.microsoft.com/office/drawing/2014/main" id="{661C30F6-7623-C050-B956-4FCD6455CF46}"/>
              </a:ext>
            </a:extLst>
          </p:cNvPr>
          <p:cNvSpPr txBox="1"/>
          <p:nvPr/>
        </p:nvSpPr>
        <p:spPr>
          <a:xfrm rot="16200000">
            <a:off x="-1444725" y="5332504"/>
            <a:ext cx="462952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3200" b="1" dirty="0" err="1">
                <a:solidFill>
                  <a:schemeClr val="bg1"/>
                </a:solidFill>
              </a:rPr>
              <a:t>breadcrumbsdata.com</a:t>
            </a:r>
            <a:endParaRPr lang="en-US" sz="3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48384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8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16" presetClass="entr" presetSubtype="37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3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4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15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AB1B592A-2BAB-47B8-B11E-BD893BC5E7B0}"/>
              </a:ext>
            </a:extLst>
          </p:cNvPr>
          <p:cNvGrpSpPr/>
          <p:nvPr/>
        </p:nvGrpSpPr>
        <p:grpSpPr>
          <a:xfrm>
            <a:off x="-55268" y="-16153921"/>
            <a:ext cx="13001649" cy="28104638"/>
            <a:chOff x="651501" y="-18532539"/>
            <a:chExt cx="14301814" cy="30915102"/>
          </a:xfrm>
        </p:grpSpPr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9C6BDDBF-B46A-40B8-BCFC-9BA860DA9A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83470" y="-18532539"/>
              <a:ext cx="4869845" cy="30915102"/>
            </a:xfrm>
            <a:custGeom>
              <a:avLst/>
              <a:gdLst>
                <a:gd name="T0" fmla="*/ 913 w 2188"/>
                <a:gd name="T1" fmla="*/ 14034 h 14034"/>
                <a:gd name="T2" fmla="*/ 734 w 2188"/>
                <a:gd name="T3" fmla="*/ 13676 h 14034"/>
                <a:gd name="T4" fmla="*/ 373 w 2188"/>
                <a:gd name="T5" fmla="*/ 12854 h 14034"/>
                <a:gd name="T6" fmla="*/ 0 w 2188"/>
                <a:gd name="T7" fmla="*/ 11337 h 14034"/>
                <a:gd name="T8" fmla="*/ 376 w 2188"/>
                <a:gd name="T9" fmla="*/ 9820 h 14034"/>
                <a:gd name="T10" fmla="*/ 738 w 2188"/>
                <a:gd name="T11" fmla="*/ 8998 h 14034"/>
                <a:gd name="T12" fmla="*/ 1072 w 2188"/>
                <a:gd name="T13" fmla="*/ 8236 h 14034"/>
                <a:gd name="T14" fmla="*/ 1388 w 2188"/>
                <a:gd name="T15" fmla="*/ 7017 h 14034"/>
                <a:gd name="T16" fmla="*/ 1068 w 2188"/>
                <a:gd name="T17" fmla="*/ 5792 h 14034"/>
                <a:gd name="T18" fmla="*/ 735 w 2188"/>
                <a:gd name="T19" fmla="*/ 5037 h 14034"/>
                <a:gd name="T20" fmla="*/ 734 w 2188"/>
                <a:gd name="T21" fmla="*/ 5036 h 14034"/>
                <a:gd name="T22" fmla="*/ 373 w 2188"/>
                <a:gd name="T23" fmla="*/ 4214 h 14034"/>
                <a:gd name="T24" fmla="*/ 0 w 2188"/>
                <a:gd name="T25" fmla="*/ 2697 h 14034"/>
                <a:gd name="T26" fmla="*/ 376 w 2188"/>
                <a:gd name="T27" fmla="*/ 1180 h 14034"/>
                <a:gd name="T28" fmla="*/ 739 w 2188"/>
                <a:gd name="T29" fmla="*/ 357 h 14034"/>
                <a:gd name="T30" fmla="*/ 918 w 2188"/>
                <a:gd name="T31" fmla="*/ 0 h 14034"/>
                <a:gd name="T32" fmla="*/ 1633 w 2188"/>
                <a:gd name="T33" fmla="*/ 359 h 14034"/>
                <a:gd name="T34" fmla="*/ 1453 w 2188"/>
                <a:gd name="T35" fmla="*/ 717 h 14034"/>
                <a:gd name="T36" fmla="*/ 1118 w 2188"/>
                <a:gd name="T37" fmla="*/ 1478 h 14034"/>
                <a:gd name="T38" fmla="*/ 800 w 2188"/>
                <a:gd name="T39" fmla="*/ 2697 h 14034"/>
                <a:gd name="T40" fmla="*/ 1116 w 2188"/>
                <a:gd name="T41" fmla="*/ 3916 h 14034"/>
                <a:gd name="T42" fmla="*/ 1449 w 2188"/>
                <a:gd name="T43" fmla="*/ 4677 h 14034"/>
                <a:gd name="T44" fmla="*/ 1812 w 2188"/>
                <a:gd name="T45" fmla="*/ 5500 h 14034"/>
                <a:gd name="T46" fmla="*/ 2188 w 2188"/>
                <a:gd name="T47" fmla="*/ 7017 h 14034"/>
                <a:gd name="T48" fmla="*/ 1815 w 2188"/>
                <a:gd name="T49" fmla="*/ 8534 h 14034"/>
                <a:gd name="T50" fmla="*/ 1454 w 2188"/>
                <a:gd name="T51" fmla="*/ 9356 h 14034"/>
                <a:gd name="T52" fmla="*/ 1453 w 2188"/>
                <a:gd name="T53" fmla="*/ 9357 h 14034"/>
                <a:gd name="T54" fmla="*/ 1118 w 2188"/>
                <a:gd name="T55" fmla="*/ 10118 h 14034"/>
                <a:gd name="T56" fmla="*/ 800 w 2188"/>
                <a:gd name="T57" fmla="*/ 11337 h 14034"/>
                <a:gd name="T58" fmla="*/ 1116 w 2188"/>
                <a:gd name="T59" fmla="*/ 12556 h 14034"/>
                <a:gd name="T60" fmla="*/ 1450 w 2188"/>
                <a:gd name="T61" fmla="*/ 13318 h 14034"/>
                <a:gd name="T62" fmla="*/ 1628 w 2188"/>
                <a:gd name="T63" fmla="*/ 13676 h 14034"/>
                <a:gd name="T64" fmla="*/ 913 w 2188"/>
                <a:gd name="T65" fmla="*/ 14034 h 14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188" h="14034">
                  <a:moveTo>
                    <a:pt x="913" y="14034"/>
                  </a:moveTo>
                  <a:cubicBezTo>
                    <a:pt x="734" y="13676"/>
                    <a:pt x="734" y="13676"/>
                    <a:pt x="734" y="13676"/>
                  </a:cubicBezTo>
                  <a:cubicBezTo>
                    <a:pt x="727" y="13661"/>
                    <a:pt x="551" y="13308"/>
                    <a:pt x="373" y="12854"/>
                  </a:cubicBezTo>
                  <a:cubicBezTo>
                    <a:pt x="126" y="12219"/>
                    <a:pt x="0" y="11709"/>
                    <a:pt x="0" y="11337"/>
                  </a:cubicBezTo>
                  <a:cubicBezTo>
                    <a:pt x="0" y="10965"/>
                    <a:pt x="126" y="10454"/>
                    <a:pt x="376" y="9820"/>
                  </a:cubicBezTo>
                  <a:cubicBezTo>
                    <a:pt x="553" y="9368"/>
                    <a:pt x="729" y="9017"/>
                    <a:pt x="738" y="8998"/>
                  </a:cubicBezTo>
                  <a:cubicBezTo>
                    <a:pt x="745" y="8984"/>
                    <a:pt x="910" y="8651"/>
                    <a:pt x="1072" y="8236"/>
                  </a:cubicBezTo>
                  <a:cubicBezTo>
                    <a:pt x="1276" y="7713"/>
                    <a:pt x="1388" y="7280"/>
                    <a:pt x="1388" y="7017"/>
                  </a:cubicBezTo>
                  <a:cubicBezTo>
                    <a:pt x="1388" y="6753"/>
                    <a:pt x="1274" y="6318"/>
                    <a:pt x="1068" y="5792"/>
                  </a:cubicBezTo>
                  <a:cubicBezTo>
                    <a:pt x="902" y="5371"/>
                    <a:pt x="736" y="5040"/>
                    <a:pt x="735" y="5037"/>
                  </a:cubicBezTo>
                  <a:cubicBezTo>
                    <a:pt x="734" y="5036"/>
                    <a:pt x="734" y="5036"/>
                    <a:pt x="734" y="5036"/>
                  </a:cubicBezTo>
                  <a:cubicBezTo>
                    <a:pt x="727" y="5021"/>
                    <a:pt x="551" y="4668"/>
                    <a:pt x="373" y="4214"/>
                  </a:cubicBezTo>
                  <a:cubicBezTo>
                    <a:pt x="126" y="3579"/>
                    <a:pt x="0" y="3069"/>
                    <a:pt x="0" y="2697"/>
                  </a:cubicBezTo>
                  <a:cubicBezTo>
                    <a:pt x="0" y="2325"/>
                    <a:pt x="126" y="1814"/>
                    <a:pt x="376" y="1180"/>
                  </a:cubicBezTo>
                  <a:cubicBezTo>
                    <a:pt x="554" y="725"/>
                    <a:pt x="731" y="372"/>
                    <a:pt x="739" y="357"/>
                  </a:cubicBezTo>
                  <a:cubicBezTo>
                    <a:pt x="918" y="0"/>
                    <a:pt x="918" y="0"/>
                    <a:pt x="918" y="0"/>
                  </a:cubicBezTo>
                  <a:cubicBezTo>
                    <a:pt x="1633" y="359"/>
                    <a:pt x="1633" y="359"/>
                    <a:pt x="1633" y="359"/>
                  </a:cubicBezTo>
                  <a:cubicBezTo>
                    <a:pt x="1453" y="717"/>
                    <a:pt x="1453" y="717"/>
                    <a:pt x="1453" y="717"/>
                  </a:cubicBezTo>
                  <a:cubicBezTo>
                    <a:pt x="1450" y="724"/>
                    <a:pt x="1282" y="1059"/>
                    <a:pt x="1118" y="1478"/>
                  </a:cubicBezTo>
                  <a:cubicBezTo>
                    <a:pt x="913" y="2001"/>
                    <a:pt x="800" y="2434"/>
                    <a:pt x="800" y="2697"/>
                  </a:cubicBezTo>
                  <a:cubicBezTo>
                    <a:pt x="800" y="2960"/>
                    <a:pt x="912" y="3393"/>
                    <a:pt x="1116" y="3916"/>
                  </a:cubicBezTo>
                  <a:cubicBezTo>
                    <a:pt x="1277" y="4329"/>
                    <a:pt x="1441" y="4660"/>
                    <a:pt x="1449" y="4677"/>
                  </a:cubicBezTo>
                  <a:cubicBezTo>
                    <a:pt x="1458" y="4695"/>
                    <a:pt x="1634" y="5047"/>
                    <a:pt x="1812" y="5500"/>
                  </a:cubicBezTo>
                  <a:cubicBezTo>
                    <a:pt x="2062" y="6134"/>
                    <a:pt x="2188" y="6645"/>
                    <a:pt x="2188" y="7017"/>
                  </a:cubicBezTo>
                  <a:cubicBezTo>
                    <a:pt x="2188" y="7389"/>
                    <a:pt x="2062" y="7899"/>
                    <a:pt x="1815" y="8534"/>
                  </a:cubicBezTo>
                  <a:cubicBezTo>
                    <a:pt x="1637" y="8988"/>
                    <a:pt x="1461" y="9341"/>
                    <a:pt x="1454" y="9356"/>
                  </a:cubicBezTo>
                  <a:cubicBezTo>
                    <a:pt x="1453" y="9357"/>
                    <a:pt x="1453" y="9357"/>
                    <a:pt x="1453" y="9357"/>
                  </a:cubicBezTo>
                  <a:cubicBezTo>
                    <a:pt x="1452" y="9360"/>
                    <a:pt x="1283" y="9697"/>
                    <a:pt x="1118" y="10118"/>
                  </a:cubicBezTo>
                  <a:cubicBezTo>
                    <a:pt x="913" y="10641"/>
                    <a:pt x="800" y="11074"/>
                    <a:pt x="800" y="11337"/>
                  </a:cubicBezTo>
                  <a:cubicBezTo>
                    <a:pt x="800" y="11600"/>
                    <a:pt x="912" y="12033"/>
                    <a:pt x="1116" y="12556"/>
                  </a:cubicBezTo>
                  <a:cubicBezTo>
                    <a:pt x="1281" y="12978"/>
                    <a:pt x="1448" y="13315"/>
                    <a:pt x="1450" y="13318"/>
                  </a:cubicBezTo>
                  <a:cubicBezTo>
                    <a:pt x="1628" y="13676"/>
                    <a:pt x="1628" y="13676"/>
                    <a:pt x="1628" y="13676"/>
                  </a:cubicBezTo>
                  <a:lnTo>
                    <a:pt x="913" y="14034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ffectLst>
              <a:outerShdw blurRad="1079500" dist="38100" dir="10800000" algn="r" rotWithShape="0">
                <a:prstClr val="black">
                  <a:alpha val="6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296FE3E8-5AE2-4AAB-A922-39F6D6D17AD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501" y="-18532539"/>
              <a:ext cx="4869845" cy="30915102"/>
            </a:xfrm>
            <a:custGeom>
              <a:avLst/>
              <a:gdLst>
                <a:gd name="T0" fmla="*/ 913 w 2188"/>
                <a:gd name="T1" fmla="*/ 14034 h 14034"/>
                <a:gd name="T2" fmla="*/ 734 w 2188"/>
                <a:gd name="T3" fmla="*/ 13676 h 14034"/>
                <a:gd name="T4" fmla="*/ 373 w 2188"/>
                <a:gd name="T5" fmla="*/ 12854 h 14034"/>
                <a:gd name="T6" fmla="*/ 0 w 2188"/>
                <a:gd name="T7" fmla="*/ 11337 h 14034"/>
                <a:gd name="T8" fmla="*/ 376 w 2188"/>
                <a:gd name="T9" fmla="*/ 9820 h 14034"/>
                <a:gd name="T10" fmla="*/ 738 w 2188"/>
                <a:gd name="T11" fmla="*/ 8998 h 14034"/>
                <a:gd name="T12" fmla="*/ 1072 w 2188"/>
                <a:gd name="T13" fmla="*/ 8236 h 14034"/>
                <a:gd name="T14" fmla="*/ 1388 w 2188"/>
                <a:gd name="T15" fmla="*/ 7017 h 14034"/>
                <a:gd name="T16" fmla="*/ 1068 w 2188"/>
                <a:gd name="T17" fmla="*/ 5792 h 14034"/>
                <a:gd name="T18" fmla="*/ 735 w 2188"/>
                <a:gd name="T19" fmla="*/ 5037 h 14034"/>
                <a:gd name="T20" fmla="*/ 734 w 2188"/>
                <a:gd name="T21" fmla="*/ 5036 h 14034"/>
                <a:gd name="T22" fmla="*/ 373 w 2188"/>
                <a:gd name="T23" fmla="*/ 4214 h 14034"/>
                <a:gd name="T24" fmla="*/ 0 w 2188"/>
                <a:gd name="T25" fmla="*/ 2697 h 14034"/>
                <a:gd name="T26" fmla="*/ 376 w 2188"/>
                <a:gd name="T27" fmla="*/ 1180 h 14034"/>
                <a:gd name="T28" fmla="*/ 739 w 2188"/>
                <a:gd name="T29" fmla="*/ 357 h 14034"/>
                <a:gd name="T30" fmla="*/ 918 w 2188"/>
                <a:gd name="T31" fmla="*/ 0 h 14034"/>
                <a:gd name="T32" fmla="*/ 1633 w 2188"/>
                <a:gd name="T33" fmla="*/ 359 h 14034"/>
                <a:gd name="T34" fmla="*/ 1453 w 2188"/>
                <a:gd name="T35" fmla="*/ 717 h 14034"/>
                <a:gd name="T36" fmla="*/ 1118 w 2188"/>
                <a:gd name="T37" fmla="*/ 1478 h 14034"/>
                <a:gd name="T38" fmla="*/ 800 w 2188"/>
                <a:gd name="T39" fmla="*/ 2697 h 14034"/>
                <a:gd name="T40" fmla="*/ 1116 w 2188"/>
                <a:gd name="T41" fmla="*/ 3916 h 14034"/>
                <a:gd name="T42" fmla="*/ 1449 w 2188"/>
                <a:gd name="T43" fmla="*/ 4677 h 14034"/>
                <a:gd name="T44" fmla="*/ 1812 w 2188"/>
                <a:gd name="T45" fmla="*/ 5500 h 14034"/>
                <a:gd name="T46" fmla="*/ 2188 w 2188"/>
                <a:gd name="T47" fmla="*/ 7017 h 14034"/>
                <a:gd name="T48" fmla="*/ 1815 w 2188"/>
                <a:gd name="T49" fmla="*/ 8534 h 14034"/>
                <a:gd name="T50" fmla="*/ 1454 w 2188"/>
                <a:gd name="T51" fmla="*/ 9356 h 14034"/>
                <a:gd name="T52" fmla="*/ 1453 w 2188"/>
                <a:gd name="T53" fmla="*/ 9357 h 14034"/>
                <a:gd name="T54" fmla="*/ 1118 w 2188"/>
                <a:gd name="T55" fmla="*/ 10118 h 14034"/>
                <a:gd name="T56" fmla="*/ 800 w 2188"/>
                <a:gd name="T57" fmla="*/ 11337 h 14034"/>
                <a:gd name="T58" fmla="*/ 1116 w 2188"/>
                <a:gd name="T59" fmla="*/ 12556 h 14034"/>
                <a:gd name="T60" fmla="*/ 1450 w 2188"/>
                <a:gd name="T61" fmla="*/ 13318 h 14034"/>
                <a:gd name="T62" fmla="*/ 1628 w 2188"/>
                <a:gd name="T63" fmla="*/ 13676 h 14034"/>
                <a:gd name="T64" fmla="*/ 913 w 2188"/>
                <a:gd name="T65" fmla="*/ 14034 h 14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188" h="14034">
                  <a:moveTo>
                    <a:pt x="913" y="14034"/>
                  </a:moveTo>
                  <a:cubicBezTo>
                    <a:pt x="734" y="13676"/>
                    <a:pt x="734" y="13676"/>
                    <a:pt x="734" y="13676"/>
                  </a:cubicBezTo>
                  <a:cubicBezTo>
                    <a:pt x="727" y="13661"/>
                    <a:pt x="551" y="13308"/>
                    <a:pt x="373" y="12854"/>
                  </a:cubicBezTo>
                  <a:cubicBezTo>
                    <a:pt x="126" y="12219"/>
                    <a:pt x="0" y="11709"/>
                    <a:pt x="0" y="11337"/>
                  </a:cubicBezTo>
                  <a:cubicBezTo>
                    <a:pt x="0" y="10965"/>
                    <a:pt x="126" y="10454"/>
                    <a:pt x="376" y="9820"/>
                  </a:cubicBezTo>
                  <a:cubicBezTo>
                    <a:pt x="553" y="9368"/>
                    <a:pt x="729" y="9017"/>
                    <a:pt x="738" y="8998"/>
                  </a:cubicBezTo>
                  <a:cubicBezTo>
                    <a:pt x="745" y="8984"/>
                    <a:pt x="910" y="8651"/>
                    <a:pt x="1072" y="8236"/>
                  </a:cubicBezTo>
                  <a:cubicBezTo>
                    <a:pt x="1276" y="7713"/>
                    <a:pt x="1388" y="7280"/>
                    <a:pt x="1388" y="7017"/>
                  </a:cubicBezTo>
                  <a:cubicBezTo>
                    <a:pt x="1388" y="6753"/>
                    <a:pt x="1274" y="6318"/>
                    <a:pt x="1068" y="5792"/>
                  </a:cubicBezTo>
                  <a:cubicBezTo>
                    <a:pt x="902" y="5371"/>
                    <a:pt x="736" y="5040"/>
                    <a:pt x="735" y="5037"/>
                  </a:cubicBezTo>
                  <a:cubicBezTo>
                    <a:pt x="734" y="5036"/>
                    <a:pt x="734" y="5036"/>
                    <a:pt x="734" y="5036"/>
                  </a:cubicBezTo>
                  <a:cubicBezTo>
                    <a:pt x="727" y="5021"/>
                    <a:pt x="551" y="4668"/>
                    <a:pt x="373" y="4214"/>
                  </a:cubicBezTo>
                  <a:cubicBezTo>
                    <a:pt x="126" y="3579"/>
                    <a:pt x="0" y="3069"/>
                    <a:pt x="0" y="2697"/>
                  </a:cubicBezTo>
                  <a:cubicBezTo>
                    <a:pt x="0" y="2325"/>
                    <a:pt x="126" y="1814"/>
                    <a:pt x="376" y="1180"/>
                  </a:cubicBezTo>
                  <a:cubicBezTo>
                    <a:pt x="554" y="725"/>
                    <a:pt x="731" y="372"/>
                    <a:pt x="739" y="357"/>
                  </a:cubicBezTo>
                  <a:cubicBezTo>
                    <a:pt x="918" y="0"/>
                    <a:pt x="918" y="0"/>
                    <a:pt x="918" y="0"/>
                  </a:cubicBezTo>
                  <a:cubicBezTo>
                    <a:pt x="1633" y="359"/>
                    <a:pt x="1633" y="359"/>
                    <a:pt x="1633" y="359"/>
                  </a:cubicBezTo>
                  <a:cubicBezTo>
                    <a:pt x="1453" y="717"/>
                    <a:pt x="1453" y="717"/>
                    <a:pt x="1453" y="717"/>
                  </a:cubicBezTo>
                  <a:cubicBezTo>
                    <a:pt x="1450" y="724"/>
                    <a:pt x="1282" y="1059"/>
                    <a:pt x="1118" y="1478"/>
                  </a:cubicBezTo>
                  <a:cubicBezTo>
                    <a:pt x="913" y="2001"/>
                    <a:pt x="800" y="2434"/>
                    <a:pt x="800" y="2697"/>
                  </a:cubicBezTo>
                  <a:cubicBezTo>
                    <a:pt x="800" y="2960"/>
                    <a:pt x="912" y="3393"/>
                    <a:pt x="1116" y="3916"/>
                  </a:cubicBezTo>
                  <a:cubicBezTo>
                    <a:pt x="1277" y="4329"/>
                    <a:pt x="1441" y="4660"/>
                    <a:pt x="1449" y="4677"/>
                  </a:cubicBezTo>
                  <a:cubicBezTo>
                    <a:pt x="1458" y="4695"/>
                    <a:pt x="1634" y="5047"/>
                    <a:pt x="1812" y="5500"/>
                  </a:cubicBezTo>
                  <a:cubicBezTo>
                    <a:pt x="2062" y="6134"/>
                    <a:pt x="2188" y="6645"/>
                    <a:pt x="2188" y="7017"/>
                  </a:cubicBezTo>
                  <a:cubicBezTo>
                    <a:pt x="2188" y="7389"/>
                    <a:pt x="2062" y="7899"/>
                    <a:pt x="1815" y="8534"/>
                  </a:cubicBezTo>
                  <a:cubicBezTo>
                    <a:pt x="1637" y="8988"/>
                    <a:pt x="1461" y="9341"/>
                    <a:pt x="1454" y="9356"/>
                  </a:cubicBezTo>
                  <a:cubicBezTo>
                    <a:pt x="1453" y="9357"/>
                    <a:pt x="1453" y="9357"/>
                    <a:pt x="1453" y="9357"/>
                  </a:cubicBezTo>
                  <a:cubicBezTo>
                    <a:pt x="1452" y="9360"/>
                    <a:pt x="1283" y="9697"/>
                    <a:pt x="1118" y="10118"/>
                  </a:cubicBezTo>
                  <a:cubicBezTo>
                    <a:pt x="913" y="10641"/>
                    <a:pt x="800" y="11074"/>
                    <a:pt x="800" y="11337"/>
                  </a:cubicBezTo>
                  <a:cubicBezTo>
                    <a:pt x="800" y="11600"/>
                    <a:pt x="912" y="12033"/>
                    <a:pt x="1116" y="12556"/>
                  </a:cubicBezTo>
                  <a:cubicBezTo>
                    <a:pt x="1281" y="12978"/>
                    <a:pt x="1448" y="13315"/>
                    <a:pt x="1450" y="13318"/>
                  </a:cubicBezTo>
                  <a:cubicBezTo>
                    <a:pt x="1628" y="13676"/>
                    <a:pt x="1628" y="13676"/>
                    <a:pt x="1628" y="13676"/>
                  </a:cubicBezTo>
                  <a:lnTo>
                    <a:pt x="913" y="1403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>
              <a:outerShdw blurRad="1079500" dist="38100" dir="10800000" algn="r" rotWithShape="0">
                <a:prstClr val="black">
                  <a:alpha val="6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87D12C30-E337-4441-A82B-652EB43CC7EF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0833" y="-18532539"/>
              <a:ext cx="4869845" cy="30915102"/>
            </a:xfrm>
            <a:custGeom>
              <a:avLst/>
              <a:gdLst>
                <a:gd name="T0" fmla="*/ 913 w 2188"/>
                <a:gd name="T1" fmla="*/ 14034 h 14034"/>
                <a:gd name="T2" fmla="*/ 734 w 2188"/>
                <a:gd name="T3" fmla="*/ 13676 h 14034"/>
                <a:gd name="T4" fmla="*/ 373 w 2188"/>
                <a:gd name="T5" fmla="*/ 12854 h 14034"/>
                <a:gd name="T6" fmla="*/ 0 w 2188"/>
                <a:gd name="T7" fmla="*/ 11337 h 14034"/>
                <a:gd name="T8" fmla="*/ 376 w 2188"/>
                <a:gd name="T9" fmla="*/ 9820 h 14034"/>
                <a:gd name="T10" fmla="*/ 738 w 2188"/>
                <a:gd name="T11" fmla="*/ 8998 h 14034"/>
                <a:gd name="T12" fmla="*/ 1072 w 2188"/>
                <a:gd name="T13" fmla="*/ 8236 h 14034"/>
                <a:gd name="T14" fmla="*/ 1388 w 2188"/>
                <a:gd name="T15" fmla="*/ 7017 h 14034"/>
                <a:gd name="T16" fmla="*/ 1068 w 2188"/>
                <a:gd name="T17" fmla="*/ 5792 h 14034"/>
                <a:gd name="T18" fmla="*/ 735 w 2188"/>
                <a:gd name="T19" fmla="*/ 5037 h 14034"/>
                <a:gd name="T20" fmla="*/ 734 w 2188"/>
                <a:gd name="T21" fmla="*/ 5036 h 14034"/>
                <a:gd name="T22" fmla="*/ 373 w 2188"/>
                <a:gd name="T23" fmla="*/ 4214 h 14034"/>
                <a:gd name="T24" fmla="*/ 0 w 2188"/>
                <a:gd name="T25" fmla="*/ 2697 h 14034"/>
                <a:gd name="T26" fmla="*/ 376 w 2188"/>
                <a:gd name="T27" fmla="*/ 1180 h 14034"/>
                <a:gd name="T28" fmla="*/ 739 w 2188"/>
                <a:gd name="T29" fmla="*/ 357 h 14034"/>
                <a:gd name="T30" fmla="*/ 918 w 2188"/>
                <a:gd name="T31" fmla="*/ 0 h 14034"/>
                <a:gd name="T32" fmla="*/ 1633 w 2188"/>
                <a:gd name="T33" fmla="*/ 359 h 14034"/>
                <a:gd name="T34" fmla="*/ 1453 w 2188"/>
                <a:gd name="T35" fmla="*/ 717 h 14034"/>
                <a:gd name="T36" fmla="*/ 1118 w 2188"/>
                <a:gd name="T37" fmla="*/ 1478 h 14034"/>
                <a:gd name="T38" fmla="*/ 800 w 2188"/>
                <a:gd name="T39" fmla="*/ 2697 h 14034"/>
                <a:gd name="T40" fmla="*/ 1116 w 2188"/>
                <a:gd name="T41" fmla="*/ 3916 h 14034"/>
                <a:gd name="T42" fmla="*/ 1449 w 2188"/>
                <a:gd name="T43" fmla="*/ 4677 h 14034"/>
                <a:gd name="T44" fmla="*/ 1812 w 2188"/>
                <a:gd name="T45" fmla="*/ 5500 h 14034"/>
                <a:gd name="T46" fmla="*/ 2188 w 2188"/>
                <a:gd name="T47" fmla="*/ 7017 h 14034"/>
                <a:gd name="T48" fmla="*/ 1815 w 2188"/>
                <a:gd name="T49" fmla="*/ 8534 h 14034"/>
                <a:gd name="T50" fmla="*/ 1454 w 2188"/>
                <a:gd name="T51" fmla="*/ 9356 h 14034"/>
                <a:gd name="T52" fmla="*/ 1453 w 2188"/>
                <a:gd name="T53" fmla="*/ 9357 h 14034"/>
                <a:gd name="T54" fmla="*/ 1118 w 2188"/>
                <a:gd name="T55" fmla="*/ 10118 h 14034"/>
                <a:gd name="T56" fmla="*/ 800 w 2188"/>
                <a:gd name="T57" fmla="*/ 11337 h 14034"/>
                <a:gd name="T58" fmla="*/ 1116 w 2188"/>
                <a:gd name="T59" fmla="*/ 12556 h 14034"/>
                <a:gd name="T60" fmla="*/ 1450 w 2188"/>
                <a:gd name="T61" fmla="*/ 13318 h 14034"/>
                <a:gd name="T62" fmla="*/ 1628 w 2188"/>
                <a:gd name="T63" fmla="*/ 13676 h 14034"/>
                <a:gd name="T64" fmla="*/ 913 w 2188"/>
                <a:gd name="T65" fmla="*/ 14034 h 14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188" h="14034">
                  <a:moveTo>
                    <a:pt x="913" y="14034"/>
                  </a:moveTo>
                  <a:cubicBezTo>
                    <a:pt x="734" y="13676"/>
                    <a:pt x="734" y="13676"/>
                    <a:pt x="734" y="13676"/>
                  </a:cubicBezTo>
                  <a:cubicBezTo>
                    <a:pt x="727" y="13661"/>
                    <a:pt x="551" y="13308"/>
                    <a:pt x="373" y="12854"/>
                  </a:cubicBezTo>
                  <a:cubicBezTo>
                    <a:pt x="126" y="12219"/>
                    <a:pt x="0" y="11709"/>
                    <a:pt x="0" y="11337"/>
                  </a:cubicBezTo>
                  <a:cubicBezTo>
                    <a:pt x="0" y="10965"/>
                    <a:pt x="126" y="10454"/>
                    <a:pt x="376" y="9820"/>
                  </a:cubicBezTo>
                  <a:cubicBezTo>
                    <a:pt x="553" y="9368"/>
                    <a:pt x="729" y="9017"/>
                    <a:pt x="738" y="8998"/>
                  </a:cubicBezTo>
                  <a:cubicBezTo>
                    <a:pt x="745" y="8984"/>
                    <a:pt x="910" y="8651"/>
                    <a:pt x="1072" y="8236"/>
                  </a:cubicBezTo>
                  <a:cubicBezTo>
                    <a:pt x="1276" y="7713"/>
                    <a:pt x="1388" y="7280"/>
                    <a:pt x="1388" y="7017"/>
                  </a:cubicBezTo>
                  <a:cubicBezTo>
                    <a:pt x="1388" y="6753"/>
                    <a:pt x="1274" y="6318"/>
                    <a:pt x="1068" y="5792"/>
                  </a:cubicBezTo>
                  <a:cubicBezTo>
                    <a:pt x="902" y="5371"/>
                    <a:pt x="736" y="5040"/>
                    <a:pt x="735" y="5037"/>
                  </a:cubicBezTo>
                  <a:cubicBezTo>
                    <a:pt x="734" y="5036"/>
                    <a:pt x="734" y="5036"/>
                    <a:pt x="734" y="5036"/>
                  </a:cubicBezTo>
                  <a:cubicBezTo>
                    <a:pt x="727" y="5021"/>
                    <a:pt x="551" y="4668"/>
                    <a:pt x="373" y="4214"/>
                  </a:cubicBezTo>
                  <a:cubicBezTo>
                    <a:pt x="126" y="3579"/>
                    <a:pt x="0" y="3069"/>
                    <a:pt x="0" y="2697"/>
                  </a:cubicBezTo>
                  <a:cubicBezTo>
                    <a:pt x="0" y="2325"/>
                    <a:pt x="126" y="1814"/>
                    <a:pt x="376" y="1180"/>
                  </a:cubicBezTo>
                  <a:cubicBezTo>
                    <a:pt x="554" y="725"/>
                    <a:pt x="731" y="372"/>
                    <a:pt x="739" y="357"/>
                  </a:cubicBezTo>
                  <a:cubicBezTo>
                    <a:pt x="918" y="0"/>
                    <a:pt x="918" y="0"/>
                    <a:pt x="918" y="0"/>
                  </a:cubicBezTo>
                  <a:cubicBezTo>
                    <a:pt x="1633" y="359"/>
                    <a:pt x="1633" y="359"/>
                    <a:pt x="1633" y="359"/>
                  </a:cubicBezTo>
                  <a:cubicBezTo>
                    <a:pt x="1453" y="717"/>
                    <a:pt x="1453" y="717"/>
                    <a:pt x="1453" y="717"/>
                  </a:cubicBezTo>
                  <a:cubicBezTo>
                    <a:pt x="1450" y="724"/>
                    <a:pt x="1282" y="1059"/>
                    <a:pt x="1118" y="1478"/>
                  </a:cubicBezTo>
                  <a:cubicBezTo>
                    <a:pt x="913" y="2001"/>
                    <a:pt x="800" y="2434"/>
                    <a:pt x="800" y="2697"/>
                  </a:cubicBezTo>
                  <a:cubicBezTo>
                    <a:pt x="800" y="2960"/>
                    <a:pt x="912" y="3393"/>
                    <a:pt x="1116" y="3916"/>
                  </a:cubicBezTo>
                  <a:cubicBezTo>
                    <a:pt x="1277" y="4329"/>
                    <a:pt x="1441" y="4660"/>
                    <a:pt x="1449" y="4677"/>
                  </a:cubicBezTo>
                  <a:cubicBezTo>
                    <a:pt x="1458" y="4695"/>
                    <a:pt x="1634" y="5047"/>
                    <a:pt x="1812" y="5500"/>
                  </a:cubicBezTo>
                  <a:cubicBezTo>
                    <a:pt x="2062" y="6134"/>
                    <a:pt x="2188" y="6645"/>
                    <a:pt x="2188" y="7017"/>
                  </a:cubicBezTo>
                  <a:cubicBezTo>
                    <a:pt x="2188" y="7389"/>
                    <a:pt x="2062" y="7899"/>
                    <a:pt x="1815" y="8534"/>
                  </a:cubicBezTo>
                  <a:cubicBezTo>
                    <a:pt x="1637" y="8988"/>
                    <a:pt x="1461" y="9341"/>
                    <a:pt x="1454" y="9356"/>
                  </a:cubicBezTo>
                  <a:cubicBezTo>
                    <a:pt x="1453" y="9357"/>
                    <a:pt x="1453" y="9357"/>
                    <a:pt x="1453" y="9357"/>
                  </a:cubicBezTo>
                  <a:cubicBezTo>
                    <a:pt x="1452" y="9360"/>
                    <a:pt x="1283" y="9697"/>
                    <a:pt x="1118" y="10118"/>
                  </a:cubicBezTo>
                  <a:cubicBezTo>
                    <a:pt x="913" y="10641"/>
                    <a:pt x="800" y="11074"/>
                    <a:pt x="800" y="11337"/>
                  </a:cubicBezTo>
                  <a:cubicBezTo>
                    <a:pt x="800" y="11600"/>
                    <a:pt x="912" y="12033"/>
                    <a:pt x="1116" y="12556"/>
                  </a:cubicBezTo>
                  <a:cubicBezTo>
                    <a:pt x="1281" y="12978"/>
                    <a:pt x="1448" y="13315"/>
                    <a:pt x="1450" y="13318"/>
                  </a:cubicBezTo>
                  <a:cubicBezTo>
                    <a:pt x="1628" y="13676"/>
                    <a:pt x="1628" y="13676"/>
                    <a:pt x="1628" y="13676"/>
                  </a:cubicBezTo>
                  <a:lnTo>
                    <a:pt x="913" y="14034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>
              <a:outerShdw blurRad="1079500" dist="38100" dir="10800000" algn="r" rotWithShape="0">
                <a:prstClr val="black">
                  <a:alpha val="6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7">
              <a:extLst>
                <a:ext uri="{FF2B5EF4-FFF2-40B4-BE49-F238E27FC236}">
                  <a16:creationId xmlns:a16="http://schemas.microsoft.com/office/drawing/2014/main" id="{C59389EA-297F-44E5-A20B-E66BABC170D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0167" y="-18532539"/>
              <a:ext cx="4869845" cy="30915102"/>
            </a:xfrm>
            <a:custGeom>
              <a:avLst/>
              <a:gdLst>
                <a:gd name="T0" fmla="*/ 913 w 2188"/>
                <a:gd name="T1" fmla="*/ 14034 h 14034"/>
                <a:gd name="T2" fmla="*/ 734 w 2188"/>
                <a:gd name="T3" fmla="*/ 13676 h 14034"/>
                <a:gd name="T4" fmla="*/ 373 w 2188"/>
                <a:gd name="T5" fmla="*/ 12854 h 14034"/>
                <a:gd name="T6" fmla="*/ 0 w 2188"/>
                <a:gd name="T7" fmla="*/ 11337 h 14034"/>
                <a:gd name="T8" fmla="*/ 376 w 2188"/>
                <a:gd name="T9" fmla="*/ 9820 h 14034"/>
                <a:gd name="T10" fmla="*/ 738 w 2188"/>
                <a:gd name="T11" fmla="*/ 8998 h 14034"/>
                <a:gd name="T12" fmla="*/ 1072 w 2188"/>
                <a:gd name="T13" fmla="*/ 8236 h 14034"/>
                <a:gd name="T14" fmla="*/ 1388 w 2188"/>
                <a:gd name="T15" fmla="*/ 7017 h 14034"/>
                <a:gd name="T16" fmla="*/ 1068 w 2188"/>
                <a:gd name="T17" fmla="*/ 5792 h 14034"/>
                <a:gd name="T18" fmla="*/ 735 w 2188"/>
                <a:gd name="T19" fmla="*/ 5037 h 14034"/>
                <a:gd name="T20" fmla="*/ 734 w 2188"/>
                <a:gd name="T21" fmla="*/ 5036 h 14034"/>
                <a:gd name="T22" fmla="*/ 373 w 2188"/>
                <a:gd name="T23" fmla="*/ 4214 h 14034"/>
                <a:gd name="T24" fmla="*/ 0 w 2188"/>
                <a:gd name="T25" fmla="*/ 2697 h 14034"/>
                <a:gd name="T26" fmla="*/ 376 w 2188"/>
                <a:gd name="T27" fmla="*/ 1180 h 14034"/>
                <a:gd name="T28" fmla="*/ 739 w 2188"/>
                <a:gd name="T29" fmla="*/ 357 h 14034"/>
                <a:gd name="T30" fmla="*/ 918 w 2188"/>
                <a:gd name="T31" fmla="*/ 0 h 14034"/>
                <a:gd name="T32" fmla="*/ 1633 w 2188"/>
                <a:gd name="T33" fmla="*/ 359 h 14034"/>
                <a:gd name="T34" fmla="*/ 1453 w 2188"/>
                <a:gd name="T35" fmla="*/ 717 h 14034"/>
                <a:gd name="T36" fmla="*/ 1118 w 2188"/>
                <a:gd name="T37" fmla="*/ 1478 h 14034"/>
                <a:gd name="T38" fmla="*/ 800 w 2188"/>
                <a:gd name="T39" fmla="*/ 2697 h 14034"/>
                <a:gd name="T40" fmla="*/ 1116 w 2188"/>
                <a:gd name="T41" fmla="*/ 3916 h 14034"/>
                <a:gd name="T42" fmla="*/ 1449 w 2188"/>
                <a:gd name="T43" fmla="*/ 4677 h 14034"/>
                <a:gd name="T44" fmla="*/ 1812 w 2188"/>
                <a:gd name="T45" fmla="*/ 5500 h 14034"/>
                <a:gd name="T46" fmla="*/ 2188 w 2188"/>
                <a:gd name="T47" fmla="*/ 7017 h 14034"/>
                <a:gd name="T48" fmla="*/ 1815 w 2188"/>
                <a:gd name="T49" fmla="*/ 8534 h 14034"/>
                <a:gd name="T50" fmla="*/ 1454 w 2188"/>
                <a:gd name="T51" fmla="*/ 9356 h 14034"/>
                <a:gd name="T52" fmla="*/ 1453 w 2188"/>
                <a:gd name="T53" fmla="*/ 9357 h 14034"/>
                <a:gd name="T54" fmla="*/ 1118 w 2188"/>
                <a:gd name="T55" fmla="*/ 10118 h 14034"/>
                <a:gd name="T56" fmla="*/ 800 w 2188"/>
                <a:gd name="T57" fmla="*/ 11337 h 14034"/>
                <a:gd name="T58" fmla="*/ 1116 w 2188"/>
                <a:gd name="T59" fmla="*/ 12556 h 14034"/>
                <a:gd name="T60" fmla="*/ 1450 w 2188"/>
                <a:gd name="T61" fmla="*/ 13318 h 14034"/>
                <a:gd name="T62" fmla="*/ 1628 w 2188"/>
                <a:gd name="T63" fmla="*/ 13676 h 14034"/>
                <a:gd name="T64" fmla="*/ 913 w 2188"/>
                <a:gd name="T65" fmla="*/ 14034 h 14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188" h="14034">
                  <a:moveTo>
                    <a:pt x="913" y="14034"/>
                  </a:moveTo>
                  <a:cubicBezTo>
                    <a:pt x="734" y="13676"/>
                    <a:pt x="734" y="13676"/>
                    <a:pt x="734" y="13676"/>
                  </a:cubicBezTo>
                  <a:cubicBezTo>
                    <a:pt x="727" y="13661"/>
                    <a:pt x="551" y="13308"/>
                    <a:pt x="373" y="12854"/>
                  </a:cubicBezTo>
                  <a:cubicBezTo>
                    <a:pt x="126" y="12219"/>
                    <a:pt x="0" y="11709"/>
                    <a:pt x="0" y="11337"/>
                  </a:cubicBezTo>
                  <a:cubicBezTo>
                    <a:pt x="0" y="10965"/>
                    <a:pt x="126" y="10454"/>
                    <a:pt x="376" y="9820"/>
                  </a:cubicBezTo>
                  <a:cubicBezTo>
                    <a:pt x="553" y="9368"/>
                    <a:pt x="729" y="9017"/>
                    <a:pt x="738" y="8998"/>
                  </a:cubicBezTo>
                  <a:cubicBezTo>
                    <a:pt x="745" y="8984"/>
                    <a:pt x="910" y="8651"/>
                    <a:pt x="1072" y="8236"/>
                  </a:cubicBezTo>
                  <a:cubicBezTo>
                    <a:pt x="1276" y="7713"/>
                    <a:pt x="1388" y="7280"/>
                    <a:pt x="1388" y="7017"/>
                  </a:cubicBezTo>
                  <a:cubicBezTo>
                    <a:pt x="1388" y="6753"/>
                    <a:pt x="1274" y="6318"/>
                    <a:pt x="1068" y="5792"/>
                  </a:cubicBezTo>
                  <a:cubicBezTo>
                    <a:pt x="902" y="5371"/>
                    <a:pt x="736" y="5040"/>
                    <a:pt x="735" y="5037"/>
                  </a:cubicBezTo>
                  <a:cubicBezTo>
                    <a:pt x="734" y="5036"/>
                    <a:pt x="734" y="5036"/>
                    <a:pt x="734" y="5036"/>
                  </a:cubicBezTo>
                  <a:cubicBezTo>
                    <a:pt x="727" y="5021"/>
                    <a:pt x="551" y="4668"/>
                    <a:pt x="373" y="4214"/>
                  </a:cubicBezTo>
                  <a:cubicBezTo>
                    <a:pt x="126" y="3579"/>
                    <a:pt x="0" y="3069"/>
                    <a:pt x="0" y="2697"/>
                  </a:cubicBezTo>
                  <a:cubicBezTo>
                    <a:pt x="0" y="2325"/>
                    <a:pt x="126" y="1814"/>
                    <a:pt x="376" y="1180"/>
                  </a:cubicBezTo>
                  <a:cubicBezTo>
                    <a:pt x="554" y="725"/>
                    <a:pt x="731" y="372"/>
                    <a:pt x="739" y="357"/>
                  </a:cubicBezTo>
                  <a:cubicBezTo>
                    <a:pt x="918" y="0"/>
                    <a:pt x="918" y="0"/>
                    <a:pt x="918" y="0"/>
                  </a:cubicBezTo>
                  <a:cubicBezTo>
                    <a:pt x="1633" y="359"/>
                    <a:pt x="1633" y="359"/>
                    <a:pt x="1633" y="359"/>
                  </a:cubicBezTo>
                  <a:cubicBezTo>
                    <a:pt x="1453" y="717"/>
                    <a:pt x="1453" y="717"/>
                    <a:pt x="1453" y="717"/>
                  </a:cubicBezTo>
                  <a:cubicBezTo>
                    <a:pt x="1450" y="724"/>
                    <a:pt x="1282" y="1059"/>
                    <a:pt x="1118" y="1478"/>
                  </a:cubicBezTo>
                  <a:cubicBezTo>
                    <a:pt x="913" y="2001"/>
                    <a:pt x="800" y="2434"/>
                    <a:pt x="800" y="2697"/>
                  </a:cubicBezTo>
                  <a:cubicBezTo>
                    <a:pt x="800" y="2960"/>
                    <a:pt x="912" y="3393"/>
                    <a:pt x="1116" y="3916"/>
                  </a:cubicBezTo>
                  <a:cubicBezTo>
                    <a:pt x="1277" y="4329"/>
                    <a:pt x="1441" y="4660"/>
                    <a:pt x="1449" y="4677"/>
                  </a:cubicBezTo>
                  <a:cubicBezTo>
                    <a:pt x="1458" y="4695"/>
                    <a:pt x="1634" y="5047"/>
                    <a:pt x="1812" y="5500"/>
                  </a:cubicBezTo>
                  <a:cubicBezTo>
                    <a:pt x="2062" y="6134"/>
                    <a:pt x="2188" y="6645"/>
                    <a:pt x="2188" y="7017"/>
                  </a:cubicBezTo>
                  <a:cubicBezTo>
                    <a:pt x="2188" y="7389"/>
                    <a:pt x="2062" y="7899"/>
                    <a:pt x="1815" y="8534"/>
                  </a:cubicBezTo>
                  <a:cubicBezTo>
                    <a:pt x="1637" y="8988"/>
                    <a:pt x="1461" y="9341"/>
                    <a:pt x="1454" y="9356"/>
                  </a:cubicBezTo>
                  <a:cubicBezTo>
                    <a:pt x="1453" y="9357"/>
                    <a:pt x="1453" y="9357"/>
                    <a:pt x="1453" y="9357"/>
                  </a:cubicBezTo>
                  <a:cubicBezTo>
                    <a:pt x="1452" y="9360"/>
                    <a:pt x="1283" y="9697"/>
                    <a:pt x="1118" y="10118"/>
                  </a:cubicBezTo>
                  <a:cubicBezTo>
                    <a:pt x="913" y="10641"/>
                    <a:pt x="800" y="11074"/>
                    <a:pt x="800" y="11337"/>
                  </a:cubicBezTo>
                  <a:cubicBezTo>
                    <a:pt x="800" y="11600"/>
                    <a:pt x="912" y="12033"/>
                    <a:pt x="1116" y="12556"/>
                  </a:cubicBezTo>
                  <a:cubicBezTo>
                    <a:pt x="1281" y="12978"/>
                    <a:pt x="1448" y="13315"/>
                    <a:pt x="1450" y="13318"/>
                  </a:cubicBezTo>
                  <a:cubicBezTo>
                    <a:pt x="1628" y="13676"/>
                    <a:pt x="1628" y="13676"/>
                    <a:pt x="1628" y="13676"/>
                  </a:cubicBezTo>
                  <a:lnTo>
                    <a:pt x="913" y="1403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>
              <a:outerShdw blurRad="1079500" dist="38100" dir="10800000" algn="r" rotWithShape="0">
                <a:prstClr val="black">
                  <a:alpha val="6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8">
              <a:extLst>
                <a:ext uri="{FF2B5EF4-FFF2-40B4-BE49-F238E27FC236}">
                  <a16:creationId xmlns:a16="http://schemas.microsoft.com/office/drawing/2014/main" id="{E821DE54-018F-444F-AB50-D407AEBC044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5923" y="-18532539"/>
              <a:ext cx="4873422" cy="30915102"/>
            </a:xfrm>
            <a:custGeom>
              <a:avLst/>
              <a:gdLst>
                <a:gd name="T0" fmla="*/ 913 w 2188"/>
                <a:gd name="T1" fmla="*/ 14034 h 14034"/>
                <a:gd name="T2" fmla="*/ 734 w 2188"/>
                <a:gd name="T3" fmla="*/ 13676 h 14034"/>
                <a:gd name="T4" fmla="*/ 373 w 2188"/>
                <a:gd name="T5" fmla="*/ 12854 h 14034"/>
                <a:gd name="T6" fmla="*/ 0 w 2188"/>
                <a:gd name="T7" fmla="*/ 11337 h 14034"/>
                <a:gd name="T8" fmla="*/ 376 w 2188"/>
                <a:gd name="T9" fmla="*/ 9820 h 14034"/>
                <a:gd name="T10" fmla="*/ 738 w 2188"/>
                <a:gd name="T11" fmla="*/ 8998 h 14034"/>
                <a:gd name="T12" fmla="*/ 1072 w 2188"/>
                <a:gd name="T13" fmla="*/ 8236 h 14034"/>
                <a:gd name="T14" fmla="*/ 1388 w 2188"/>
                <a:gd name="T15" fmla="*/ 7017 h 14034"/>
                <a:gd name="T16" fmla="*/ 1068 w 2188"/>
                <a:gd name="T17" fmla="*/ 5792 h 14034"/>
                <a:gd name="T18" fmla="*/ 735 w 2188"/>
                <a:gd name="T19" fmla="*/ 5037 h 14034"/>
                <a:gd name="T20" fmla="*/ 734 w 2188"/>
                <a:gd name="T21" fmla="*/ 5036 h 14034"/>
                <a:gd name="T22" fmla="*/ 373 w 2188"/>
                <a:gd name="T23" fmla="*/ 4214 h 14034"/>
                <a:gd name="T24" fmla="*/ 0 w 2188"/>
                <a:gd name="T25" fmla="*/ 2697 h 14034"/>
                <a:gd name="T26" fmla="*/ 376 w 2188"/>
                <a:gd name="T27" fmla="*/ 1180 h 14034"/>
                <a:gd name="T28" fmla="*/ 739 w 2188"/>
                <a:gd name="T29" fmla="*/ 357 h 14034"/>
                <a:gd name="T30" fmla="*/ 918 w 2188"/>
                <a:gd name="T31" fmla="*/ 0 h 14034"/>
                <a:gd name="T32" fmla="*/ 1633 w 2188"/>
                <a:gd name="T33" fmla="*/ 359 h 14034"/>
                <a:gd name="T34" fmla="*/ 1453 w 2188"/>
                <a:gd name="T35" fmla="*/ 717 h 14034"/>
                <a:gd name="T36" fmla="*/ 1118 w 2188"/>
                <a:gd name="T37" fmla="*/ 1478 h 14034"/>
                <a:gd name="T38" fmla="*/ 800 w 2188"/>
                <a:gd name="T39" fmla="*/ 2697 h 14034"/>
                <a:gd name="T40" fmla="*/ 1116 w 2188"/>
                <a:gd name="T41" fmla="*/ 3916 h 14034"/>
                <a:gd name="T42" fmla="*/ 1449 w 2188"/>
                <a:gd name="T43" fmla="*/ 4677 h 14034"/>
                <a:gd name="T44" fmla="*/ 1812 w 2188"/>
                <a:gd name="T45" fmla="*/ 5500 h 14034"/>
                <a:gd name="T46" fmla="*/ 2188 w 2188"/>
                <a:gd name="T47" fmla="*/ 7017 h 14034"/>
                <a:gd name="T48" fmla="*/ 1815 w 2188"/>
                <a:gd name="T49" fmla="*/ 8534 h 14034"/>
                <a:gd name="T50" fmla="*/ 1454 w 2188"/>
                <a:gd name="T51" fmla="*/ 9356 h 14034"/>
                <a:gd name="T52" fmla="*/ 1453 w 2188"/>
                <a:gd name="T53" fmla="*/ 9357 h 14034"/>
                <a:gd name="T54" fmla="*/ 1118 w 2188"/>
                <a:gd name="T55" fmla="*/ 10118 h 14034"/>
                <a:gd name="T56" fmla="*/ 800 w 2188"/>
                <a:gd name="T57" fmla="*/ 11337 h 14034"/>
                <a:gd name="T58" fmla="*/ 1116 w 2188"/>
                <a:gd name="T59" fmla="*/ 12556 h 14034"/>
                <a:gd name="T60" fmla="*/ 1450 w 2188"/>
                <a:gd name="T61" fmla="*/ 13318 h 14034"/>
                <a:gd name="T62" fmla="*/ 1628 w 2188"/>
                <a:gd name="T63" fmla="*/ 13676 h 14034"/>
                <a:gd name="T64" fmla="*/ 913 w 2188"/>
                <a:gd name="T65" fmla="*/ 14034 h 14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188" h="14034">
                  <a:moveTo>
                    <a:pt x="913" y="14034"/>
                  </a:moveTo>
                  <a:cubicBezTo>
                    <a:pt x="734" y="13676"/>
                    <a:pt x="734" y="13676"/>
                    <a:pt x="734" y="13676"/>
                  </a:cubicBezTo>
                  <a:cubicBezTo>
                    <a:pt x="727" y="13661"/>
                    <a:pt x="551" y="13308"/>
                    <a:pt x="373" y="12854"/>
                  </a:cubicBezTo>
                  <a:cubicBezTo>
                    <a:pt x="126" y="12219"/>
                    <a:pt x="0" y="11709"/>
                    <a:pt x="0" y="11337"/>
                  </a:cubicBezTo>
                  <a:cubicBezTo>
                    <a:pt x="0" y="10965"/>
                    <a:pt x="126" y="10454"/>
                    <a:pt x="376" y="9820"/>
                  </a:cubicBezTo>
                  <a:cubicBezTo>
                    <a:pt x="553" y="9368"/>
                    <a:pt x="729" y="9017"/>
                    <a:pt x="738" y="8998"/>
                  </a:cubicBezTo>
                  <a:cubicBezTo>
                    <a:pt x="745" y="8984"/>
                    <a:pt x="910" y="8651"/>
                    <a:pt x="1072" y="8236"/>
                  </a:cubicBezTo>
                  <a:cubicBezTo>
                    <a:pt x="1276" y="7713"/>
                    <a:pt x="1388" y="7280"/>
                    <a:pt x="1388" y="7017"/>
                  </a:cubicBezTo>
                  <a:cubicBezTo>
                    <a:pt x="1388" y="6753"/>
                    <a:pt x="1274" y="6318"/>
                    <a:pt x="1068" y="5792"/>
                  </a:cubicBezTo>
                  <a:cubicBezTo>
                    <a:pt x="902" y="5371"/>
                    <a:pt x="736" y="5040"/>
                    <a:pt x="735" y="5037"/>
                  </a:cubicBezTo>
                  <a:cubicBezTo>
                    <a:pt x="734" y="5036"/>
                    <a:pt x="734" y="5036"/>
                    <a:pt x="734" y="5036"/>
                  </a:cubicBezTo>
                  <a:cubicBezTo>
                    <a:pt x="727" y="5021"/>
                    <a:pt x="551" y="4668"/>
                    <a:pt x="373" y="4214"/>
                  </a:cubicBezTo>
                  <a:cubicBezTo>
                    <a:pt x="126" y="3579"/>
                    <a:pt x="0" y="3069"/>
                    <a:pt x="0" y="2697"/>
                  </a:cubicBezTo>
                  <a:cubicBezTo>
                    <a:pt x="0" y="2325"/>
                    <a:pt x="126" y="1814"/>
                    <a:pt x="376" y="1180"/>
                  </a:cubicBezTo>
                  <a:cubicBezTo>
                    <a:pt x="554" y="725"/>
                    <a:pt x="731" y="372"/>
                    <a:pt x="739" y="357"/>
                  </a:cubicBezTo>
                  <a:cubicBezTo>
                    <a:pt x="918" y="0"/>
                    <a:pt x="918" y="0"/>
                    <a:pt x="918" y="0"/>
                  </a:cubicBezTo>
                  <a:cubicBezTo>
                    <a:pt x="1633" y="359"/>
                    <a:pt x="1633" y="359"/>
                    <a:pt x="1633" y="359"/>
                  </a:cubicBezTo>
                  <a:cubicBezTo>
                    <a:pt x="1453" y="717"/>
                    <a:pt x="1453" y="717"/>
                    <a:pt x="1453" y="717"/>
                  </a:cubicBezTo>
                  <a:cubicBezTo>
                    <a:pt x="1450" y="724"/>
                    <a:pt x="1282" y="1059"/>
                    <a:pt x="1118" y="1478"/>
                  </a:cubicBezTo>
                  <a:cubicBezTo>
                    <a:pt x="913" y="2001"/>
                    <a:pt x="800" y="2434"/>
                    <a:pt x="800" y="2697"/>
                  </a:cubicBezTo>
                  <a:cubicBezTo>
                    <a:pt x="800" y="2960"/>
                    <a:pt x="912" y="3393"/>
                    <a:pt x="1116" y="3916"/>
                  </a:cubicBezTo>
                  <a:cubicBezTo>
                    <a:pt x="1277" y="4329"/>
                    <a:pt x="1441" y="4660"/>
                    <a:pt x="1449" y="4677"/>
                  </a:cubicBezTo>
                  <a:cubicBezTo>
                    <a:pt x="1458" y="4695"/>
                    <a:pt x="1634" y="5047"/>
                    <a:pt x="1812" y="5500"/>
                  </a:cubicBezTo>
                  <a:cubicBezTo>
                    <a:pt x="2062" y="6134"/>
                    <a:pt x="2188" y="6645"/>
                    <a:pt x="2188" y="7017"/>
                  </a:cubicBezTo>
                  <a:cubicBezTo>
                    <a:pt x="2188" y="7389"/>
                    <a:pt x="2062" y="7899"/>
                    <a:pt x="1815" y="8534"/>
                  </a:cubicBezTo>
                  <a:cubicBezTo>
                    <a:pt x="1637" y="8988"/>
                    <a:pt x="1461" y="9341"/>
                    <a:pt x="1454" y="9356"/>
                  </a:cubicBezTo>
                  <a:cubicBezTo>
                    <a:pt x="1453" y="9357"/>
                    <a:pt x="1453" y="9357"/>
                    <a:pt x="1453" y="9357"/>
                  </a:cubicBezTo>
                  <a:cubicBezTo>
                    <a:pt x="1452" y="9360"/>
                    <a:pt x="1283" y="9697"/>
                    <a:pt x="1118" y="10118"/>
                  </a:cubicBezTo>
                  <a:cubicBezTo>
                    <a:pt x="913" y="10641"/>
                    <a:pt x="800" y="11074"/>
                    <a:pt x="800" y="11337"/>
                  </a:cubicBezTo>
                  <a:cubicBezTo>
                    <a:pt x="800" y="11600"/>
                    <a:pt x="912" y="12033"/>
                    <a:pt x="1116" y="12556"/>
                  </a:cubicBezTo>
                  <a:cubicBezTo>
                    <a:pt x="1281" y="12978"/>
                    <a:pt x="1448" y="13315"/>
                    <a:pt x="1450" y="13318"/>
                  </a:cubicBezTo>
                  <a:cubicBezTo>
                    <a:pt x="1628" y="13676"/>
                    <a:pt x="1628" y="13676"/>
                    <a:pt x="1628" y="13676"/>
                  </a:cubicBezTo>
                  <a:lnTo>
                    <a:pt x="913" y="14034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>
              <a:outerShdw blurRad="1079500" dist="38100" dir="10800000" algn="r" rotWithShape="0">
                <a:prstClr val="black">
                  <a:alpha val="6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69B2F2B4-B15C-4CC7-A0E5-1EF326E93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5255" y="-18532539"/>
              <a:ext cx="4869845" cy="30915102"/>
            </a:xfrm>
            <a:custGeom>
              <a:avLst/>
              <a:gdLst>
                <a:gd name="T0" fmla="*/ 913 w 2188"/>
                <a:gd name="T1" fmla="*/ 14034 h 14034"/>
                <a:gd name="T2" fmla="*/ 734 w 2188"/>
                <a:gd name="T3" fmla="*/ 13676 h 14034"/>
                <a:gd name="T4" fmla="*/ 373 w 2188"/>
                <a:gd name="T5" fmla="*/ 12854 h 14034"/>
                <a:gd name="T6" fmla="*/ 0 w 2188"/>
                <a:gd name="T7" fmla="*/ 11337 h 14034"/>
                <a:gd name="T8" fmla="*/ 376 w 2188"/>
                <a:gd name="T9" fmla="*/ 9820 h 14034"/>
                <a:gd name="T10" fmla="*/ 738 w 2188"/>
                <a:gd name="T11" fmla="*/ 8998 h 14034"/>
                <a:gd name="T12" fmla="*/ 1072 w 2188"/>
                <a:gd name="T13" fmla="*/ 8236 h 14034"/>
                <a:gd name="T14" fmla="*/ 1388 w 2188"/>
                <a:gd name="T15" fmla="*/ 7017 h 14034"/>
                <a:gd name="T16" fmla="*/ 1068 w 2188"/>
                <a:gd name="T17" fmla="*/ 5792 h 14034"/>
                <a:gd name="T18" fmla="*/ 735 w 2188"/>
                <a:gd name="T19" fmla="*/ 5037 h 14034"/>
                <a:gd name="T20" fmla="*/ 734 w 2188"/>
                <a:gd name="T21" fmla="*/ 5036 h 14034"/>
                <a:gd name="T22" fmla="*/ 373 w 2188"/>
                <a:gd name="T23" fmla="*/ 4214 h 14034"/>
                <a:gd name="T24" fmla="*/ 0 w 2188"/>
                <a:gd name="T25" fmla="*/ 2697 h 14034"/>
                <a:gd name="T26" fmla="*/ 376 w 2188"/>
                <a:gd name="T27" fmla="*/ 1180 h 14034"/>
                <a:gd name="T28" fmla="*/ 739 w 2188"/>
                <a:gd name="T29" fmla="*/ 357 h 14034"/>
                <a:gd name="T30" fmla="*/ 918 w 2188"/>
                <a:gd name="T31" fmla="*/ 0 h 14034"/>
                <a:gd name="T32" fmla="*/ 1633 w 2188"/>
                <a:gd name="T33" fmla="*/ 359 h 14034"/>
                <a:gd name="T34" fmla="*/ 1453 w 2188"/>
                <a:gd name="T35" fmla="*/ 717 h 14034"/>
                <a:gd name="T36" fmla="*/ 1118 w 2188"/>
                <a:gd name="T37" fmla="*/ 1478 h 14034"/>
                <a:gd name="T38" fmla="*/ 800 w 2188"/>
                <a:gd name="T39" fmla="*/ 2697 h 14034"/>
                <a:gd name="T40" fmla="*/ 1116 w 2188"/>
                <a:gd name="T41" fmla="*/ 3916 h 14034"/>
                <a:gd name="T42" fmla="*/ 1449 w 2188"/>
                <a:gd name="T43" fmla="*/ 4677 h 14034"/>
                <a:gd name="T44" fmla="*/ 1812 w 2188"/>
                <a:gd name="T45" fmla="*/ 5500 h 14034"/>
                <a:gd name="T46" fmla="*/ 2188 w 2188"/>
                <a:gd name="T47" fmla="*/ 7017 h 14034"/>
                <a:gd name="T48" fmla="*/ 1815 w 2188"/>
                <a:gd name="T49" fmla="*/ 8534 h 14034"/>
                <a:gd name="T50" fmla="*/ 1454 w 2188"/>
                <a:gd name="T51" fmla="*/ 9356 h 14034"/>
                <a:gd name="T52" fmla="*/ 1453 w 2188"/>
                <a:gd name="T53" fmla="*/ 9357 h 14034"/>
                <a:gd name="T54" fmla="*/ 1118 w 2188"/>
                <a:gd name="T55" fmla="*/ 10118 h 14034"/>
                <a:gd name="T56" fmla="*/ 800 w 2188"/>
                <a:gd name="T57" fmla="*/ 11337 h 14034"/>
                <a:gd name="T58" fmla="*/ 1116 w 2188"/>
                <a:gd name="T59" fmla="*/ 12556 h 14034"/>
                <a:gd name="T60" fmla="*/ 1450 w 2188"/>
                <a:gd name="T61" fmla="*/ 13318 h 14034"/>
                <a:gd name="T62" fmla="*/ 1628 w 2188"/>
                <a:gd name="T63" fmla="*/ 13676 h 14034"/>
                <a:gd name="T64" fmla="*/ 913 w 2188"/>
                <a:gd name="T65" fmla="*/ 14034 h 14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188" h="14034">
                  <a:moveTo>
                    <a:pt x="913" y="14034"/>
                  </a:moveTo>
                  <a:cubicBezTo>
                    <a:pt x="734" y="13676"/>
                    <a:pt x="734" y="13676"/>
                    <a:pt x="734" y="13676"/>
                  </a:cubicBezTo>
                  <a:cubicBezTo>
                    <a:pt x="727" y="13661"/>
                    <a:pt x="551" y="13308"/>
                    <a:pt x="373" y="12854"/>
                  </a:cubicBezTo>
                  <a:cubicBezTo>
                    <a:pt x="126" y="12219"/>
                    <a:pt x="0" y="11709"/>
                    <a:pt x="0" y="11337"/>
                  </a:cubicBezTo>
                  <a:cubicBezTo>
                    <a:pt x="0" y="10965"/>
                    <a:pt x="126" y="10454"/>
                    <a:pt x="376" y="9820"/>
                  </a:cubicBezTo>
                  <a:cubicBezTo>
                    <a:pt x="553" y="9368"/>
                    <a:pt x="729" y="9017"/>
                    <a:pt x="738" y="8998"/>
                  </a:cubicBezTo>
                  <a:cubicBezTo>
                    <a:pt x="745" y="8984"/>
                    <a:pt x="910" y="8651"/>
                    <a:pt x="1072" y="8236"/>
                  </a:cubicBezTo>
                  <a:cubicBezTo>
                    <a:pt x="1276" y="7713"/>
                    <a:pt x="1388" y="7280"/>
                    <a:pt x="1388" y="7017"/>
                  </a:cubicBezTo>
                  <a:cubicBezTo>
                    <a:pt x="1388" y="6753"/>
                    <a:pt x="1274" y="6318"/>
                    <a:pt x="1068" y="5792"/>
                  </a:cubicBezTo>
                  <a:cubicBezTo>
                    <a:pt x="902" y="5371"/>
                    <a:pt x="736" y="5040"/>
                    <a:pt x="735" y="5037"/>
                  </a:cubicBezTo>
                  <a:cubicBezTo>
                    <a:pt x="734" y="5036"/>
                    <a:pt x="734" y="5036"/>
                    <a:pt x="734" y="5036"/>
                  </a:cubicBezTo>
                  <a:cubicBezTo>
                    <a:pt x="727" y="5021"/>
                    <a:pt x="551" y="4668"/>
                    <a:pt x="373" y="4214"/>
                  </a:cubicBezTo>
                  <a:cubicBezTo>
                    <a:pt x="126" y="3579"/>
                    <a:pt x="0" y="3069"/>
                    <a:pt x="0" y="2697"/>
                  </a:cubicBezTo>
                  <a:cubicBezTo>
                    <a:pt x="0" y="2325"/>
                    <a:pt x="126" y="1814"/>
                    <a:pt x="376" y="1180"/>
                  </a:cubicBezTo>
                  <a:cubicBezTo>
                    <a:pt x="554" y="725"/>
                    <a:pt x="731" y="372"/>
                    <a:pt x="739" y="357"/>
                  </a:cubicBezTo>
                  <a:cubicBezTo>
                    <a:pt x="918" y="0"/>
                    <a:pt x="918" y="0"/>
                    <a:pt x="918" y="0"/>
                  </a:cubicBezTo>
                  <a:cubicBezTo>
                    <a:pt x="1633" y="359"/>
                    <a:pt x="1633" y="359"/>
                    <a:pt x="1633" y="359"/>
                  </a:cubicBezTo>
                  <a:cubicBezTo>
                    <a:pt x="1453" y="717"/>
                    <a:pt x="1453" y="717"/>
                    <a:pt x="1453" y="717"/>
                  </a:cubicBezTo>
                  <a:cubicBezTo>
                    <a:pt x="1450" y="724"/>
                    <a:pt x="1282" y="1059"/>
                    <a:pt x="1118" y="1478"/>
                  </a:cubicBezTo>
                  <a:cubicBezTo>
                    <a:pt x="913" y="2001"/>
                    <a:pt x="800" y="2434"/>
                    <a:pt x="800" y="2697"/>
                  </a:cubicBezTo>
                  <a:cubicBezTo>
                    <a:pt x="800" y="2960"/>
                    <a:pt x="912" y="3393"/>
                    <a:pt x="1116" y="3916"/>
                  </a:cubicBezTo>
                  <a:cubicBezTo>
                    <a:pt x="1277" y="4329"/>
                    <a:pt x="1441" y="4660"/>
                    <a:pt x="1449" y="4677"/>
                  </a:cubicBezTo>
                  <a:cubicBezTo>
                    <a:pt x="1458" y="4695"/>
                    <a:pt x="1634" y="5047"/>
                    <a:pt x="1812" y="5500"/>
                  </a:cubicBezTo>
                  <a:cubicBezTo>
                    <a:pt x="2062" y="6134"/>
                    <a:pt x="2188" y="6645"/>
                    <a:pt x="2188" y="7017"/>
                  </a:cubicBezTo>
                  <a:cubicBezTo>
                    <a:pt x="2188" y="7389"/>
                    <a:pt x="2062" y="7899"/>
                    <a:pt x="1815" y="8534"/>
                  </a:cubicBezTo>
                  <a:cubicBezTo>
                    <a:pt x="1637" y="8988"/>
                    <a:pt x="1461" y="9341"/>
                    <a:pt x="1454" y="9356"/>
                  </a:cubicBezTo>
                  <a:cubicBezTo>
                    <a:pt x="1453" y="9357"/>
                    <a:pt x="1453" y="9357"/>
                    <a:pt x="1453" y="9357"/>
                  </a:cubicBezTo>
                  <a:cubicBezTo>
                    <a:pt x="1452" y="9360"/>
                    <a:pt x="1283" y="9697"/>
                    <a:pt x="1118" y="10118"/>
                  </a:cubicBezTo>
                  <a:cubicBezTo>
                    <a:pt x="913" y="10641"/>
                    <a:pt x="800" y="11074"/>
                    <a:pt x="800" y="11337"/>
                  </a:cubicBezTo>
                  <a:cubicBezTo>
                    <a:pt x="800" y="11600"/>
                    <a:pt x="912" y="12033"/>
                    <a:pt x="1116" y="12556"/>
                  </a:cubicBezTo>
                  <a:cubicBezTo>
                    <a:pt x="1281" y="12978"/>
                    <a:pt x="1448" y="13315"/>
                    <a:pt x="1450" y="13318"/>
                  </a:cubicBezTo>
                  <a:cubicBezTo>
                    <a:pt x="1628" y="13676"/>
                    <a:pt x="1628" y="13676"/>
                    <a:pt x="1628" y="13676"/>
                  </a:cubicBezTo>
                  <a:lnTo>
                    <a:pt x="913" y="1403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>
              <a:outerShdw blurRad="1079500" dist="38100" dir="10800000" algn="r" rotWithShape="0">
                <a:prstClr val="black">
                  <a:alpha val="6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ABB3B985-9E7D-42FB-A61D-831BC5E26AEB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4589" y="-18532539"/>
              <a:ext cx="4869845" cy="30915102"/>
            </a:xfrm>
            <a:custGeom>
              <a:avLst/>
              <a:gdLst>
                <a:gd name="T0" fmla="*/ 913 w 2188"/>
                <a:gd name="T1" fmla="*/ 14034 h 14034"/>
                <a:gd name="T2" fmla="*/ 734 w 2188"/>
                <a:gd name="T3" fmla="*/ 13676 h 14034"/>
                <a:gd name="T4" fmla="*/ 373 w 2188"/>
                <a:gd name="T5" fmla="*/ 12854 h 14034"/>
                <a:gd name="T6" fmla="*/ 0 w 2188"/>
                <a:gd name="T7" fmla="*/ 11337 h 14034"/>
                <a:gd name="T8" fmla="*/ 376 w 2188"/>
                <a:gd name="T9" fmla="*/ 9820 h 14034"/>
                <a:gd name="T10" fmla="*/ 738 w 2188"/>
                <a:gd name="T11" fmla="*/ 8998 h 14034"/>
                <a:gd name="T12" fmla="*/ 1072 w 2188"/>
                <a:gd name="T13" fmla="*/ 8236 h 14034"/>
                <a:gd name="T14" fmla="*/ 1388 w 2188"/>
                <a:gd name="T15" fmla="*/ 7017 h 14034"/>
                <a:gd name="T16" fmla="*/ 1068 w 2188"/>
                <a:gd name="T17" fmla="*/ 5792 h 14034"/>
                <a:gd name="T18" fmla="*/ 735 w 2188"/>
                <a:gd name="T19" fmla="*/ 5037 h 14034"/>
                <a:gd name="T20" fmla="*/ 734 w 2188"/>
                <a:gd name="T21" fmla="*/ 5036 h 14034"/>
                <a:gd name="T22" fmla="*/ 373 w 2188"/>
                <a:gd name="T23" fmla="*/ 4214 h 14034"/>
                <a:gd name="T24" fmla="*/ 0 w 2188"/>
                <a:gd name="T25" fmla="*/ 2697 h 14034"/>
                <a:gd name="T26" fmla="*/ 376 w 2188"/>
                <a:gd name="T27" fmla="*/ 1180 h 14034"/>
                <a:gd name="T28" fmla="*/ 739 w 2188"/>
                <a:gd name="T29" fmla="*/ 357 h 14034"/>
                <a:gd name="T30" fmla="*/ 918 w 2188"/>
                <a:gd name="T31" fmla="*/ 0 h 14034"/>
                <a:gd name="T32" fmla="*/ 1633 w 2188"/>
                <a:gd name="T33" fmla="*/ 359 h 14034"/>
                <a:gd name="T34" fmla="*/ 1453 w 2188"/>
                <a:gd name="T35" fmla="*/ 717 h 14034"/>
                <a:gd name="T36" fmla="*/ 1118 w 2188"/>
                <a:gd name="T37" fmla="*/ 1478 h 14034"/>
                <a:gd name="T38" fmla="*/ 800 w 2188"/>
                <a:gd name="T39" fmla="*/ 2697 h 14034"/>
                <a:gd name="T40" fmla="*/ 1116 w 2188"/>
                <a:gd name="T41" fmla="*/ 3916 h 14034"/>
                <a:gd name="T42" fmla="*/ 1449 w 2188"/>
                <a:gd name="T43" fmla="*/ 4677 h 14034"/>
                <a:gd name="T44" fmla="*/ 1812 w 2188"/>
                <a:gd name="T45" fmla="*/ 5500 h 14034"/>
                <a:gd name="T46" fmla="*/ 2188 w 2188"/>
                <a:gd name="T47" fmla="*/ 7017 h 14034"/>
                <a:gd name="T48" fmla="*/ 1815 w 2188"/>
                <a:gd name="T49" fmla="*/ 8534 h 14034"/>
                <a:gd name="T50" fmla="*/ 1454 w 2188"/>
                <a:gd name="T51" fmla="*/ 9356 h 14034"/>
                <a:gd name="T52" fmla="*/ 1453 w 2188"/>
                <a:gd name="T53" fmla="*/ 9357 h 14034"/>
                <a:gd name="T54" fmla="*/ 1118 w 2188"/>
                <a:gd name="T55" fmla="*/ 10118 h 14034"/>
                <a:gd name="T56" fmla="*/ 800 w 2188"/>
                <a:gd name="T57" fmla="*/ 11337 h 14034"/>
                <a:gd name="T58" fmla="*/ 1116 w 2188"/>
                <a:gd name="T59" fmla="*/ 12556 h 14034"/>
                <a:gd name="T60" fmla="*/ 1450 w 2188"/>
                <a:gd name="T61" fmla="*/ 13318 h 14034"/>
                <a:gd name="T62" fmla="*/ 1628 w 2188"/>
                <a:gd name="T63" fmla="*/ 13676 h 14034"/>
                <a:gd name="T64" fmla="*/ 913 w 2188"/>
                <a:gd name="T65" fmla="*/ 14034 h 14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188" h="14034">
                  <a:moveTo>
                    <a:pt x="913" y="14034"/>
                  </a:moveTo>
                  <a:cubicBezTo>
                    <a:pt x="734" y="13676"/>
                    <a:pt x="734" y="13676"/>
                    <a:pt x="734" y="13676"/>
                  </a:cubicBezTo>
                  <a:cubicBezTo>
                    <a:pt x="727" y="13661"/>
                    <a:pt x="551" y="13308"/>
                    <a:pt x="373" y="12854"/>
                  </a:cubicBezTo>
                  <a:cubicBezTo>
                    <a:pt x="126" y="12219"/>
                    <a:pt x="0" y="11709"/>
                    <a:pt x="0" y="11337"/>
                  </a:cubicBezTo>
                  <a:cubicBezTo>
                    <a:pt x="0" y="10965"/>
                    <a:pt x="126" y="10454"/>
                    <a:pt x="376" y="9820"/>
                  </a:cubicBezTo>
                  <a:cubicBezTo>
                    <a:pt x="553" y="9368"/>
                    <a:pt x="729" y="9017"/>
                    <a:pt x="738" y="8998"/>
                  </a:cubicBezTo>
                  <a:cubicBezTo>
                    <a:pt x="745" y="8984"/>
                    <a:pt x="910" y="8651"/>
                    <a:pt x="1072" y="8236"/>
                  </a:cubicBezTo>
                  <a:cubicBezTo>
                    <a:pt x="1276" y="7713"/>
                    <a:pt x="1388" y="7280"/>
                    <a:pt x="1388" y="7017"/>
                  </a:cubicBezTo>
                  <a:cubicBezTo>
                    <a:pt x="1388" y="6753"/>
                    <a:pt x="1274" y="6318"/>
                    <a:pt x="1068" y="5792"/>
                  </a:cubicBezTo>
                  <a:cubicBezTo>
                    <a:pt x="902" y="5371"/>
                    <a:pt x="736" y="5040"/>
                    <a:pt x="735" y="5037"/>
                  </a:cubicBezTo>
                  <a:cubicBezTo>
                    <a:pt x="734" y="5036"/>
                    <a:pt x="734" y="5036"/>
                    <a:pt x="734" y="5036"/>
                  </a:cubicBezTo>
                  <a:cubicBezTo>
                    <a:pt x="727" y="5021"/>
                    <a:pt x="551" y="4668"/>
                    <a:pt x="373" y="4214"/>
                  </a:cubicBezTo>
                  <a:cubicBezTo>
                    <a:pt x="126" y="3579"/>
                    <a:pt x="0" y="3069"/>
                    <a:pt x="0" y="2697"/>
                  </a:cubicBezTo>
                  <a:cubicBezTo>
                    <a:pt x="0" y="2325"/>
                    <a:pt x="126" y="1814"/>
                    <a:pt x="376" y="1180"/>
                  </a:cubicBezTo>
                  <a:cubicBezTo>
                    <a:pt x="554" y="725"/>
                    <a:pt x="731" y="372"/>
                    <a:pt x="739" y="357"/>
                  </a:cubicBezTo>
                  <a:cubicBezTo>
                    <a:pt x="918" y="0"/>
                    <a:pt x="918" y="0"/>
                    <a:pt x="918" y="0"/>
                  </a:cubicBezTo>
                  <a:cubicBezTo>
                    <a:pt x="1633" y="359"/>
                    <a:pt x="1633" y="359"/>
                    <a:pt x="1633" y="359"/>
                  </a:cubicBezTo>
                  <a:cubicBezTo>
                    <a:pt x="1453" y="717"/>
                    <a:pt x="1453" y="717"/>
                    <a:pt x="1453" y="717"/>
                  </a:cubicBezTo>
                  <a:cubicBezTo>
                    <a:pt x="1450" y="724"/>
                    <a:pt x="1282" y="1059"/>
                    <a:pt x="1118" y="1478"/>
                  </a:cubicBezTo>
                  <a:cubicBezTo>
                    <a:pt x="913" y="2001"/>
                    <a:pt x="800" y="2434"/>
                    <a:pt x="800" y="2697"/>
                  </a:cubicBezTo>
                  <a:cubicBezTo>
                    <a:pt x="800" y="2960"/>
                    <a:pt x="912" y="3393"/>
                    <a:pt x="1116" y="3916"/>
                  </a:cubicBezTo>
                  <a:cubicBezTo>
                    <a:pt x="1277" y="4329"/>
                    <a:pt x="1441" y="4660"/>
                    <a:pt x="1449" y="4677"/>
                  </a:cubicBezTo>
                  <a:cubicBezTo>
                    <a:pt x="1458" y="4695"/>
                    <a:pt x="1634" y="5047"/>
                    <a:pt x="1812" y="5500"/>
                  </a:cubicBezTo>
                  <a:cubicBezTo>
                    <a:pt x="2062" y="6134"/>
                    <a:pt x="2188" y="6645"/>
                    <a:pt x="2188" y="7017"/>
                  </a:cubicBezTo>
                  <a:cubicBezTo>
                    <a:pt x="2188" y="7389"/>
                    <a:pt x="2062" y="7899"/>
                    <a:pt x="1815" y="8534"/>
                  </a:cubicBezTo>
                  <a:cubicBezTo>
                    <a:pt x="1637" y="8988"/>
                    <a:pt x="1461" y="9341"/>
                    <a:pt x="1454" y="9356"/>
                  </a:cubicBezTo>
                  <a:cubicBezTo>
                    <a:pt x="1453" y="9357"/>
                    <a:pt x="1453" y="9357"/>
                    <a:pt x="1453" y="9357"/>
                  </a:cubicBezTo>
                  <a:cubicBezTo>
                    <a:pt x="1452" y="9360"/>
                    <a:pt x="1283" y="9697"/>
                    <a:pt x="1118" y="10118"/>
                  </a:cubicBezTo>
                  <a:cubicBezTo>
                    <a:pt x="913" y="10641"/>
                    <a:pt x="800" y="11074"/>
                    <a:pt x="800" y="11337"/>
                  </a:cubicBezTo>
                  <a:cubicBezTo>
                    <a:pt x="800" y="11600"/>
                    <a:pt x="912" y="12033"/>
                    <a:pt x="1116" y="12556"/>
                  </a:cubicBezTo>
                  <a:cubicBezTo>
                    <a:pt x="1281" y="12978"/>
                    <a:pt x="1448" y="13315"/>
                    <a:pt x="1450" y="13318"/>
                  </a:cubicBezTo>
                  <a:cubicBezTo>
                    <a:pt x="1628" y="13676"/>
                    <a:pt x="1628" y="13676"/>
                    <a:pt x="1628" y="13676"/>
                  </a:cubicBezTo>
                  <a:lnTo>
                    <a:pt x="913" y="1403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>
              <a:outerShdw blurRad="1079500" dist="38100" dir="10800000" algn="r" rotWithShape="0">
                <a:prstClr val="black">
                  <a:alpha val="6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7" name="Flowchart: Process 16">
            <a:extLst>
              <a:ext uri="{FF2B5EF4-FFF2-40B4-BE49-F238E27FC236}">
                <a16:creationId xmlns:a16="http://schemas.microsoft.com/office/drawing/2014/main" id="{409CB482-82E0-487A-B73A-83A96AB99161}"/>
              </a:ext>
            </a:extLst>
          </p:cNvPr>
          <p:cNvSpPr/>
          <p:nvPr/>
        </p:nvSpPr>
        <p:spPr>
          <a:xfrm>
            <a:off x="12193588" y="0"/>
            <a:ext cx="12193587" cy="13716000"/>
          </a:xfrm>
          <a:prstGeom prst="flowChartProcess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reeform 5">
            <a:extLst>
              <a:ext uri="{FF2B5EF4-FFF2-40B4-BE49-F238E27FC236}">
                <a16:creationId xmlns:a16="http://schemas.microsoft.com/office/drawing/2014/main" id="{03E416CC-493A-4857-B214-56DCC2334839}"/>
              </a:ext>
            </a:extLst>
          </p:cNvPr>
          <p:cNvSpPr>
            <a:spLocks noEditPoints="1"/>
          </p:cNvSpPr>
          <p:nvPr/>
        </p:nvSpPr>
        <p:spPr bwMode="auto">
          <a:xfrm>
            <a:off x="0" y="3175"/>
            <a:ext cx="12312650" cy="13716000"/>
          </a:xfrm>
          <a:custGeom>
            <a:avLst/>
            <a:gdLst>
              <a:gd name="T0" fmla="*/ 0 w 7756"/>
              <a:gd name="T1" fmla="*/ 0 h 8640"/>
              <a:gd name="T2" fmla="*/ 0 w 7756"/>
              <a:gd name="T3" fmla="*/ 8640 h 8640"/>
              <a:gd name="T4" fmla="*/ 7756 w 7756"/>
              <a:gd name="T5" fmla="*/ 8640 h 8640"/>
              <a:gd name="T6" fmla="*/ 7756 w 7756"/>
              <a:gd name="T7" fmla="*/ 0 h 8640"/>
              <a:gd name="T8" fmla="*/ 0 w 7756"/>
              <a:gd name="T9" fmla="*/ 0 h 8640"/>
              <a:gd name="T10" fmla="*/ 5231 w 7756"/>
              <a:gd name="T11" fmla="*/ 7148 h 8640"/>
              <a:gd name="T12" fmla="*/ 3872 w 7756"/>
              <a:gd name="T13" fmla="*/ 7148 h 8640"/>
              <a:gd name="T14" fmla="*/ 3872 w 7756"/>
              <a:gd name="T15" fmla="*/ 2744 h 8640"/>
              <a:gd name="T16" fmla="*/ 3805 w 7756"/>
              <a:gd name="T17" fmla="*/ 2744 h 8640"/>
              <a:gd name="T18" fmla="*/ 2527 w 7756"/>
              <a:gd name="T19" fmla="*/ 3636 h 8640"/>
              <a:gd name="T20" fmla="*/ 2527 w 7756"/>
              <a:gd name="T21" fmla="*/ 2434 h 8640"/>
              <a:gd name="T22" fmla="*/ 3872 w 7756"/>
              <a:gd name="T23" fmla="*/ 1494 h 8640"/>
              <a:gd name="T24" fmla="*/ 5231 w 7756"/>
              <a:gd name="T25" fmla="*/ 1494 h 8640"/>
              <a:gd name="T26" fmla="*/ 5231 w 7756"/>
              <a:gd name="T27" fmla="*/ 7148 h 86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7756" h="8640">
                <a:moveTo>
                  <a:pt x="0" y="0"/>
                </a:moveTo>
                <a:lnTo>
                  <a:pt x="0" y="8640"/>
                </a:lnTo>
                <a:lnTo>
                  <a:pt x="7756" y="8640"/>
                </a:lnTo>
                <a:lnTo>
                  <a:pt x="7756" y="0"/>
                </a:lnTo>
                <a:lnTo>
                  <a:pt x="0" y="0"/>
                </a:lnTo>
                <a:close/>
                <a:moveTo>
                  <a:pt x="5231" y="7148"/>
                </a:moveTo>
                <a:lnTo>
                  <a:pt x="3872" y="7148"/>
                </a:lnTo>
                <a:lnTo>
                  <a:pt x="3872" y="2744"/>
                </a:lnTo>
                <a:lnTo>
                  <a:pt x="3805" y="2744"/>
                </a:lnTo>
                <a:lnTo>
                  <a:pt x="2527" y="3636"/>
                </a:lnTo>
                <a:lnTo>
                  <a:pt x="2527" y="2434"/>
                </a:lnTo>
                <a:lnTo>
                  <a:pt x="3872" y="1494"/>
                </a:lnTo>
                <a:lnTo>
                  <a:pt x="5231" y="1494"/>
                </a:lnTo>
                <a:lnTo>
                  <a:pt x="5231" y="714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1939FF7-4505-427A-BF3A-F3276047AF09}"/>
              </a:ext>
            </a:extLst>
          </p:cNvPr>
          <p:cNvSpPr txBox="1"/>
          <p:nvPr/>
        </p:nvSpPr>
        <p:spPr>
          <a:xfrm>
            <a:off x="13516203" y="5248985"/>
            <a:ext cx="7780468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4800" dirty="0">
                <a:effectLst/>
                <a:latin typeface="FUTURA MEDIUM BT" panose="020B0602020204020303" pitchFamily="34" charset="0"/>
              </a:rPr>
              <a:t>We offer Breadcrumbs as a freemium product, and give our </a:t>
            </a:r>
            <a:r>
              <a:rPr lang="en-GB" sz="4800" dirty="0" err="1">
                <a:effectLst/>
                <a:latin typeface="FUTURA MEDIUM BT" panose="020B0602020204020303" pitchFamily="34" charset="0"/>
              </a:rPr>
              <a:t>dVPN</a:t>
            </a:r>
            <a:r>
              <a:rPr lang="en-GB" sz="4800" dirty="0">
                <a:effectLst/>
                <a:latin typeface="FUTURA MEDIUM BT" panose="020B0602020204020303" pitchFamily="34" charset="0"/>
              </a:rPr>
              <a:t> away for free.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725932C-2D10-46EE-BA27-B0CC31E0A0D7}"/>
              </a:ext>
            </a:extLst>
          </p:cNvPr>
          <p:cNvSpPr/>
          <p:nvPr/>
        </p:nvSpPr>
        <p:spPr>
          <a:xfrm>
            <a:off x="16883339" y="3492396"/>
            <a:ext cx="1684714" cy="21454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D4EE6BE-C5F8-47E7-897F-8C8533E823AA}"/>
              </a:ext>
            </a:extLst>
          </p:cNvPr>
          <p:cNvSpPr txBox="1"/>
          <p:nvPr/>
        </p:nvSpPr>
        <p:spPr>
          <a:xfrm>
            <a:off x="15485008" y="2747863"/>
            <a:ext cx="64817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>
                <a:effectLst/>
                <a:latin typeface="FUTURA MEDIUM BT" panose="020B0602020204020303" pitchFamily="34" charset="0"/>
              </a:rPr>
              <a:t>Why We Beat The Competition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2351FBA7-C909-D976-1D4C-C99A7FCCC5F2}"/>
              </a:ext>
            </a:extLst>
          </p:cNvPr>
          <p:cNvSpPr txBox="1">
            <a:spLocks/>
          </p:cNvSpPr>
          <p:nvPr/>
        </p:nvSpPr>
        <p:spPr>
          <a:xfrm>
            <a:off x="23408916" y="8877743"/>
            <a:ext cx="324565" cy="582761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2400" b="1" smtClean="0">
                <a:solidFill>
                  <a:schemeClr val="tx1"/>
                </a:solidFill>
                <a:latin typeface="+mj-lt"/>
              </a:rPr>
              <a:pPr algn="ctr"/>
              <a:t>16</a:t>
            </a:fld>
            <a:endParaRPr lang="en-US" sz="1400" b="1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E9D420F-13DE-2BDA-4058-5BE236579076}"/>
              </a:ext>
            </a:extLst>
          </p:cNvPr>
          <p:cNvGrpSpPr/>
          <p:nvPr/>
        </p:nvGrpSpPr>
        <p:grpSpPr>
          <a:xfrm>
            <a:off x="23332870" y="446240"/>
            <a:ext cx="476655" cy="337457"/>
            <a:chOff x="6167336" y="2130357"/>
            <a:chExt cx="476655" cy="337457"/>
          </a:xfrm>
        </p:grpSpPr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9B5D2F35-6907-94EE-8C04-B66D18B9E16E}"/>
                </a:ext>
              </a:extLst>
            </p:cNvPr>
            <p:cNvCxnSpPr/>
            <p:nvPr userDrawn="1"/>
          </p:nvCxnSpPr>
          <p:spPr>
            <a:xfrm>
              <a:off x="6167336" y="2130357"/>
              <a:ext cx="476655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AF73318B-7E9D-811B-AE1C-C7BE6B5DEEE4}"/>
                </a:ext>
              </a:extLst>
            </p:cNvPr>
            <p:cNvCxnSpPr/>
            <p:nvPr userDrawn="1"/>
          </p:nvCxnSpPr>
          <p:spPr>
            <a:xfrm>
              <a:off x="6167336" y="2299086"/>
              <a:ext cx="476655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4A784BAD-C8AC-F276-16CA-5894195EACB3}"/>
                </a:ext>
              </a:extLst>
            </p:cNvPr>
            <p:cNvCxnSpPr/>
            <p:nvPr userDrawn="1"/>
          </p:nvCxnSpPr>
          <p:spPr>
            <a:xfrm>
              <a:off x="6167336" y="2467814"/>
              <a:ext cx="476655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D2595CBC-F51F-1664-444E-FAD6E7411B30}"/>
              </a:ext>
            </a:extLst>
          </p:cNvPr>
          <p:cNvGrpSpPr/>
          <p:nvPr/>
        </p:nvGrpSpPr>
        <p:grpSpPr>
          <a:xfrm>
            <a:off x="23519785" y="12234167"/>
            <a:ext cx="102824" cy="698136"/>
            <a:chOff x="729638" y="739163"/>
            <a:chExt cx="102824" cy="698136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6054C1F3-A262-391D-1D12-6D10227F50C8}"/>
                </a:ext>
              </a:extLst>
            </p:cNvPr>
            <p:cNvSpPr/>
            <p:nvPr userDrawn="1"/>
          </p:nvSpPr>
          <p:spPr>
            <a:xfrm>
              <a:off x="729638" y="739163"/>
              <a:ext cx="102824" cy="10282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84F214BE-AD1D-4540-AE62-88E9D403D31D}"/>
                </a:ext>
              </a:extLst>
            </p:cNvPr>
            <p:cNvSpPr/>
            <p:nvPr userDrawn="1"/>
          </p:nvSpPr>
          <p:spPr>
            <a:xfrm>
              <a:off x="729638" y="1036819"/>
              <a:ext cx="102824" cy="10282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34E1FBCB-9909-4C61-4E46-86658A6E0AC4}"/>
                </a:ext>
              </a:extLst>
            </p:cNvPr>
            <p:cNvSpPr/>
            <p:nvPr userDrawn="1"/>
          </p:nvSpPr>
          <p:spPr>
            <a:xfrm>
              <a:off x="729638" y="1334475"/>
              <a:ext cx="102824" cy="10282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4" name="Graphic 29">
            <a:extLst>
              <a:ext uri="{FF2B5EF4-FFF2-40B4-BE49-F238E27FC236}">
                <a16:creationId xmlns:a16="http://schemas.microsoft.com/office/drawing/2014/main" id="{0ED07AE1-37C3-C26D-276A-7ABCD1F46B35}"/>
              </a:ext>
            </a:extLst>
          </p:cNvPr>
          <p:cNvGrpSpPr/>
          <p:nvPr/>
        </p:nvGrpSpPr>
        <p:grpSpPr>
          <a:xfrm>
            <a:off x="631422" y="446240"/>
            <a:ext cx="589131" cy="1104816"/>
            <a:chOff x="1502100" y="653619"/>
            <a:chExt cx="2035484" cy="3817207"/>
          </a:xfrm>
          <a:solidFill>
            <a:schemeClr val="tx1"/>
          </a:solidFill>
        </p:grpSpPr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68E4DFA9-D6A4-322C-D9A4-D09A3DFC8E42}"/>
                </a:ext>
              </a:extLst>
            </p:cNvPr>
            <p:cNvSpPr/>
            <p:nvPr/>
          </p:nvSpPr>
          <p:spPr>
            <a:xfrm>
              <a:off x="1502100" y="653619"/>
              <a:ext cx="2035484" cy="3817207"/>
            </a:xfrm>
            <a:custGeom>
              <a:avLst/>
              <a:gdLst>
                <a:gd name="connsiteX0" fmla="*/ 1775452 w 2035484"/>
                <a:gd name="connsiteY0" fmla="*/ 2695942 h 3817207"/>
                <a:gd name="connsiteX1" fmla="*/ 1556377 w 2035484"/>
                <a:gd name="connsiteY1" fmla="*/ 2695942 h 3817207"/>
                <a:gd name="connsiteX2" fmla="*/ 1516372 w 2035484"/>
                <a:gd name="connsiteY2" fmla="*/ 2664509 h 3817207"/>
                <a:gd name="connsiteX3" fmla="*/ 1423027 w 2035484"/>
                <a:gd name="connsiteY3" fmla="*/ 2477819 h 3817207"/>
                <a:gd name="connsiteX4" fmla="*/ 1031549 w 2035484"/>
                <a:gd name="connsiteY4" fmla="*/ 2283509 h 3817207"/>
                <a:gd name="connsiteX5" fmla="*/ 508627 w 2035484"/>
                <a:gd name="connsiteY5" fmla="*/ 2785477 h 3817207"/>
                <a:gd name="connsiteX6" fmla="*/ 1010594 w 2035484"/>
                <a:gd name="connsiteY6" fmla="*/ 3308399 h 3817207"/>
                <a:gd name="connsiteX7" fmla="*/ 1515419 w 2035484"/>
                <a:gd name="connsiteY7" fmla="*/ 2931209 h 3817207"/>
                <a:gd name="connsiteX8" fmla="*/ 1518277 w 2035484"/>
                <a:gd name="connsiteY8" fmla="*/ 2917874 h 3817207"/>
                <a:gd name="connsiteX9" fmla="*/ 1546852 w 2035484"/>
                <a:gd name="connsiteY9" fmla="*/ 2895967 h 3817207"/>
                <a:gd name="connsiteX10" fmla="*/ 1985955 w 2035484"/>
                <a:gd name="connsiteY10" fmla="*/ 2895967 h 3817207"/>
                <a:gd name="connsiteX11" fmla="*/ 2022149 w 2035484"/>
                <a:gd name="connsiteY11" fmla="*/ 2895967 h 3817207"/>
                <a:gd name="connsiteX12" fmla="*/ 2035484 w 2035484"/>
                <a:gd name="connsiteY12" fmla="*/ 2909302 h 3817207"/>
                <a:gd name="connsiteX13" fmla="*/ 2035484 w 2035484"/>
                <a:gd name="connsiteY13" fmla="*/ 2912159 h 3817207"/>
                <a:gd name="connsiteX14" fmla="*/ 2033580 w 2035484"/>
                <a:gd name="connsiteY14" fmla="*/ 2935019 h 3817207"/>
                <a:gd name="connsiteX15" fmla="*/ 1294440 w 2035484"/>
                <a:gd name="connsiteY15" fmla="*/ 3779887 h 3817207"/>
                <a:gd name="connsiteX16" fmla="*/ 37139 w 2035484"/>
                <a:gd name="connsiteY16" fmla="*/ 3068369 h 3817207"/>
                <a:gd name="connsiteX17" fmla="*/ 65714 w 2035484"/>
                <a:gd name="connsiteY17" fmla="*/ 2434004 h 3817207"/>
                <a:gd name="connsiteX18" fmla="*/ 315269 w 2035484"/>
                <a:gd name="connsiteY18" fmla="*/ 1756777 h 3817207"/>
                <a:gd name="connsiteX19" fmla="*/ 944872 w 2035484"/>
                <a:gd name="connsiteY19" fmla="*/ 42277 h 3817207"/>
                <a:gd name="connsiteX20" fmla="*/ 1009642 w 2035484"/>
                <a:gd name="connsiteY20" fmla="*/ 20369 h 3817207"/>
                <a:gd name="connsiteX21" fmla="*/ 1340159 w 2035484"/>
                <a:gd name="connsiteY21" fmla="*/ 531862 h 3817207"/>
                <a:gd name="connsiteX22" fmla="*/ 1266817 w 2035484"/>
                <a:gd name="connsiteY22" fmla="*/ 1033829 h 3817207"/>
                <a:gd name="connsiteX23" fmla="*/ 929632 w 2035484"/>
                <a:gd name="connsiteY23" fmla="*/ 1708199 h 3817207"/>
                <a:gd name="connsiteX24" fmla="*/ 906772 w 2035484"/>
                <a:gd name="connsiteY24" fmla="*/ 1752967 h 3817207"/>
                <a:gd name="connsiteX25" fmla="*/ 923917 w 2035484"/>
                <a:gd name="connsiteY25" fmla="*/ 1779637 h 3817207"/>
                <a:gd name="connsiteX26" fmla="*/ 1038217 w 2035484"/>
                <a:gd name="connsiteY26" fmla="*/ 1776779 h 3817207"/>
                <a:gd name="connsiteX27" fmla="*/ 1658294 w 2035484"/>
                <a:gd name="connsiteY27" fmla="*/ 1999664 h 3817207"/>
                <a:gd name="connsiteX28" fmla="*/ 2023102 w 2035484"/>
                <a:gd name="connsiteY28" fmla="*/ 2599739 h 3817207"/>
                <a:gd name="connsiteX29" fmla="*/ 2034532 w 2035484"/>
                <a:gd name="connsiteY29" fmla="*/ 2672129 h 3817207"/>
                <a:gd name="connsiteX30" fmla="*/ 2013577 w 2035484"/>
                <a:gd name="connsiteY30" fmla="*/ 2697847 h 3817207"/>
                <a:gd name="connsiteX31" fmla="*/ 1774499 w 2035484"/>
                <a:gd name="connsiteY31" fmla="*/ 2697847 h 3817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035484" h="3817207">
                  <a:moveTo>
                    <a:pt x="1775452" y="2695942"/>
                  </a:moveTo>
                  <a:lnTo>
                    <a:pt x="1556377" y="2695942"/>
                  </a:lnTo>
                  <a:cubicBezTo>
                    <a:pt x="1525897" y="2695942"/>
                    <a:pt x="1524944" y="2695942"/>
                    <a:pt x="1516372" y="2664509"/>
                  </a:cubicBezTo>
                  <a:cubicBezTo>
                    <a:pt x="1499227" y="2595929"/>
                    <a:pt x="1466842" y="2533064"/>
                    <a:pt x="1423027" y="2477819"/>
                  </a:cubicBezTo>
                  <a:cubicBezTo>
                    <a:pt x="1322062" y="2353994"/>
                    <a:pt x="1191569" y="2287319"/>
                    <a:pt x="1031549" y="2283509"/>
                  </a:cubicBezTo>
                  <a:cubicBezTo>
                    <a:pt x="748657" y="2277794"/>
                    <a:pt x="514342" y="2502584"/>
                    <a:pt x="508627" y="2785477"/>
                  </a:cubicBezTo>
                  <a:cubicBezTo>
                    <a:pt x="502912" y="3068369"/>
                    <a:pt x="727702" y="3302684"/>
                    <a:pt x="1010594" y="3308399"/>
                  </a:cubicBezTo>
                  <a:cubicBezTo>
                    <a:pt x="1244909" y="3313162"/>
                    <a:pt x="1453507" y="3157904"/>
                    <a:pt x="1515419" y="2931209"/>
                  </a:cubicBezTo>
                  <a:cubicBezTo>
                    <a:pt x="1516372" y="2926447"/>
                    <a:pt x="1517324" y="2922637"/>
                    <a:pt x="1518277" y="2917874"/>
                  </a:cubicBezTo>
                  <a:cubicBezTo>
                    <a:pt x="1523992" y="2897872"/>
                    <a:pt x="1525897" y="2895967"/>
                    <a:pt x="1546852" y="2895967"/>
                  </a:cubicBezTo>
                  <a:lnTo>
                    <a:pt x="1985955" y="2895967"/>
                  </a:lnTo>
                  <a:cubicBezTo>
                    <a:pt x="1998337" y="2895967"/>
                    <a:pt x="2009767" y="2895967"/>
                    <a:pt x="2022149" y="2895967"/>
                  </a:cubicBezTo>
                  <a:cubicBezTo>
                    <a:pt x="2029769" y="2895967"/>
                    <a:pt x="2035484" y="2901682"/>
                    <a:pt x="2035484" y="2909302"/>
                  </a:cubicBezTo>
                  <a:cubicBezTo>
                    <a:pt x="2035484" y="2909302"/>
                    <a:pt x="2035484" y="2911207"/>
                    <a:pt x="2035484" y="2912159"/>
                  </a:cubicBezTo>
                  <a:cubicBezTo>
                    <a:pt x="2035484" y="2919779"/>
                    <a:pt x="2035484" y="2927399"/>
                    <a:pt x="2033580" y="2935019"/>
                  </a:cubicBezTo>
                  <a:cubicBezTo>
                    <a:pt x="1976430" y="3339832"/>
                    <a:pt x="1688774" y="3672254"/>
                    <a:pt x="1294440" y="3779887"/>
                  </a:cubicBezTo>
                  <a:cubicBezTo>
                    <a:pt x="750562" y="3930382"/>
                    <a:pt x="187634" y="3612247"/>
                    <a:pt x="37139" y="3068369"/>
                  </a:cubicBezTo>
                  <a:cubicBezTo>
                    <a:pt x="-20963" y="2858819"/>
                    <a:pt x="-10486" y="2636887"/>
                    <a:pt x="65714" y="2434004"/>
                  </a:cubicBezTo>
                  <a:cubicBezTo>
                    <a:pt x="148582" y="2208262"/>
                    <a:pt x="232402" y="1982519"/>
                    <a:pt x="315269" y="1756777"/>
                  </a:cubicBezTo>
                  <a:cubicBezTo>
                    <a:pt x="524819" y="1185277"/>
                    <a:pt x="735322" y="613777"/>
                    <a:pt x="944872" y="42277"/>
                  </a:cubicBezTo>
                  <a:cubicBezTo>
                    <a:pt x="963922" y="-9158"/>
                    <a:pt x="965827" y="-10111"/>
                    <a:pt x="1009642" y="20369"/>
                  </a:cubicBezTo>
                  <a:cubicBezTo>
                    <a:pt x="1189665" y="146099"/>
                    <a:pt x="1301107" y="316597"/>
                    <a:pt x="1340159" y="531862"/>
                  </a:cubicBezTo>
                  <a:cubicBezTo>
                    <a:pt x="1372544" y="702359"/>
                    <a:pt x="1346827" y="879524"/>
                    <a:pt x="1266817" y="1033829"/>
                  </a:cubicBezTo>
                  <a:cubicBezTo>
                    <a:pt x="1154422" y="1258619"/>
                    <a:pt x="1041074" y="1483409"/>
                    <a:pt x="929632" y="1708199"/>
                  </a:cubicBezTo>
                  <a:cubicBezTo>
                    <a:pt x="922012" y="1723439"/>
                    <a:pt x="914392" y="1737727"/>
                    <a:pt x="906772" y="1752967"/>
                  </a:cubicBezTo>
                  <a:cubicBezTo>
                    <a:pt x="897247" y="1774874"/>
                    <a:pt x="901057" y="1780589"/>
                    <a:pt x="923917" y="1779637"/>
                  </a:cubicBezTo>
                  <a:cubicBezTo>
                    <a:pt x="962017" y="1778684"/>
                    <a:pt x="1000117" y="1775827"/>
                    <a:pt x="1038217" y="1776779"/>
                  </a:cubicBezTo>
                  <a:cubicBezTo>
                    <a:pt x="1263959" y="1778684"/>
                    <a:pt x="1483034" y="1856789"/>
                    <a:pt x="1658294" y="1999664"/>
                  </a:cubicBezTo>
                  <a:cubicBezTo>
                    <a:pt x="1852605" y="2154922"/>
                    <a:pt x="1972619" y="2356852"/>
                    <a:pt x="2023102" y="2599739"/>
                  </a:cubicBezTo>
                  <a:cubicBezTo>
                    <a:pt x="2027865" y="2623552"/>
                    <a:pt x="2031674" y="2647364"/>
                    <a:pt x="2034532" y="2672129"/>
                  </a:cubicBezTo>
                  <a:cubicBezTo>
                    <a:pt x="2037390" y="2692132"/>
                    <a:pt x="2032627" y="2696894"/>
                    <a:pt x="2013577" y="2697847"/>
                  </a:cubicBezTo>
                  <a:lnTo>
                    <a:pt x="1774499" y="269784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038B9749-F459-E507-6F25-7744FD4893E7}"/>
                </a:ext>
              </a:extLst>
            </p:cNvPr>
            <p:cNvSpPr/>
            <p:nvPr/>
          </p:nvSpPr>
          <p:spPr>
            <a:xfrm>
              <a:off x="1503045" y="1064002"/>
              <a:ext cx="291914" cy="1722631"/>
            </a:xfrm>
            <a:custGeom>
              <a:avLst/>
              <a:gdLst>
                <a:gd name="connsiteX0" fmla="*/ 952 w 291914"/>
                <a:gd name="connsiteY0" fmla="*/ 1722632 h 1722631"/>
                <a:gd name="connsiteX1" fmla="*/ 952 w 291914"/>
                <a:gd name="connsiteY1" fmla="*/ 1374969 h 1722631"/>
                <a:gd name="connsiteX2" fmla="*/ 952 w 291914"/>
                <a:gd name="connsiteY2" fmla="*/ 1342584 h 1722631"/>
                <a:gd name="connsiteX3" fmla="*/ 3810 w 291914"/>
                <a:gd name="connsiteY3" fmla="*/ 465331 h 1722631"/>
                <a:gd name="connsiteX4" fmla="*/ 3810 w 291914"/>
                <a:gd name="connsiteY4" fmla="*/ 40516 h 1722631"/>
                <a:gd name="connsiteX5" fmla="*/ 48577 w 291914"/>
                <a:gd name="connsiteY5" fmla="*/ 4321 h 1722631"/>
                <a:gd name="connsiteX6" fmla="*/ 271463 w 291914"/>
                <a:gd name="connsiteY6" fmla="*/ 96714 h 1722631"/>
                <a:gd name="connsiteX7" fmla="*/ 290513 w 291914"/>
                <a:gd name="connsiteY7" fmla="*/ 136719 h 1722631"/>
                <a:gd name="connsiteX8" fmla="*/ 211455 w 291914"/>
                <a:gd name="connsiteY8" fmla="*/ 576774 h 1722631"/>
                <a:gd name="connsiteX9" fmla="*/ 122872 w 291914"/>
                <a:gd name="connsiteY9" fmla="*/ 1071122 h 1722631"/>
                <a:gd name="connsiteX10" fmla="*/ 16192 w 291914"/>
                <a:gd name="connsiteY10" fmla="*/ 1664529 h 1722631"/>
                <a:gd name="connsiteX11" fmla="*/ 0 w 291914"/>
                <a:gd name="connsiteY11" fmla="*/ 1720726 h 1722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1914" h="1722631">
                  <a:moveTo>
                    <a:pt x="952" y="1722632"/>
                  </a:moveTo>
                  <a:lnTo>
                    <a:pt x="952" y="1374969"/>
                  </a:lnTo>
                  <a:cubicBezTo>
                    <a:pt x="952" y="1364491"/>
                    <a:pt x="952" y="1354014"/>
                    <a:pt x="952" y="1342584"/>
                  </a:cubicBezTo>
                  <a:cubicBezTo>
                    <a:pt x="1905" y="1050166"/>
                    <a:pt x="2858" y="757749"/>
                    <a:pt x="3810" y="465331"/>
                  </a:cubicBezTo>
                  <a:cubicBezTo>
                    <a:pt x="3810" y="323409"/>
                    <a:pt x="3810" y="182439"/>
                    <a:pt x="3810" y="40516"/>
                  </a:cubicBezTo>
                  <a:cubicBezTo>
                    <a:pt x="3810" y="-1394"/>
                    <a:pt x="8572" y="-5204"/>
                    <a:pt x="48577" y="4321"/>
                  </a:cubicBezTo>
                  <a:cubicBezTo>
                    <a:pt x="126683" y="24324"/>
                    <a:pt x="201930" y="54804"/>
                    <a:pt x="271463" y="96714"/>
                  </a:cubicBezTo>
                  <a:cubicBezTo>
                    <a:pt x="287655" y="103381"/>
                    <a:pt x="295275" y="120527"/>
                    <a:pt x="290513" y="136719"/>
                  </a:cubicBezTo>
                  <a:cubicBezTo>
                    <a:pt x="262890" y="283404"/>
                    <a:pt x="238125" y="430089"/>
                    <a:pt x="211455" y="576774"/>
                  </a:cubicBezTo>
                  <a:cubicBezTo>
                    <a:pt x="181927" y="741557"/>
                    <a:pt x="152400" y="906339"/>
                    <a:pt x="122872" y="1071122"/>
                  </a:cubicBezTo>
                  <a:cubicBezTo>
                    <a:pt x="87630" y="1269241"/>
                    <a:pt x="51435" y="1466409"/>
                    <a:pt x="16192" y="1664529"/>
                  </a:cubicBezTo>
                  <a:cubicBezTo>
                    <a:pt x="12383" y="1681674"/>
                    <a:pt x="10477" y="1692151"/>
                    <a:pt x="0" y="17207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BE47C0BB-DC88-85ED-4CB4-09B787A2D859}"/>
                </a:ext>
              </a:extLst>
            </p:cNvPr>
            <p:cNvSpPr/>
            <p:nvPr/>
          </p:nvSpPr>
          <p:spPr>
            <a:xfrm>
              <a:off x="1683067" y="817105"/>
              <a:ext cx="541936" cy="1609483"/>
            </a:xfrm>
            <a:custGeom>
              <a:avLst/>
              <a:gdLst>
                <a:gd name="connsiteX0" fmla="*/ 953 w 541936"/>
                <a:gd name="connsiteY0" fmla="*/ 1608531 h 1609483"/>
                <a:gd name="connsiteX1" fmla="*/ 89535 w 541936"/>
                <a:gd name="connsiteY1" fmla="*/ 1138949 h 1609483"/>
                <a:gd name="connsiteX2" fmla="*/ 224790 w 541936"/>
                <a:gd name="connsiteY2" fmla="*/ 384568 h 1609483"/>
                <a:gd name="connsiteX3" fmla="*/ 285750 w 541936"/>
                <a:gd name="connsiteY3" fmla="*/ 43573 h 1609483"/>
                <a:gd name="connsiteX4" fmla="*/ 342900 w 541936"/>
                <a:gd name="connsiteY4" fmla="*/ 13093 h 1609483"/>
                <a:gd name="connsiteX5" fmla="*/ 521017 w 541936"/>
                <a:gd name="connsiteY5" fmla="*/ 123583 h 1609483"/>
                <a:gd name="connsiteX6" fmla="*/ 535305 w 541936"/>
                <a:gd name="connsiteY6" fmla="*/ 173113 h 1609483"/>
                <a:gd name="connsiteX7" fmla="*/ 456248 w 541936"/>
                <a:gd name="connsiteY7" fmla="*/ 387426 h 1609483"/>
                <a:gd name="connsiteX8" fmla="*/ 200025 w 541936"/>
                <a:gd name="connsiteY8" fmla="*/ 1085608 h 1609483"/>
                <a:gd name="connsiteX9" fmla="*/ 35242 w 541936"/>
                <a:gd name="connsiteY9" fmla="*/ 1530426 h 1609483"/>
                <a:gd name="connsiteX10" fmla="*/ 0 w 541936"/>
                <a:gd name="connsiteY10" fmla="*/ 1609483 h 1609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1936" h="1609483">
                  <a:moveTo>
                    <a:pt x="953" y="1608531"/>
                  </a:moveTo>
                  <a:cubicBezTo>
                    <a:pt x="24765" y="1478038"/>
                    <a:pt x="66675" y="1268488"/>
                    <a:pt x="89535" y="1138949"/>
                  </a:cubicBezTo>
                  <a:cubicBezTo>
                    <a:pt x="134303" y="887488"/>
                    <a:pt x="180023" y="636028"/>
                    <a:pt x="224790" y="384568"/>
                  </a:cubicBezTo>
                  <a:cubicBezTo>
                    <a:pt x="244792" y="270268"/>
                    <a:pt x="264795" y="156921"/>
                    <a:pt x="285750" y="43573"/>
                  </a:cubicBezTo>
                  <a:cubicBezTo>
                    <a:pt x="294323" y="-1194"/>
                    <a:pt x="289560" y="-11672"/>
                    <a:pt x="342900" y="13093"/>
                  </a:cubicBezTo>
                  <a:cubicBezTo>
                    <a:pt x="406717" y="41668"/>
                    <a:pt x="466725" y="78816"/>
                    <a:pt x="521017" y="123583"/>
                  </a:cubicBezTo>
                  <a:cubicBezTo>
                    <a:pt x="545783" y="143586"/>
                    <a:pt x="545783" y="144538"/>
                    <a:pt x="535305" y="173113"/>
                  </a:cubicBezTo>
                  <a:cubicBezTo>
                    <a:pt x="509588" y="244551"/>
                    <a:pt x="482917" y="315988"/>
                    <a:pt x="456248" y="387426"/>
                  </a:cubicBezTo>
                  <a:cubicBezTo>
                    <a:pt x="370523" y="619836"/>
                    <a:pt x="284798" y="853199"/>
                    <a:pt x="200025" y="1085608"/>
                  </a:cubicBezTo>
                  <a:cubicBezTo>
                    <a:pt x="145733" y="1234199"/>
                    <a:pt x="90488" y="1382788"/>
                    <a:pt x="35242" y="1530426"/>
                  </a:cubicBezTo>
                  <a:lnTo>
                    <a:pt x="0" y="16094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651DBF50-4984-AE83-20F9-0340C2055130}"/>
              </a:ext>
            </a:extLst>
          </p:cNvPr>
          <p:cNvSpPr txBox="1"/>
          <p:nvPr/>
        </p:nvSpPr>
        <p:spPr>
          <a:xfrm rot="16200000">
            <a:off x="-3194635" y="4189140"/>
            <a:ext cx="80705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3200" b="1" dirty="0" err="1">
                <a:solidFill>
                  <a:schemeClr val="tx1"/>
                </a:solidFill>
              </a:rPr>
              <a:t>breadcrumbsdata.com</a:t>
            </a:r>
            <a:endParaRPr lang="en-US" sz="3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01873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4959E-6 7.40741E-7 L 1.4959E-6 1.25799 " pathEditMode="relative" rAng="0" ptsTypes="AA">
                                      <p:cBhvr>
                                        <p:cTn id="6" dur="5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6289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5">
            <a:extLst>
              <a:ext uri="{FF2B5EF4-FFF2-40B4-BE49-F238E27FC236}">
                <a16:creationId xmlns:a16="http://schemas.microsoft.com/office/drawing/2014/main" id="{0688E7A2-C656-4645-BD47-2EF0DAD994B5}"/>
              </a:ext>
            </a:extLst>
          </p:cNvPr>
          <p:cNvSpPr>
            <a:spLocks/>
          </p:cNvSpPr>
          <p:nvPr/>
        </p:nvSpPr>
        <p:spPr bwMode="auto">
          <a:xfrm rot="2757414">
            <a:off x="7437947" y="-25019241"/>
            <a:ext cx="6481764" cy="41148000"/>
          </a:xfrm>
          <a:custGeom>
            <a:avLst/>
            <a:gdLst>
              <a:gd name="T0" fmla="*/ 913 w 2188"/>
              <a:gd name="T1" fmla="*/ 14034 h 14034"/>
              <a:gd name="T2" fmla="*/ 734 w 2188"/>
              <a:gd name="T3" fmla="*/ 13676 h 14034"/>
              <a:gd name="T4" fmla="*/ 373 w 2188"/>
              <a:gd name="T5" fmla="*/ 12854 h 14034"/>
              <a:gd name="T6" fmla="*/ 0 w 2188"/>
              <a:gd name="T7" fmla="*/ 11337 h 14034"/>
              <a:gd name="T8" fmla="*/ 376 w 2188"/>
              <a:gd name="T9" fmla="*/ 9820 h 14034"/>
              <a:gd name="T10" fmla="*/ 738 w 2188"/>
              <a:gd name="T11" fmla="*/ 8998 h 14034"/>
              <a:gd name="T12" fmla="*/ 1072 w 2188"/>
              <a:gd name="T13" fmla="*/ 8236 h 14034"/>
              <a:gd name="T14" fmla="*/ 1388 w 2188"/>
              <a:gd name="T15" fmla="*/ 7017 h 14034"/>
              <a:gd name="T16" fmla="*/ 1068 w 2188"/>
              <a:gd name="T17" fmla="*/ 5792 h 14034"/>
              <a:gd name="T18" fmla="*/ 735 w 2188"/>
              <a:gd name="T19" fmla="*/ 5037 h 14034"/>
              <a:gd name="T20" fmla="*/ 734 w 2188"/>
              <a:gd name="T21" fmla="*/ 5036 h 14034"/>
              <a:gd name="T22" fmla="*/ 373 w 2188"/>
              <a:gd name="T23" fmla="*/ 4214 h 14034"/>
              <a:gd name="T24" fmla="*/ 0 w 2188"/>
              <a:gd name="T25" fmla="*/ 2697 h 14034"/>
              <a:gd name="T26" fmla="*/ 376 w 2188"/>
              <a:gd name="T27" fmla="*/ 1180 h 14034"/>
              <a:gd name="T28" fmla="*/ 739 w 2188"/>
              <a:gd name="T29" fmla="*/ 357 h 14034"/>
              <a:gd name="T30" fmla="*/ 918 w 2188"/>
              <a:gd name="T31" fmla="*/ 0 h 14034"/>
              <a:gd name="T32" fmla="*/ 1633 w 2188"/>
              <a:gd name="T33" fmla="*/ 359 h 14034"/>
              <a:gd name="T34" fmla="*/ 1453 w 2188"/>
              <a:gd name="T35" fmla="*/ 717 h 14034"/>
              <a:gd name="T36" fmla="*/ 1118 w 2188"/>
              <a:gd name="T37" fmla="*/ 1478 h 14034"/>
              <a:gd name="T38" fmla="*/ 800 w 2188"/>
              <a:gd name="T39" fmla="*/ 2697 h 14034"/>
              <a:gd name="T40" fmla="*/ 1116 w 2188"/>
              <a:gd name="T41" fmla="*/ 3916 h 14034"/>
              <a:gd name="T42" fmla="*/ 1449 w 2188"/>
              <a:gd name="T43" fmla="*/ 4677 h 14034"/>
              <a:gd name="T44" fmla="*/ 1812 w 2188"/>
              <a:gd name="T45" fmla="*/ 5500 h 14034"/>
              <a:gd name="T46" fmla="*/ 2188 w 2188"/>
              <a:gd name="T47" fmla="*/ 7017 h 14034"/>
              <a:gd name="T48" fmla="*/ 1815 w 2188"/>
              <a:gd name="T49" fmla="*/ 8534 h 14034"/>
              <a:gd name="T50" fmla="*/ 1454 w 2188"/>
              <a:gd name="T51" fmla="*/ 9356 h 14034"/>
              <a:gd name="T52" fmla="*/ 1453 w 2188"/>
              <a:gd name="T53" fmla="*/ 9357 h 14034"/>
              <a:gd name="T54" fmla="*/ 1118 w 2188"/>
              <a:gd name="T55" fmla="*/ 10118 h 14034"/>
              <a:gd name="T56" fmla="*/ 800 w 2188"/>
              <a:gd name="T57" fmla="*/ 11337 h 14034"/>
              <a:gd name="T58" fmla="*/ 1116 w 2188"/>
              <a:gd name="T59" fmla="*/ 12556 h 14034"/>
              <a:gd name="T60" fmla="*/ 1450 w 2188"/>
              <a:gd name="T61" fmla="*/ 13318 h 14034"/>
              <a:gd name="T62" fmla="*/ 1628 w 2188"/>
              <a:gd name="T63" fmla="*/ 13676 h 14034"/>
              <a:gd name="T64" fmla="*/ 913 w 2188"/>
              <a:gd name="T65" fmla="*/ 14034 h 140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188" h="14034">
                <a:moveTo>
                  <a:pt x="913" y="14034"/>
                </a:moveTo>
                <a:cubicBezTo>
                  <a:pt x="734" y="13676"/>
                  <a:pt x="734" y="13676"/>
                  <a:pt x="734" y="13676"/>
                </a:cubicBezTo>
                <a:cubicBezTo>
                  <a:pt x="727" y="13661"/>
                  <a:pt x="551" y="13308"/>
                  <a:pt x="373" y="12854"/>
                </a:cubicBezTo>
                <a:cubicBezTo>
                  <a:pt x="126" y="12219"/>
                  <a:pt x="0" y="11709"/>
                  <a:pt x="0" y="11337"/>
                </a:cubicBezTo>
                <a:cubicBezTo>
                  <a:pt x="0" y="10965"/>
                  <a:pt x="126" y="10454"/>
                  <a:pt x="376" y="9820"/>
                </a:cubicBezTo>
                <a:cubicBezTo>
                  <a:pt x="553" y="9368"/>
                  <a:pt x="729" y="9017"/>
                  <a:pt x="738" y="8998"/>
                </a:cubicBezTo>
                <a:cubicBezTo>
                  <a:pt x="745" y="8984"/>
                  <a:pt x="910" y="8651"/>
                  <a:pt x="1072" y="8236"/>
                </a:cubicBezTo>
                <a:cubicBezTo>
                  <a:pt x="1276" y="7713"/>
                  <a:pt x="1388" y="7280"/>
                  <a:pt x="1388" y="7017"/>
                </a:cubicBezTo>
                <a:cubicBezTo>
                  <a:pt x="1388" y="6753"/>
                  <a:pt x="1274" y="6318"/>
                  <a:pt x="1068" y="5792"/>
                </a:cubicBezTo>
                <a:cubicBezTo>
                  <a:pt x="902" y="5371"/>
                  <a:pt x="736" y="5040"/>
                  <a:pt x="735" y="5037"/>
                </a:cubicBezTo>
                <a:cubicBezTo>
                  <a:pt x="734" y="5036"/>
                  <a:pt x="734" y="5036"/>
                  <a:pt x="734" y="5036"/>
                </a:cubicBezTo>
                <a:cubicBezTo>
                  <a:pt x="727" y="5021"/>
                  <a:pt x="551" y="4668"/>
                  <a:pt x="373" y="4214"/>
                </a:cubicBezTo>
                <a:cubicBezTo>
                  <a:pt x="126" y="3579"/>
                  <a:pt x="0" y="3069"/>
                  <a:pt x="0" y="2697"/>
                </a:cubicBezTo>
                <a:cubicBezTo>
                  <a:pt x="0" y="2325"/>
                  <a:pt x="126" y="1814"/>
                  <a:pt x="376" y="1180"/>
                </a:cubicBezTo>
                <a:cubicBezTo>
                  <a:pt x="554" y="725"/>
                  <a:pt x="731" y="372"/>
                  <a:pt x="739" y="357"/>
                </a:cubicBezTo>
                <a:cubicBezTo>
                  <a:pt x="918" y="0"/>
                  <a:pt x="918" y="0"/>
                  <a:pt x="918" y="0"/>
                </a:cubicBezTo>
                <a:cubicBezTo>
                  <a:pt x="1633" y="359"/>
                  <a:pt x="1633" y="359"/>
                  <a:pt x="1633" y="359"/>
                </a:cubicBezTo>
                <a:cubicBezTo>
                  <a:pt x="1453" y="717"/>
                  <a:pt x="1453" y="717"/>
                  <a:pt x="1453" y="717"/>
                </a:cubicBezTo>
                <a:cubicBezTo>
                  <a:pt x="1450" y="724"/>
                  <a:pt x="1282" y="1059"/>
                  <a:pt x="1118" y="1478"/>
                </a:cubicBezTo>
                <a:cubicBezTo>
                  <a:pt x="913" y="2001"/>
                  <a:pt x="800" y="2434"/>
                  <a:pt x="800" y="2697"/>
                </a:cubicBezTo>
                <a:cubicBezTo>
                  <a:pt x="800" y="2960"/>
                  <a:pt x="912" y="3393"/>
                  <a:pt x="1116" y="3916"/>
                </a:cubicBezTo>
                <a:cubicBezTo>
                  <a:pt x="1277" y="4329"/>
                  <a:pt x="1441" y="4660"/>
                  <a:pt x="1449" y="4677"/>
                </a:cubicBezTo>
                <a:cubicBezTo>
                  <a:pt x="1458" y="4695"/>
                  <a:pt x="1634" y="5047"/>
                  <a:pt x="1812" y="5500"/>
                </a:cubicBezTo>
                <a:cubicBezTo>
                  <a:pt x="2062" y="6134"/>
                  <a:pt x="2188" y="6645"/>
                  <a:pt x="2188" y="7017"/>
                </a:cubicBezTo>
                <a:cubicBezTo>
                  <a:pt x="2188" y="7389"/>
                  <a:pt x="2062" y="7899"/>
                  <a:pt x="1815" y="8534"/>
                </a:cubicBezTo>
                <a:cubicBezTo>
                  <a:pt x="1637" y="8988"/>
                  <a:pt x="1461" y="9341"/>
                  <a:pt x="1454" y="9356"/>
                </a:cubicBezTo>
                <a:cubicBezTo>
                  <a:pt x="1453" y="9357"/>
                  <a:pt x="1453" y="9357"/>
                  <a:pt x="1453" y="9357"/>
                </a:cubicBezTo>
                <a:cubicBezTo>
                  <a:pt x="1452" y="9360"/>
                  <a:pt x="1283" y="9697"/>
                  <a:pt x="1118" y="10118"/>
                </a:cubicBezTo>
                <a:cubicBezTo>
                  <a:pt x="913" y="10641"/>
                  <a:pt x="800" y="11074"/>
                  <a:pt x="800" y="11337"/>
                </a:cubicBezTo>
                <a:cubicBezTo>
                  <a:pt x="800" y="11600"/>
                  <a:pt x="912" y="12033"/>
                  <a:pt x="1116" y="12556"/>
                </a:cubicBezTo>
                <a:cubicBezTo>
                  <a:pt x="1281" y="12978"/>
                  <a:pt x="1448" y="13315"/>
                  <a:pt x="1450" y="13318"/>
                </a:cubicBezTo>
                <a:cubicBezTo>
                  <a:pt x="1628" y="13676"/>
                  <a:pt x="1628" y="13676"/>
                  <a:pt x="1628" y="13676"/>
                </a:cubicBezTo>
                <a:lnTo>
                  <a:pt x="913" y="14034"/>
                </a:lnTo>
                <a:close/>
              </a:path>
            </a:pathLst>
          </a:custGeom>
          <a:solidFill>
            <a:schemeClr val="accent6">
              <a:alpha val="88000"/>
            </a:schemeClr>
          </a:solidFill>
          <a:ln>
            <a:noFill/>
          </a:ln>
          <a:effectLst>
            <a:outerShdw blurRad="1003300" dist="38100" dir="10800000" algn="r" rotWithShape="0">
              <a:schemeClr val="accent1">
                <a:lumMod val="75000"/>
                <a:alpha val="46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Freeform 6">
            <a:extLst>
              <a:ext uri="{FF2B5EF4-FFF2-40B4-BE49-F238E27FC236}">
                <a16:creationId xmlns:a16="http://schemas.microsoft.com/office/drawing/2014/main" id="{C904A4A6-086D-4870-85D6-280040144355}"/>
              </a:ext>
            </a:extLst>
          </p:cNvPr>
          <p:cNvSpPr>
            <a:spLocks/>
          </p:cNvSpPr>
          <p:nvPr/>
        </p:nvSpPr>
        <p:spPr bwMode="auto">
          <a:xfrm rot="2757414">
            <a:off x="8871559" y="-23536924"/>
            <a:ext cx="6481764" cy="41148000"/>
          </a:xfrm>
          <a:custGeom>
            <a:avLst/>
            <a:gdLst>
              <a:gd name="T0" fmla="*/ 913 w 2188"/>
              <a:gd name="T1" fmla="*/ 14034 h 14034"/>
              <a:gd name="T2" fmla="*/ 734 w 2188"/>
              <a:gd name="T3" fmla="*/ 13676 h 14034"/>
              <a:gd name="T4" fmla="*/ 373 w 2188"/>
              <a:gd name="T5" fmla="*/ 12854 h 14034"/>
              <a:gd name="T6" fmla="*/ 0 w 2188"/>
              <a:gd name="T7" fmla="*/ 11337 h 14034"/>
              <a:gd name="T8" fmla="*/ 376 w 2188"/>
              <a:gd name="T9" fmla="*/ 9820 h 14034"/>
              <a:gd name="T10" fmla="*/ 738 w 2188"/>
              <a:gd name="T11" fmla="*/ 8998 h 14034"/>
              <a:gd name="T12" fmla="*/ 1072 w 2188"/>
              <a:gd name="T13" fmla="*/ 8236 h 14034"/>
              <a:gd name="T14" fmla="*/ 1388 w 2188"/>
              <a:gd name="T15" fmla="*/ 7017 h 14034"/>
              <a:gd name="T16" fmla="*/ 1068 w 2188"/>
              <a:gd name="T17" fmla="*/ 5792 h 14034"/>
              <a:gd name="T18" fmla="*/ 735 w 2188"/>
              <a:gd name="T19" fmla="*/ 5037 h 14034"/>
              <a:gd name="T20" fmla="*/ 734 w 2188"/>
              <a:gd name="T21" fmla="*/ 5036 h 14034"/>
              <a:gd name="T22" fmla="*/ 373 w 2188"/>
              <a:gd name="T23" fmla="*/ 4214 h 14034"/>
              <a:gd name="T24" fmla="*/ 0 w 2188"/>
              <a:gd name="T25" fmla="*/ 2697 h 14034"/>
              <a:gd name="T26" fmla="*/ 376 w 2188"/>
              <a:gd name="T27" fmla="*/ 1180 h 14034"/>
              <a:gd name="T28" fmla="*/ 739 w 2188"/>
              <a:gd name="T29" fmla="*/ 357 h 14034"/>
              <a:gd name="T30" fmla="*/ 918 w 2188"/>
              <a:gd name="T31" fmla="*/ 0 h 14034"/>
              <a:gd name="T32" fmla="*/ 1633 w 2188"/>
              <a:gd name="T33" fmla="*/ 359 h 14034"/>
              <a:gd name="T34" fmla="*/ 1453 w 2188"/>
              <a:gd name="T35" fmla="*/ 717 h 14034"/>
              <a:gd name="T36" fmla="*/ 1118 w 2188"/>
              <a:gd name="T37" fmla="*/ 1478 h 14034"/>
              <a:gd name="T38" fmla="*/ 800 w 2188"/>
              <a:gd name="T39" fmla="*/ 2697 h 14034"/>
              <a:gd name="T40" fmla="*/ 1116 w 2188"/>
              <a:gd name="T41" fmla="*/ 3916 h 14034"/>
              <a:gd name="T42" fmla="*/ 1449 w 2188"/>
              <a:gd name="T43" fmla="*/ 4677 h 14034"/>
              <a:gd name="T44" fmla="*/ 1812 w 2188"/>
              <a:gd name="T45" fmla="*/ 5500 h 14034"/>
              <a:gd name="T46" fmla="*/ 2188 w 2188"/>
              <a:gd name="T47" fmla="*/ 7017 h 14034"/>
              <a:gd name="T48" fmla="*/ 1815 w 2188"/>
              <a:gd name="T49" fmla="*/ 8534 h 14034"/>
              <a:gd name="T50" fmla="*/ 1454 w 2188"/>
              <a:gd name="T51" fmla="*/ 9356 h 14034"/>
              <a:gd name="T52" fmla="*/ 1453 w 2188"/>
              <a:gd name="T53" fmla="*/ 9357 h 14034"/>
              <a:gd name="T54" fmla="*/ 1118 w 2188"/>
              <a:gd name="T55" fmla="*/ 10118 h 14034"/>
              <a:gd name="T56" fmla="*/ 800 w 2188"/>
              <a:gd name="T57" fmla="*/ 11337 h 14034"/>
              <a:gd name="T58" fmla="*/ 1116 w 2188"/>
              <a:gd name="T59" fmla="*/ 12556 h 14034"/>
              <a:gd name="T60" fmla="*/ 1450 w 2188"/>
              <a:gd name="T61" fmla="*/ 13318 h 14034"/>
              <a:gd name="T62" fmla="*/ 1628 w 2188"/>
              <a:gd name="T63" fmla="*/ 13676 h 14034"/>
              <a:gd name="T64" fmla="*/ 913 w 2188"/>
              <a:gd name="T65" fmla="*/ 14034 h 140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188" h="14034">
                <a:moveTo>
                  <a:pt x="913" y="14034"/>
                </a:moveTo>
                <a:cubicBezTo>
                  <a:pt x="734" y="13676"/>
                  <a:pt x="734" y="13676"/>
                  <a:pt x="734" y="13676"/>
                </a:cubicBezTo>
                <a:cubicBezTo>
                  <a:pt x="727" y="13661"/>
                  <a:pt x="551" y="13308"/>
                  <a:pt x="373" y="12854"/>
                </a:cubicBezTo>
                <a:cubicBezTo>
                  <a:pt x="126" y="12219"/>
                  <a:pt x="0" y="11709"/>
                  <a:pt x="0" y="11337"/>
                </a:cubicBezTo>
                <a:cubicBezTo>
                  <a:pt x="0" y="10965"/>
                  <a:pt x="126" y="10454"/>
                  <a:pt x="376" y="9820"/>
                </a:cubicBezTo>
                <a:cubicBezTo>
                  <a:pt x="553" y="9368"/>
                  <a:pt x="729" y="9017"/>
                  <a:pt x="738" y="8998"/>
                </a:cubicBezTo>
                <a:cubicBezTo>
                  <a:pt x="745" y="8984"/>
                  <a:pt x="910" y="8651"/>
                  <a:pt x="1072" y="8236"/>
                </a:cubicBezTo>
                <a:cubicBezTo>
                  <a:pt x="1276" y="7713"/>
                  <a:pt x="1388" y="7280"/>
                  <a:pt x="1388" y="7017"/>
                </a:cubicBezTo>
                <a:cubicBezTo>
                  <a:pt x="1388" y="6753"/>
                  <a:pt x="1274" y="6318"/>
                  <a:pt x="1068" y="5792"/>
                </a:cubicBezTo>
                <a:cubicBezTo>
                  <a:pt x="902" y="5371"/>
                  <a:pt x="736" y="5040"/>
                  <a:pt x="735" y="5037"/>
                </a:cubicBezTo>
                <a:cubicBezTo>
                  <a:pt x="734" y="5036"/>
                  <a:pt x="734" y="5036"/>
                  <a:pt x="734" y="5036"/>
                </a:cubicBezTo>
                <a:cubicBezTo>
                  <a:pt x="727" y="5021"/>
                  <a:pt x="551" y="4668"/>
                  <a:pt x="373" y="4214"/>
                </a:cubicBezTo>
                <a:cubicBezTo>
                  <a:pt x="126" y="3579"/>
                  <a:pt x="0" y="3069"/>
                  <a:pt x="0" y="2697"/>
                </a:cubicBezTo>
                <a:cubicBezTo>
                  <a:pt x="0" y="2325"/>
                  <a:pt x="126" y="1814"/>
                  <a:pt x="376" y="1180"/>
                </a:cubicBezTo>
                <a:cubicBezTo>
                  <a:pt x="554" y="725"/>
                  <a:pt x="731" y="372"/>
                  <a:pt x="739" y="357"/>
                </a:cubicBezTo>
                <a:cubicBezTo>
                  <a:pt x="918" y="0"/>
                  <a:pt x="918" y="0"/>
                  <a:pt x="918" y="0"/>
                </a:cubicBezTo>
                <a:cubicBezTo>
                  <a:pt x="1633" y="359"/>
                  <a:pt x="1633" y="359"/>
                  <a:pt x="1633" y="359"/>
                </a:cubicBezTo>
                <a:cubicBezTo>
                  <a:pt x="1453" y="717"/>
                  <a:pt x="1453" y="717"/>
                  <a:pt x="1453" y="717"/>
                </a:cubicBezTo>
                <a:cubicBezTo>
                  <a:pt x="1450" y="724"/>
                  <a:pt x="1282" y="1059"/>
                  <a:pt x="1118" y="1478"/>
                </a:cubicBezTo>
                <a:cubicBezTo>
                  <a:pt x="913" y="2001"/>
                  <a:pt x="800" y="2434"/>
                  <a:pt x="800" y="2697"/>
                </a:cubicBezTo>
                <a:cubicBezTo>
                  <a:pt x="800" y="2960"/>
                  <a:pt x="912" y="3393"/>
                  <a:pt x="1116" y="3916"/>
                </a:cubicBezTo>
                <a:cubicBezTo>
                  <a:pt x="1277" y="4329"/>
                  <a:pt x="1441" y="4660"/>
                  <a:pt x="1449" y="4677"/>
                </a:cubicBezTo>
                <a:cubicBezTo>
                  <a:pt x="1458" y="4695"/>
                  <a:pt x="1634" y="5047"/>
                  <a:pt x="1812" y="5500"/>
                </a:cubicBezTo>
                <a:cubicBezTo>
                  <a:pt x="2062" y="6134"/>
                  <a:pt x="2188" y="6645"/>
                  <a:pt x="2188" y="7017"/>
                </a:cubicBezTo>
                <a:cubicBezTo>
                  <a:pt x="2188" y="7389"/>
                  <a:pt x="2062" y="7899"/>
                  <a:pt x="1815" y="8534"/>
                </a:cubicBezTo>
                <a:cubicBezTo>
                  <a:pt x="1637" y="8988"/>
                  <a:pt x="1461" y="9341"/>
                  <a:pt x="1454" y="9356"/>
                </a:cubicBezTo>
                <a:cubicBezTo>
                  <a:pt x="1453" y="9357"/>
                  <a:pt x="1453" y="9357"/>
                  <a:pt x="1453" y="9357"/>
                </a:cubicBezTo>
                <a:cubicBezTo>
                  <a:pt x="1452" y="9360"/>
                  <a:pt x="1283" y="9697"/>
                  <a:pt x="1118" y="10118"/>
                </a:cubicBezTo>
                <a:cubicBezTo>
                  <a:pt x="913" y="10641"/>
                  <a:pt x="800" y="11074"/>
                  <a:pt x="800" y="11337"/>
                </a:cubicBezTo>
                <a:cubicBezTo>
                  <a:pt x="800" y="11600"/>
                  <a:pt x="912" y="12033"/>
                  <a:pt x="1116" y="12556"/>
                </a:cubicBezTo>
                <a:cubicBezTo>
                  <a:pt x="1281" y="12978"/>
                  <a:pt x="1448" y="13315"/>
                  <a:pt x="1450" y="13318"/>
                </a:cubicBezTo>
                <a:cubicBezTo>
                  <a:pt x="1628" y="13676"/>
                  <a:pt x="1628" y="13676"/>
                  <a:pt x="1628" y="13676"/>
                </a:cubicBezTo>
                <a:lnTo>
                  <a:pt x="913" y="14034"/>
                </a:lnTo>
                <a:close/>
              </a:path>
            </a:pathLst>
          </a:custGeom>
          <a:solidFill>
            <a:schemeClr val="tx1">
              <a:alpha val="88000"/>
            </a:schemeClr>
          </a:solidFill>
          <a:ln>
            <a:noFill/>
          </a:ln>
          <a:effectLst>
            <a:outerShdw blurRad="1003300" dist="38100" dir="10800000" algn="r" rotWithShape="0">
              <a:schemeClr val="accent6">
                <a:lumMod val="75000"/>
                <a:alpha val="46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Freeform 7">
            <a:extLst>
              <a:ext uri="{FF2B5EF4-FFF2-40B4-BE49-F238E27FC236}">
                <a16:creationId xmlns:a16="http://schemas.microsoft.com/office/drawing/2014/main" id="{DD3D3D6C-9C80-4D2E-AACF-7CC792CDDA25}"/>
              </a:ext>
            </a:extLst>
          </p:cNvPr>
          <p:cNvSpPr>
            <a:spLocks/>
          </p:cNvSpPr>
          <p:nvPr/>
        </p:nvSpPr>
        <p:spPr bwMode="auto">
          <a:xfrm rot="2757414">
            <a:off x="10305174" y="-22054606"/>
            <a:ext cx="6481764" cy="41148000"/>
          </a:xfrm>
          <a:custGeom>
            <a:avLst/>
            <a:gdLst>
              <a:gd name="T0" fmla="*/ 913 w 2188"/>
              <a:gd name="T1" fmla="*/ 14034 h 14034"/>
              <a:gd name="T2" fmla="*/ 734 w 2188"/>
              <a:gd name="T3" fmla="*/ 13676 h 14034"/>
              <a:gd name="T4" fmla="*/ 373 w 2188"/>
              <a:gd name="T5" fmla="*/ 12854 h 14034"/>
              <a:gd name="T6" fmla="*/ 0 w 2188"/>
              <a:gd name="T7" fmla="*/ 11337 h 14034"/>
              <a:gd name="T8" fmla="*/ 376 w 2188"/>
              <a:gd name="T9" fmla="*/ 9820 h 14034"/>
              <a:gd name="T10" fmla="*/ 738 w 2188"/>
              <a:gd name="T11" fmla="*/ 8998 h 14034"/>
              <a:gd name="T12" fmla="*/ 1072 w 2188"/>
              <a:gd name="T13" fmla="*/ 8236 h 14034"/>
              <a:gd name="T14" fmla="*/ 1388 w 2188"/>
              <a:gd name="T15" fmla="*/ 7017 h 14034"/>
              <a:gd name="T16" fmla="*/ 1068 w 2188"/>
              <a:gd name="T17" fmla="*/ 5792 h 14034"/>
              <a:gd name="T18" fmla="*/ 735 w 2188"/>
              <a:gd name="T19" fmla="*/ 5037 h 14034"/>
              <a:gd name="T20" fmla="*/ 734 w 2188"/>
              <a:gd name="T21" fmla="*/ 5036 h 14034"/>
              <a:gd name="T22" fmla="*/ 373 w 2188"/>
              <a:gd name="T23" fmla="*/ 4214 h 14034"/>
              <a:gd name="T24" fmla="*/ 0 w 2188"/>
              <a:gd name="T25" fmla="*/ 2697 h 14034"/>
              <a:gd name="T26" fmla="*/ 376 w 2188"/>
              <a:gd name="T27" fmla="*/ 1180 h 14034"/>
              <a:gd name="T28" fmla="*/ 739 w 2188"/>
              <a:gd name="T29" fmla="*/ 357 h 14034"/>
              <a:gd name="T30" fmla="*/ 918 w 2188"/>
              <a:gd name="T31" fmla="*/ 0 h 14034"/>
              <a:gd name="T32" fmla="*/ 1633 w 2188"/>
              <a:gd name="T33" fmla="*/ 359 h 14034"/>
              <a:gd name="T34" fmla="*/ 1453 w 2188"/>
              <a:gd name="T35" fmla="*/ 717 h 14034"/>
              <a:gd name="T36" fmla="*/ 1118 w 2188"/>
              <a:gd name="T37" fmla="*/ 1478 h 14034"/>
              <a:gd name="T38" fmla="*/ 800 w 2188"/>
              <a:gd name="T39" fmla="*/ 2697 h 14034"/>
              <a:gd name="T40" fmla="*/ 1116 w 2188"/>
              <a:gd name="T41" fmla="*/ 3916 h 14034"/>
              <a:gd name="T42" fmla="*/ 1449 w 2188"/>
              <a:gd name="T43" fmla="*/ 4677 h 14034"/>
              <a:gd name="T44" fmla="*/ 1812 w 2188"/>
              <a:gd name="T45" fmla="*/ 5500 h 14034"/>
              <a:gd name="T46" fmla="*/ 2188 w 2188"/>
              <a:gd name="T47" fmla="*/ 7017 h 14034"/>
              <a:gd name="T48" fmla="*/ 1815 w 2188"/>
              <a:gd name="T49" fmla="*/ 8534 h 14034"/>
              <a:gd name="T50" fmla="*/ 1454 w 2188"/>
              <a:gd name="T51" fmla="*/ 9356 h 14034"/>
              <a:gd name="T52" fmla="*/ 1453 w 2188"/>
              <a:gd name="T53" fmla="*/ 9357 h 14034"/>
              <a:gd name="T54" fmla="*/ 1118 w 2188"/>
              <a:gd name="T55" fmla="*/ 10118 h 14034"/>
              <a:gd name="T56" fmla="*/ 800 w 2188"/>
              <a:gd name="T57" fmla="*/ 11337 h 14034"/>
              <a:gd name="T58" fmla="*/ 1116 w 2188"/>
              <a:gd name="T59" fmla="*/ 12556 h 14034"/>
              <a:gd name="T60" fmla="*/ 1450 w 2188"/>
              <a:gd name="T61" fmla="*/ 13318 h 14034"/>
              <a:gd name="T62" fmla="*/ 1628 w 2188"/>
              <a:gd name="T63" fmla="*/ 13676 h 14034"/>
              <a:gd name="T64" fmla="*/ 913 w 2188"/>
              <a:gd name="T65" fmla="*/ 14034 h 140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188" h="14034">
                <a:moveTo>
                  <a:pt x="913" y="14034"/>
                </a:moveTo>
                <a:cubicBezTo>
                  <a:pt x="734" y="13676"/>
                  <a:pt x="734" y="13676"/>
                  <a:pt x="734" y="13676"/>
                </a:cubicBezTo>
                <a:cubicBezTo>
                  <a:pt x="727" y="13661"/>
                  <a:pt x="551" y="13308"/>
                  <a:pt x="373" y="12854"/>
                </a:cubicBezTo>
                <a:cubicBezTo>
                  <a:pt x="126" y="12219"/>
                  <a:pt x="0" y="11709"/>
                  <a:pt x="0" y="11337"/>
                </a:cubicBezTo>
                <a:cubicBezTo>
                  <a:pt x="0" y="10965"/>
                  <a:pt x="126" y="10454"/>
                  <a:pt x="376" y="9820"/>
                </a:cubicBezTo>
                <a:cubicBezTo>
                  <a:pt x="553" y="9368"/>
                  <a:pt x="729" y="9017"/>
                  <a:pt x="738" y="8998"/>
                </a:cubicBezTo>
                <a:cubicBezTo>
                  <a:pt x="745" y="8984"/>
                  <a:pt x="910" y="8651"/>
                  <a:pt x="1072" y="8236"/>
                </a:cubicBezTo>
                <a:cubicBezTo>
                  <a:pt x="1276" y="7713"/>
                  <a:pt x="1388" y="7280"/>
                  <a:pt x="1388" y="7017"/>
                </a:cubicBezTo>
                <a:cubicBezTo>
                  <a:pt x="1388" y="6753"/>
                  <a:pt x="1274" y="6318"/>
                  <a:pt x="1068" y="5792"/>
                </a:cubicBezTo>
                <a:cubicBezTo>
                  <a:pt x="902" y="5371"/>
                  <a:pt x="736" y="5040"/>
                  <a:pt x="735" y="5037"/>
                </a:cubicBezTo>
                <a:cubicBezTo>
                  <a:pt x="734" y="5036"/>
                  <a:pt x="734" y="5036"/>
                  <a:pt x="734" y="5036"/>
                </a:cubicBezTo>
                <a:cubicBezTo>
                  <a:pt x="727" y="5021"/>
                  <a:pt x="551" y="4668"/>
                  <a:pt x="373" y="4214"/>
                </a:cubicBezTo>
                <a:cubicBezTo>
                  <a:pt x="126" y="3579"/>
                  <a:pt x="0" y="3069"/>
                  <a:pt x="0" y="2697"/>
                </a:cubicBezTo>
                <a:cubicBezTo>
                  <a:pt x="0" y="2325"/>
                  <a:pt x="126" y="1814"/>
                  <a:pt x="376" y="1180"/>
                </a:cubicBezTo>
                <a:cubicBezTo>
                  <a:pt x="554" y="725"/>
                  <a:pt x="731" y="372"/>
                  <a:pt x="739" y="357"/>
                </a:cubicBezTo>
                <a:cubicBezTo>
                  <a:pt x="918" y="0"/>
                  <a:pt x="918" y="0"/>
                  <a:pt x="918" y="0"/>
                </a:cubicBezTo>
                <a:cubicBezTo>
                  <a:pt x="1633" y="359"/>
                  <a:pt x="1633" y="359"/>
                  <a:pt x="1633" y="359"/>
                </a:cubicBezTo>
                <a:cubicBezTo>
                  <a:pt x="1453" y="717"/>
                  <a:pt x="1453" y="717"/>
                  <a:pt x="1453" y="717"/>
                </a:cubicBezTo>
                <a:cubicBezTo>
                  <a:pt x="1450" y="724"/>
                  <a:pt x="1282" y="1059"/>
                  <a:pt x="1118" y="1478"/>
                </a:cubicBezTo>
                <a:cubicBezTo>
                  <a:pt x="913" y="2001"/>
                  <a:pt x="800" y="2434"/>
                  <a:pt x="800" y="2697"/>
                </a:cubicBezTo>
                <a:cubicBezTo>
                  <a:pt x="800" y="2960"/>
                  <a:pt x="912" y="3393"/>
                  <a:pt x="1116" y="3916"/>
                </a:cubicBezTo>
                <a:cubicBezTo>
                  <a:pt x="1277" y="4329"/>
                  <a:pt x="1441" y="4660"/>
                  <a:pt x="1449" y="4677"/>
                </a:cubicBezTo>
                <a:cubicBezTo>
                  <a:pt x="1458" y="4695"/>
                  <a:pt x="1634" y="5047"/>
                  <a:pt x="1812" y="5500"/>
                </a:cubicBezTo>
                <a:cubicBezTo>
                  <a:pt x="2062" y="6134"/>
                  <a:pt x="2188" y="6645"/>
                  <a:pt x="2188" y="7017"/>
                </a:cubicBezTo>
                <a:cubicBezTo>
                  <a:pt x="2188" y="7389"/>
                  <a:pt x="2062" y="7899"/>
                  <a:pt x="1815" y="8534"/>
                </a:cubicBezTo>
                <a:cubicBezTo>
                  <a:pt x="1637" y="8988"/>
                  <a:pt x="1461" y="9341"/>
                  <a:pt x="1454" y="9356"/>
                </a:cubicBezTo>
                <a:cubicBezTo>
                  <a:pt x="1453" y="9357"/>
                  <a:pt x="1453" y="9357"/>
                  <a:pt x="1453" y="9357"/>
                </a:cubicBezTo>
                <a:cubicBezTo>
                  <a:pt x="1452" y="9360"/>
                  <a:pt x="1283" y="9697"/>
                  <a:pt x="1118" y="10118"/>
                </a:cubicBezTo>
                <a:cubicBezTo>
                  <a:pt x="913" y="10641"/>
                  <a:pt x="800" y="11074"/>
                  <a:pt x="800" y="11337"/>
                </a:cubicBezTo>
                <a:cubicBezTo>
                  <a:pt x="800" y="11600"/>
                  <a:pt x="912" y="12033"/>
                  <a:pt x="1116" y="12556"/>
                </a:cubicBezTo>
                <a:cubicBezTo>
                  <a:pt x="1281" y="12978"/>
                  <a:pt x="1448" y="13315"/>
                  <a:pt x="1450" y="13318"/>
                </a:cubicBezTo>
                <a:cubicBezTo>
                  <a:pt x="1628" y="13676"/>
                  <a:pt x="1628" y="13676"/>
                  <a:pt x="1628" y="13676"/>
                </a:cubicBezTo>
                <a:lnTo>
                  <a:pt x="913" y="14034"/>
                </a:lnTo>
                <a:close/>
              </a:path>
            </a:pathLst>
          </a:custGeom>
          <a:solidFill>
            <a:schemeClr val="accent3">
              <a:alpha val="88000"/>
            </a:schemeClr>
          </a:solidFill>
          <a:ln>
            <a:noFill/>
          </a:ln>
          <a:effectLst>
            <a:outerShdw blurRad="1003300" dist="38100" dir="10800000" algn="r" rotWithShape="0">
              <a:schemeClr val="accent3">
                <a:lumMod val="75000"/>
                <a:alpha val="46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Freeform 8">
            <a:extLst>
              <a:ext uri="{FF2B5EF4-FFF2-40B4-BE49-F238E27FC236}">
                <a16:creationId xmlns:a16="http://schemas.microsoft.com/office/drawing/2014/main" id="{FA55C1CA-3B7A-47F9-8466-10AC52499650}"/>
              </a:ext>
            </a:extLst>
          </p:cNvPr>
          <p:cNvSpPr>
            <a:spLocks/>
          </p:cNvSpPr>
          <p:nvPr/>
        </p:nvSpPr>
        <p:spPr bwMode="auto">
          <a:xfrm rot="2757414">
            <a:off x="11734752" y="-20574000"/>
            <a:ext cx="6486525" cy="41148000"/>
          </a:xfrm>
          <a:custGeom>
            <a:avLst/>
            <a:gdLst>
              <a:gd name="T0" fmla="*/ 913 w 2188"/>
              <a:gd name="T1" fmla="*/ 14034 h 14034"/>
              <a:gd name="T2" fmla="*/ 734 w 2188"/>
              <a:gd name="T3" fmla="*/ 13676 h 14034"/>
              <a:gd name="T4" fmla="*/ 373 w 2188"/>
              <a:gd name="T5" fmla="*/ 12854 h 14034"/>
              <a:gd name="T6" fmla="*/ 0 w 2188"/>
              <a:gd name="T7" fmla="*/ 11337 h 14034"/>
              <a:gd name="T8" fmla="*/ 376 w 2188"/>
              <a:gd name="T9" fmla="*/ 9820 h 14034"/>
              <a:gd name="T10" fmla="*/ 738 w 2188"/>
              <a:gd name="T11" fmla="*/ 8998 h 14034"/>
              <a:gd name="T12" fmla="*/ 1072 w 2188"/>
              <a:gd name="T13" fmla="*/ 8236 h 14034"/>
              <a:gd name="T14" fmla="*/ 1388 w 2188"/>
              <a:gd name="T15" fmla="*/ 7017 h 14034"/>
              <a:gd name="T16" fmla="*/ 1068 w 2188"/>
              <a:gd name="T17" fmla="*/ 5792 h 14034"/>
              <a:gd name="T18" fmla="*/ 735 w 2188"/>
              <a:gd name="T19" fmla="*/ 5037 h 14034"/>
              <a:gd name="T20" fmla="*/ 734 w 2188"/>
              <a:gd name="T21" fmla="*/ 5036 h 14034"/>
              <a:gd name="T22" fmla="*/ 373 w 2188"/>
              <a:gd name="T23" fmla="*/ 4214 h 14034"/>
              <a:gd name="T24" fmla="*/ 0 w 2188"/>
              <a:gd name="T25" fmla="*/ 2697 h 14034"/>
              <a:gd name="T26" fmla="*/ 376 w 2188"/>
              <a:gd name="T27" fmla="*/ 1180 h 14034"/>
              <a:gd name="T28" fmla="*/ 739 w 2188"/>
              <a:gd name="T29" fmla="*/ 357 h 14034"/>
              <a:gd name="T30" fmla="*/ 918 w 2188"/>
              <a:gd name="T31" fmla="*/ 0 h 14034"/>
              <a:gd name="T32" fmla="*/ 1633 w 2188"/>
              <a:gd name="T33" fmla="*/ 359 h 14034"/>
              <a:gd name="T34" fmla="*/ 1453 w 2188"/>
              <a:gd name="T35" fmla="*/ 717 h 14034"/>
              <a:gd name="T36" fmla="*/ 1118 w 2188"/>
              <a:gd name="T37" fmla="*/ 1478 h 14034"/>
              <a:gd name="T38" fmla="*/ 800 w 2188"/>
              <a:gd name="T39" fmla="*/ 2697 h 14034"/>
              <a:gd name="T40" fmla="*/ 1116 w 2188"/>
              <a:gd name="T41" fmla="*/ 3916 h 14034"/>
              <a:gd name="T42" fmla="*/ 1449 w 2188"/>
              <a:gd name="T43" fmla="*/ 4677 h 14034"/>
              <a:gd name="T44" fmla="*/ 1812 w 2188"/>
              <a:gd name="T45" fmla="*/ 5500 h 14034"/>
              <a:gd name="T46" fmla="*/ 2188 w 2188"/>
              <a:gd name="T47" fmla="*/ 7017 h 14034"/>
              <a:gd name="T48" fmla="*/ 1815 w 2188"/>
              <a:gd name="T49" fmla="*/ 8534 h 14034"/>
              <a:gd name="T50" fmla="*/ 1454 w 2188"/>
              <a:gd name="T51" fmla="*/ 9356 h 14034"/>
              <a:gd name="T52" fmla="*/ 1453 w 2188"/>
              <a:gd name="T53" fmla="*/ 9357 h 14034"/>
              <a:gd name="T54" fmla="*/ 1118 w 2188"/>
              <a:gd name="T55" fmla="*/ 10118 h 14034"/>
              <a:gd name="T56" fmla="*/ 800 w 2188"/>
              <a:gd name="T57" fmla="*/ 11337 h 14034"/>
              <a:gd name="T58" fmla="*/ 1116 w 2188"/>
              <a:gd name="T59" fmla="*/ 12556 h 14034"/>
              <a:gd name="T60" fmla="*/ 1450 w 2188"/>
              <a:gd name="T61" fmla="*/ 13318 h 14034"/>
              <a:gd name="T62" fmla="*/ 1628 w 2188"/>
              <a:gd name="T63" fmla="*/ 13676 h 14034"/>
              <a:gd name="T64" fmla="*/ 913 w 2188"/>
              <a:gd name="T65" fmla="*/ 14034 h 140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188" h="14034">
                <a:moveTo>
                  <a:pt x="913" y="14034"/>
                </a:moveTo>
                <a:cubicBezTo>
                  <a:pt x="734" y="13676"/>
                  <a:pt x="734" y="13676"/>
                  <a:pt x="734" y="13676"/>
                </a:cubicBezTo>
                <a:cubicBezTo>
                  <a:pt x="727" y="13661"/>
                  <a:pt x="551" y="13308"/>
                  <a:pt x="373" y="12854"/>
                </a:cubicBezTo>
                <a:cubicBezTo>
                  <a:pt x="126" y="12219"/>
                  <a:pt x="0" y="11709"/>
                  <a:pt x="0" y="11337"/>
                </a:cubicBezTo>
                <a:cubicBezTo>
                  <a:pt x="0" y="10965"/>
                  <a:pt x="126" y="10454"/>
                  <a:pt x="376" y="9820"/>
                </a:cubicBezTo>
                <a:cubicBezTo>
                  <a:pt x="553" y="9368"/>
                  <a:pt x="729" y="9017"/>
                  <a:pt x="738" y="8998"/>
                </a:cubicBezTo>
                <a:cubicBezTo>
                  <a:pt x="745" y="8984"/>
                  <a:pt x="910" y="8651"/>
                  <a:pt x="1072" y="8236"/>
                </a:cubicBezTo>
                <a:cubicBezTo>
                  <a:pt x="1276" y="7713"/>
                  <a:pt x="1388" y="7280"/>
                  <a:pt x="1388" y="7017"/>
                </a:cubicBezTo>
                <a:cubicBezTo>
                  <a:pt x="1388" y="6753"/>
                  <a:pt x="1274" y="6318"/>
                  <a:pt x="1068" y="5792"/>
                </a:cubicBezTo>
                <a:cubicBezTo>
                  <a:pt x="902" y="5371"/>
                  <a:pt x="736" y="5040"/>
                  <a:pt x="735" y="5037"/>
                </a:cubicBezTo>
                <a:cubicBezTo>
                  <a:pt x="734" y="5036"/>
                  <a:pt x="734" y="5036"/>
                  <a:pt x="734" y="5036"/>
                </a:cubicBezTo>
                <a:cubicBezTo>
                  <a:pt x="727" y="5021"/>
                  <a:pt x="551" y="4668"/>
                  <a:pt x="373" y="4214"/>
                </a:cubicBezTo>
                <a:cubicBezTo>
                  <a:pt x="126" y="3579"/>
                  <a:pt x="0" y="3069"/>
                  <a:pt x="0" y="2697"/>
                </a:cubicBezTo>
                <a:cubicBezTo>
                  <a:pt x="0" y="2325"/>
                  <a:pt x="126" y="1814"/>
                  <a:pt x="376" y="1180"/>
                </a:cubicBezTo>
                <a:cubicBezTo>
                  <a:pt x="554" y="725"/>
                  <a:pt x="731" y="372"/>
                  <a:pt x="739" y="357"/>
                </a:cubicBezTo>
                <a:cubicBezTo>
                  <a:pt x="918" y="0"/>
                  <a:pt x="918" y="0"/>
                  <a:pt x="918" y="0"/>
                </a:cubicBezTo>
                <a:cubicBezTo>
                  <a:pt x="1633" y="359"/>
                  <a:pt x="1633" y="359"/>
                  <a:pt x="1633" y="359"/>
                </a:cubicBezTo>
                <a:cubicBezTo>
                  <a:pt x="1453" y="717"/>
                  <a:pt x="1453" y="717"/>
                  <a:pt x="1453" y="717"/>
                </a:cubicBezTo>
                <a:cubicBezTo>
                  <a:pt x="1450" y="724"/>
                  <a:pt x="1282" y="1059"/>
                  <a:pt x="1118" y="1478"/>
                </a:cubicBezTo>
                <a:cubicBezTo>
                  <a:pt x="913" y="2001"/>
                  <a:pt x="800" y="2434"/>
                  <a:pt x="800" y="2697"/>
                </a:cubicBezTo>
                <a:cubicBezTo>
                  <a:pt x="800" y="2960"/>
                  <a:pt x="912" y="3393"/>
                  <a:pt x="1116" y="3916"/>
                </a:cubicBezTo>
                <a:cubicBezTo>
                  <a:pt x="1277" y="4329"/>
                  <a:pt x="1441" y="4660"/>
                  <a:pt x="1449" y="4677"/>
                </a:cubicBezTo>
                <a:cubicBezTo>
                  <a:pt x="1458" y="4695"/>
                  <a:pt x="1634" y="5047"/>
                  <a:pt x="1812" y="5500"/>
                </a:cubicBezTo>
                <a:cubicBezTo>
                  <a:pt x="2062" y="6134"/>
                  <a:pt x="2188" y="6645"/>
                  <a:pt x="2188" y="7017"/>
                </a:cubicBezTo>
                <a:cubicBezTo>
                  <a:pt x="2188" y="7389"/>
                  <a:pt x="2062" y="7899"/>
                  <a:pt x="1815" y="8534"/>
                </a:cubicBezTo>
                <a:cubicBezTo>
                  <a:pt x="1637" y="8988"/>
                  <a:pt x="1461" y="9341"/>
                  <a:pt x="1454" y="9356"/>
                </a:cubicBezTo>
                <a:cubicBezTo>
                  <a:pt x="1453" y="9357"/>
                  <a:pt x="1453" y="9357"/>
                  <a:pt x="1453" y="9357"/>
                </a:cubicBezTo>
                <a:cubicBezTo>
                  <a:pt x="1452" y="9360"/>
                  <a:pt x="1283" y="9697"/>
                  <a:pt x="1118" y="10118"/>
                </a:cubicBezTo>
                <a:cubicBezTo>
                  <a:pt x="913" y="10641"/>
                  <a:pt x="800" y="11074"/>
                  <a:pt x="800" y="11337"/>
                </a:cubicBezTo>
                <a:cubicBezTo>
                  <a:pt x="800" y="11600"/>
                  <a:pt x="912" y="12033"/>
                  <a:pt x="1116" y="12556"/>
                </a:cubicBezTo>
                <a:cubicBezTo>
                  <a:pt x="1281" y="12978"/>
                  <a:pt x="1448" y="13315"/>
                  <a:pt x="1450" y="13318"/>
                </a:cubicBezTo>
                <a:cubicBezTo>
                  <a:pt x="1628" y="13676"/>
                  <a:pt x="1628" y="13676"/>
                  <a:pt x="1628" y="13676"/>
                </a:cubicBezTo>
                <a:lnTo>
                  <a:pt x="913" y="14034"/>
                </a:lnTo>
                <a:close/>
              </a:path>
            </a:pathLst>
          </a:custGeom>
          <a:solidFill>
            <a:schemeClr val="accent4">
              <a:alpha val="88000"/>
            </a:schemeClr>
          </a:solidFill>
          <a:ln>
            <a:noFill/>
          </a:ln>
          <a:effectLst>
            <a:outerShdw blurRad="1003300" dist="38100" dir="10800000" algn="r" rotWithShape="0">
              <a:schemeClr val="accent4">
                <a:lumMod val="75000"/>
                <a:alpha val="46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Freeform 9">
            <a:extLst>
              <a:ext uri="{FF2B5EF4-FFF2-40B4-BE49-F238E27FC236}">
                <a16:creationId xmlns:a16="http://schemas.microsoft.com/office/drawing/2014/main" id="{4AEC489A-4248-4DA6-B1D5-3D90EF5E08C3}"/>
              </a:ext>
            </a:extLst>
          </p:cNvPr>
          <p:cNvSpPr>
            <a:spLocks/>
          </p:cNvSpPr>
          <p:nvPr/>
        </p:nvSpPr>
        <p:spPr bwMode="auto">
          <a:xfrm rot="2757414">
            <a:off x="13169090" y="-19093395"/>
            <a:ext cx="6481764" cy="41148000"/>
          </a:xfrm>
          <a:custGeom>
            <a:avLst/>
            <a:gdLst>
              <a:gd name="T0" fmla="*/ 913 w 2188"/>
              <a:gd name="T1" fmla="*/ 14034 h 14034"/>
              <a:gd name="T2" fmla="*/ 734 w 2188"/>
              <a:gd name="T3" fmla="*/ 13676 h 14034"/>
              <a:gd name="T4" fmla="*/ 373 w 2188"/>
              <a:gd name="T5" fmla="*/ 12854 h 14034"/>
              <a:gd name="T6" fmla="*/ 0 w 2188"/>
              <a:gd name="T7" fmla="*/ 11337 h 14034"/>
              <a:gd name="T8" fmla="*/ 376 w 2188"/>
              <a:gd name="T9" fmla="*/ 9820 h 14034"/>
              <a:gd name="T10" fmla="*/ 738 w 2188"/>
              <a:gd name="T11" fmla="*/ 8998 h 14034"/>
              <a:gd name="T12" fmla="*/ 1072 w 2188"/>
              <a:gd name="T13" fmla="*/ 8236 h 14034"/>
              <a:gd name="T14" fmla="*/ 1388 w 2188"/>
              <a:gd name="T15" fmla="*/ 7017 h 14034"/>
              <a:gd name="T16" fmla="*/ 1068 w 2188"/>
              <a:gd name="T17" fmla="*/ 5792 h 14034"/>
              <a:gd name="T18" fmla="*/ 735 w 2188"/>
              <a:gd name="T19" fmla="*/ 5037 h 14034"/>
              <a:gd name="T20" fmla="*/ 734 w 2188"/>
              <a:gd name="T21" fmla="*/ 5036 h 14034"/>
              <a:gd name="T22" fmla="*/ 373 w 2188"/>
              <a:gd name="T23" fmla="*/ 4214 h 14034"/>
              <a:gd name="T24" fmla="*/ 0 w 2188"/>
              <a:gd name="T25" fmla="*/ 2697 h 14034"/>
              <a:gd name="T26" fmla="*/ 376 w 2188"/>
              <a:gd name="T27" fmla="*/ 1180 h 14034"/>
              <a:gd name="T28" fmla="*/ 739 w 2188"/>
              <a:gd name="T29" fmla="*/ 357 h 14034"/>
              <a:gd name="T30" fmla="*/ 918 w 2188"/>
              <a:gd name="T31" fmla="*/ 0 h 14034"/>
              <a:gd name="T32" fmla="*/ 1633 w 2188"/>
              <a:gd name="T33" fmla="*/ 359 h 14034"/>
              <a:gd name="T34" fmla="*/ 1453 w 2188"/>
              <a:gd name="T35" fmla="*/ 717 h 14034"/>
              <a:gd name="T36" fmla="*/ 1118 w 2188"/>
              <a:gd name="T37" fmla="*/ 1478 h 14034"/>
              <a:gd name="T38" fmla="*/ 800 w 2188"/>
              <a:gd name="T39" fmla="*/ 2697 h 14034"/>
              <a:gd name="T40" fmla="*/ 1116 w 2188"/>
              <a:gd name="T41" fmla="*/ 3916 h 14034"/>
              <a:gd name="T42" fmla="*/ 1449 w 2188"/>
              <a:gd name="T43" fmla="*/ 4677 h 14034"/>
              <a:gd name="T44" fmla="*/ 1812 w 2188"/>
              <a:gd name="T45" fmla="*/ 5500 h 14034"/>
              <a:gd name="T46" fmla="*/ 2188 w 2188"/>
              <a:gd name="T47" fmla="*/ 7017 h 14034"/>
              <a:gd name="T48" fmla="*/ 1815 w 2188"/>
              <a:gd name="T49" fmla="*/ 8534 h 14034"/>
              <a:gd name="T50" fmla="*/ 1454 w 2188"/>
              <a:gd name="T51" fmla="*/ 9356 h 14034"/>
              <a:gd name="T52" fmla="*/ 1453 w 2188"/>
              <a:gd name="T53" fmla="*/ 9357 h 14034"/>
              <a:gd name="T54" fmla="*/ 1118 w 2188"/>
              <a:gd name="T55" fmla="*/ 10118 h 14034"/>
              <a:gd name="T56" fmla="*/ 800 w 2188"/>
              <a:gd name="T57" fmla="*/ 11337 h 14034"/>
              <a:gd name="T58" fmla="*/ 1116 w 2188"/>
              <a:gd name="T59" fmla="*/ 12556 h 14034"/>
              <a:gd name="T60" fmla="*/ 1450 w 2188"/>
              <a:gd name="T61" fmla="*/ 13318 h 14034"/>
              <a:gd name="T62" fmla="*/ 1628 w 2188"/>
              <a:gd name="T63" fmla="*/ 13676 h 14034"/>
              <a:gd name="T64" fmla="*/ 913 w 2188"/>
              <a:gd name="T65" fmla="*/ 14034 h 140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188" h="14034">
                <a:moveTo>
                  <a:pt x="913" y="14034"/>
                </a:moveTo>
                <a:cubicBezTo>
                  <a:pt x="734" y="13676"/>
                  <a:pt x="734" y="13676"/>
                  <a:pt x="734" y="13676"/>
                </a:cubicBezTo>
                <a:cubicBezTo>
                  <a:pt x="727" y="13661"/>
                  <a:pt x="551" y="13308"/>
                  <a:pt x="373" y="12854"/>
                </a:cubicBezTo>
                <a:cubicBezTo>
                  <a:pt x="126" y="12219"/>
                  <a:pt x="0" y="11709"/>
                  <a:pt x="0" y="11337"/>
                </a:cubicBezTo>
                <a:cubicBezTo>
                  <a:pt x="0" y="10965"/>
                  <a:pt x="126" y="10454"/>
                  <a:pt x="376" y="9820"/>
                </a:cubicBezTo>
                <a:cubicBezTo>
                  <a:pt x="553" y="9368"/>
                  <a:pt x="729" y="9017"/>
                  <a:pt x="738" y="8998"/>
                </a:cubicBezTo>
                <a:cubicBezTo>
                  <a:pt x="745" y="8984"/>
                  <a:pt x="910" y="8651"/>
                  <a:pt x="1072" y="8236"/>
                </a:cubicBezTo>
                <a:cubicBezTo>
                  <a:pt x="1276" y="7713"/>
                  <a:pt x="1388" y="7280"/>
                  <a:pt x="1388" y="7017"/>
                </a:cubicBezTo>
                <a:cubicBezTo>
                  <a:pt x="1388" y="6753"/>
                  <a:pt x="1274" y="6318"/>
                  <a:pt x="1068" y="5792"/>
                </a:cubicBezTo>
                <a:cubicBezTo>
                  <a:pt x="902" y="5371"/>
                  <a:pt x="736" y="5040"/>
                  <a:pt x="735" y="5037"/>
                </a:cubicBezTo>
                <a:cubicBezTo>
                  <a:pt x="734" y="5036"/>
                  <a:pt x="734" y="5036"/>
                  <a:pt x="734" y="5036"/>
                </a:cubicBezTo>
                <a:cubicBezTo>
                  <a:pt x="727" y="5021"/>
                  <a:pt x="551" y="4668"/>
                  <a:pt x="373" y="4214"/>
                </a:cubicBezTo>
                <a:cubicBezTo>
                  <a:pt x="126" y="3579"/>
                  <a:pt x="0" y="3069"/>
                  <a:pt x="0" y="2697"/>
                </a:cubicBezTo>
                <a:cubicBezTo>
                  <a:pt x="0" y="2325"/>
                  <a:pt x="126" y="1814"/>
                  <a:pt x="376" y="1180"/>
                </a:cubicBezTo>
                <a:cubicBezTo>
                  <a:pt x="554" y="725"/>
                  <a:pt x="731" y="372"/>
                  <a:pt x="739" y="357"/>
                </a:cubicBezTo>
                <a:cubicBezTo>
                  <a:pt x="918" y="0"/>
                  <a:pt x="918" y="0"/>
                  <a:pt x="918" y="0"/>
                </a:cubicBezTo>
                <a:cubicBezTo>
                  <a:pt x="1633" y="359"/>
                  <a:pt x="1633" y="359"/>
                  <a:pt x="1633" y="359"/>
                </a:cubicBezTo>
                <a:cubicBezTo>
                  <a:pt x="1453" y="717"/>
                  <a:pt x="1453" y="717"/>
                  <a:pt x="1453" y="717"/>
                </a:cubicBezTo>
                <a:cubicBezTo>
                  <a:pt x="1450" y="724"/>
                  <a:pt x="1282" y="1059"/>
                  <a:pt x="1118" y="1478"/>
                </a:cubicBezTo>
                <a:cubicBezTo>
                  <a:pt x="913" y="2001"/>
                  <a:pt x="800" y="2434"/>
                  <a:pt x="800" y="2697"/>
                </a:cubicBezTo>
                <a:cubicBezTo>
                  <a:pt x="800" y="2960"/>
                  <a:pt x="912" y="3393"/>
                  <a:pt x="1116" y="3916"/>
                </a:cubicBezTo>
                <a:cubicBezTo>
                  <a:pt x="1277" y="4329"/>
                  <a:pt x="1441" y="4660"/>
                  <a:pt x="1449" y="4677"/>
                </a:cubicBezTo>
                <a:cubicBezTo>
                  <a:pt x="1458" y="4695"/>
                  <a:pt x="1634" y="5047"/>
                  <a:pt x="1812" y="5500"/>
                </a:cubicBezTo>
                <a:cubicBezTo>
                  <a:pt x="2062" y="6134"/>
                  <a:pt x="2188" y="6645"/>
                  <a:pt x="2188" y="7017"/>
                </a:cubicBezTo>
                <a:cubicBezTo>
                  <a:pt x="2188" y="7389"/>
                  <a:pt x="2062" y="7899"/>
                  <a:pt x="1815" y="8534"/>
                </a:cubicBezTo>
                <a:cubicBezTo>
                  <a:pt x="1637" y="8988"/>
                  <a:pt x="1461" y="9341"/>
                  <a:pt x="1454" y="9356"/>
                </a:cubicBezTo>
                <a:cubicBezTo>
                  <a:pt x="1453" y="9357"/>
                  <a:pt x="1453" y="9357"/>
                  <a:pt x="1453" y="9357"/>
                </a:cubicBezTo>
                <a:cubicBezTo>
                  <a:pt x="1452" y="9360"/>
                  <a:pt x="1283" y="9697"/>
                  <a:pt x="1118" y="10118"/>
                </a:cubicBezTo>
                <a:cubicBezTo>
                  <a:pt x="913" y="10641"/>
                  <a:pt x="800" y="11074"/>
                  <a:pt x="800" y="11337"/>
                </a:cubicBezTo>
                <a:cubicBezTo>
                  <a:pt x="800" y="11600"/>
                  <a:pt x="912" y="12033"/>
                  <a:pt x="1116" y="12556"/>
                </a:cubicBezTo>
                <a:cubicBezTo>
                  <a:pt x="1281" y="12978"/>
                  <a:pt x="1448" y="13315"/>
                  <a:pt x="1450" y="13318"/>
                </a:cubicBezTo>
                <a:cubicBezTo>
                  <a:pt x="1628" y="13676"/>
                  <a:pt x="1628" y="13676"/>
                  <a:pt x="1628" y="13676"/>
                </a:cubicBezTo>
                <a:lnTo>
                  <a:pt x="913" y="14034"/>
                </a:lnTo>
                <a:close/>
              </a:path>
            </a:pathLst>
          </a:custGeom>
          <a:solidFill>
            <a:schemeClr val="accent5">
              <a:alpha val="88000"/>
            </a:schemeClr>
          </a:solidFill>
          <a:ln>
            <a:noFill/>
          </a:ln>
          <a:effectLst>
            <a:outerShdw blurRad="1003300" dist="38100" dir="10800000" algn="r" rotWithShape="0">
              <a:schemeClr val="accent5">
                <a:lumMod val="75000"/>
                <a:alpha val="46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reeform 10">
            <a:extLst>
              <a:ext uri="{FF2B5EF4-FFF2-40B4-BE49-F238E27FC236}">
                <a16:creationId xmlns:a16="http://schemas.microsoft.com/office/drawing/2014/main" id="{4338872D-5B88-4EF7-BB11-7972E9F4AB5A}"/>
              </a:ext>
            </a:extLst>
          </p:cNvPr>
          <p:cNvSpPr>
            <a:spLocks/>
          </p:cNvSpPr>
          <p:nvPr/>
        </p:nvSpPr>
        <p:spPr bwMode="auto">
          <a:xfrm rot="2757414">
            <a:off x="14602705" y="-17611076"/>
            <a:ext cx="6481764" cy="41148000"/>
          </a:xfrm>
          <a:custGeom>
            <a:avLst/>
            <a:gdLst>
              <a:gd name="T0" fmla="*/ 913 w 2188"/>
              <a:gd name="T1" fmla="*/ 14034 h 14034"/>
              <a:gd name="T2" fmla="*/ 734 w 2188"/>
              <a:gd name="T3" fmla="*/ 13676 h 14034"/>
              <a:gd name="T4" fmla="*/ 373 w 2188"/>
              <a:gd name="T5" fmla="*/ 12854 h 14034"/>
              <a:gd name="T6" fmla="*/ 0 w 2188"/>
              <a:gd name="T7" fmla="*/ 11337 h 14034"/>
              <a:gd name="T8" fmla="*/ 376 w 2188"/>
              <a:gd name="T9" fmla="*/ 9820 h 14034"/>
              <a:gd name="T10" fmla="*/ 738 w 2188"/>
              <a:gd name="T11" fmla="*/ 8998 h 14034"/>
              <a:gd name="T12" fmla="*/ 1072 w 2188"/>
              <a:gd name="T13" fmla="*/ 8236 h 14034"/>
              <a:gd name="T14" fmla="*/ 1388 w 2188"/>
              <a:gd name="T15" fmla="*/ 7017 h 14034"/>
              <a:gd name="T16" fmla="*/ 1068 w 2188"/>
              <a:gd name="T17" fmla="*/ 5792 h 14034"/>
              <a:gd name="T18" fmla="*/ 735 w 2188"/>
              <a:gd name="T19" fmla="*/ 5037 h 14034"/>
              <a:gd name="T20" fmla="*/ 734 w 2188"/>
              <a:gd name="T21" fmla="*/ 5036 h 14034"/>
              <a:gd name="T22" fmla="*/ 373 w 2188"/>
              <a:gd name="T23" fmla="*/ 4214 h 14034"/>
              <a:gd name="T24" fmla="*/ 0 w 2188"/>
              <a:gd name="T25" fmla="*/ 2697 h 14034"/>
              <a:gd name="T26" fmla="*/ 376 w 2188"/>
              <a:gd name="T27" fmla="*/ 1180 h 14034"/>
              <a:gd name="T28" fmla="*/ 739 w 2188"/>
              <a:gd name="T29" fmla="*/ 357 h 14034"/>
              <a:gd name="T30" fmla="*/ 918 w 2188"/>
              <a:gd name="T31" fmla="*/ 0 h 14034"/>
              <a:gd name="T32" fmla="*/ 1633 w 2188"/>
              <a:gd name="T33" fmla="*/ 359 h 14034"/>
              <a:gd name="T34" fmla="*/ 1453 w 2188"/>
              <a:gd name="T35" fmla="*/ 717 h 14034"/>
              <a:gd name="T36" fmla="*/ 1118 w 2188"/>
              <a:gd name="T37" fmla="*/ 1478 h 14034"/>
              <a:gd name="T38" fmla="*/ 800 w 2188"/>
              <a:gd name="T39" fmla="*/ 2697 h 14034"/>
              <a:gd name="T40" fmla="*/ 1116 w 2188"/>
              <a:gd name="T41" fmla="*/ 3916 h 14034"/>
              <a:gd name="T42" fmla="*/ 1449 w 2188"/>
              <a:gd name="T43" fmla="*/ 4677 h 14034"/>
              <a:gd name="T44" fmla="*/ 1812 w 2188"/>
              <a:gd name="T45" fmla="*/ 5500 h 14034"/>
              <a:gd name="T46" fmla="*/ 2188 w 2188"/>
              <a:gd name="T47" fmla="*/ 7017 h 14034"/>
              <a:gd name="T48" fmla="*/ 1815 w 2188"/>
              <a:gd name="T49" fmla="*/ 8534 h 14034"/>
              <a:gd name="T50" fmla="*/ 1454 w 2188"/>
              <a:gd name="T51" fmla="*/ 9356 h 14034"/>
              <a:gd name="T52" fmla="*/ 1453 w 2188"/>
              <a:gd name="T53" fmla="*/ 9357 h 14034"/>
              <a:gd name="T54" fmla="*/ 1118 w 2188"/>
              <a:gd name="T55" fmla="*/ 10118 h 14034"/>
              <a:gd name="T56" fmla="*/ 800 w 2188"/>
              <a:gd name="T57" fmla="*/ 11337 h 14034"/>
              <a:gd name="T58" fmla="*/ 1116 w 2188"/>
              <a:gd name="T59" fmla="*/ 12556 h 14034"/>
              <a:gd name="T60" fmla="*/ 1450 w 2188"/>
              <a:gd name="T61" fmla="*/ 13318 h 14034"/>
              <a:gd name="T62" fmla="*/ 1628 w 2188"/>
              <a:gd name="T63" fmla="*/ 13676 h 14034"/>
              <a:gd name="T64" fmla="*/ 913 w 2188"/>
              <a:gd name="T65" fmla="*/ 14034 h 140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188" h="14034">
                <a:moveTo>
                  <a:pt x="913" y="14034"/>
                </a:moveTo>
                <a:cubicBezTo>
                  <a:pt x="734" y="13676"/>
                  <a:pt x="734" y="13676"/>
                  <a:pt x="734" y="13676"/>
                </a:cubicBezTo>
                <a:cubicBezTo>
                  <a:pt x="727" y="13661"/>
                  <a:pt x="551" y="13308"/>
                  <a:pt x="373" y="12854"/>
                </a:cubicBezTo>
                <a:cubicBezTo>
                  <a:pt x="126" y="12219"/>
                  <a:pt x="0" y="11709"/>
                  <a:pt x="0" y="11337"/>
                </a:cubicBezTo>
                <a:cubicBezTo>
                  <a:pt x="0" y="10965"/>
                  <a:pt x="126" y="10454"/>
                  <a:pt x="376" y="9820"/>
                </a:cubicBezTo>
                <a:cubicBezTo>
                  <a:pt x="553" y="9368"/>
                  <a:pt x="729" y="9017"/>
                  <a:pt x="738" y="8998"/>
                </a:cubicBezTo>
                <a:cubicBezTo>
                  <a:pt x="745" y="8984"/>
                  <a:pt x="910" y="8651"/>
                  <a:pt x="1072" y="8236"/>
                </a:cubicBezTo>
                <a:cubicBezTo>
                  <a:pt x="1276" y="7713"/>
                  <a:pt x="1388" y="7280"/>
                  <a:pt x="1388" y="7017"/>
                </a:cubicBezTo>
                <a:cubicBezTo>
                  <a:pt x="1388" y="6753"/>
                  <a:pt x="1274" y="6318"/>
                  <a:pt x="1068" y="5792"/>
                </a:cubicBezTo>
                <a:cubicBezTo>
                  <a:pt x="902" y="5371"/>
                  <a:pt x="736" y="5040"/>
                  <a:pt x="735" y="5037"/>
                </a:cubicBezTo>
                <a:cubicBezTo>
                  <a:pt x="734" y="5036"/>
                  <a:pt x="734" y="5036"/>
                  <a:pt x="734" y="5036"/>
                </a:cubicBezTo>
                <a:cubicBezTo>
                  <a:pt x="727" y="5021"/>
                  <a:pt x="551" y="4668"/>
                  <a:pt x="373" y="4214"/>
                </a:cubicBezTo>
                <a:cubicBezTo>
                  <a:pt x="126" y="3579"/>
                  <a:pt x="0" y="3069"/>
                  <a:pt x="0" y="2697"/>
                </a:cubicBezTo>
                <a:cubicBezTo>
                  <a:pt x="0" y="2325"/>
                  <a:pt x="126" y="1814"/>
                  <a:pt x="376" y="1180"/>
                </a:cubicBezTo>
                <a:cubicBezTo>
                  <a:pt x="554" y="725"/>
                  <a:pt x="731" y="372"/>
                  <a:pt x="739" y="357"/>
                </a:cubicBezTo>
                <a:cubicBezTo>
                  <a:pt x="918" y="0"/>
                  <a:pt x="918" y="0"/>
                  <a:pt x="918" y="0"/>
                </a:cubicBezTo>
                <a:cubicBezTo>
                  <a:pt x="1633" y="359"/>
                  <a:pt x="1633" y="359"/>
                  <a:pt x="1633" y="359"/>
                </a:cubicBezTo>
                <a:cubicBezTo>
                  <a:pt x="1453" y="717"/>
                  <a:pt x="1453" y="717"/>
                  <a:pt x="1453" y="717"/>
                </a:cubicBezTo>
                <a:cubicBezTo>
                  <a:pt x="1450" y="724"/>
                  <a:pt x="1282" y="1059"/>
                  <a:pt x="1118" y="1478"/>
                </a:cubicBezTo>
                <a:cubicBezTo>
                  <a:pt x="913" y="2001"/>
                  <a:pt x="800" y="2434"/>
                  <a:pt x="800" y="2697"/>
                </a:cubicBezTo>
                <a:cubicBezTo>
                  <a:pt x="800" y="2960"/>
                  <a:pt x="912" y="3393"/>
                  <a:pt x="1116" y="3916"/>
                </a:cubicBezTo>
                <a:cubicBezTo>
                  <a:pt x="1277" y="4329"/>
                  <a:pt x="1441" y="4660"/>
                  <a:pt x="1449" y="4677"/>
                </a:cubicBezTo>
                <a:cubicBezTo>
                  <a:pt x="1458" y="4695"/>
                  <a:pt x="1634" y="5047"/>
                  <a:pt x="1812" y="5500"/>
                </a:cubicBezTo>
                <a:cubicBezTo>
                  <a:pt x="2062" y="6134"/>
                  <a:pt x="2188" y="6645"/>
                  <a:pt x="2188" y="7017"/>
                </a:cubicBezTo>
                <a:cubicBezTo>
                  <a:pt x="2188" y="7389"/>
                  <a:pt x="2062" y="7899"/>
                  <a:pt x="1815" y="8534"/>
                </a:cubicBezTo>
                <a:cubicBezTo>
                  <a:pt x="1637" y="8988"/>
                  <a:pt x="1461" y="9341"/>
                  <a:pt x="1454" y="9356"/>
                </a:cubicBezTo>
                <a:cubicBezTo>
                  <a:pt x="1453" y="9357"/>
                  <a:pt x="1453" y="9357"/>
                  <a:pt x="1453" y="9357"/>
                </a:cubicBezTo>
                <a:cubicBezTo>
                  <a:pt x="1452" y="9360"/>
                  <a:pt x="1283" y="9697"/>
                  <a:pt x="1118" y="10118"/>
                </a:cubicBezTo>
                <a:cubicBezTo>
                  <a:pt x="913" y="10641"/>
                  <a:pt x="800" y="11074"/>
                  <a:pt x="800" y="11337"/>
                </a:cubicBezTo>
                <a:cubicBezTo>
                  <a:pt x="800" y="11600"/>
                  <a:pt x="912" y="12033"/>
                  <a:pt x="1116" y="12556"/>
                </a:cubicBezTo>
                <a:cubicBezTo>
                  <a:pt x="1281" y="12978"/>
                  <a:pt x="1448" y="13315"/>
                  <a:pt x="1450" y="13318"/>
                </a:cubicBezTo>
                <a:cubicBezTo>
                  <a:pt x="1628" y="13676"/>
                  <a:pt x="1628" y="13676"/>
                  <a:pt x="1628" y="13676"/>
                </a:cubicBezTo>
                <a:lnTo>
                  <a:pt x="913" y="14034"/>
                </a:lnTo>
                <a:close/>
              </a:path>
            </a:pathLst>
          </a:custGeom>
          <a:solidFill>
            <a:schemeClr val="accent2">
              <a:alpha val="88000"/>
            </a:schemeClr>
          </a:solidFill>
          <a:ln>
            <a:noFill/>
          </a:ln>
          <a:effectLst>
            <a:outerShdw blurRad="1003300" dist="38100" dir="10800000" algn="r" rotWithShape="0">
              <a:schemeClr val="accent2">
                <a:lumMod val="75000"/>
                <a:alpha val="46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11">
            <a:extLst>
              <a:ext uri="{FF2B5EF4-FFF2-40B4-BE49-F238E27FC236}">
                <a16:creationId xmlns:a16="http://schemas.microsoft.com/office/drawing/2014/main" id="{5913C281-FCC0-48CD-995D-6723946377FC}"/>
              </a:ext>
            </a:extLst>
          </p:cNvPr>
          <p:cNvSpPr>
            <a:spLocks/>
          </p:cNvSpPr>
          <p:nvPr/>
        </p:nvSpPr>
        <p:spPr bwMode="auto">
          <a:xfrm rot="2757414">
            <a:off x="16036318" y="-16128760"/>
            <a:ext cx="6481764" cy="41148000"/>
          </a:xfrm>
          <a:custGeom>
            <a:avLst/>
            <a:gdLst>
              <a:gd name="T0" fmla="*/ 913 w 2188"/>
              <a:gd name="T1" fmla="*/ 14034 h 14034"/>
              <a:gd name="T2" fmla="*/ 734 w 2188"/>
              <a:gd name="T3" fmla="*/ 13676 h 14034"/>
              <a:gd name="T4" fmla="*/ 373 w 2188"/>
              <a:gd name="T5" fmla="*/ 12854 h 14034"/>
              <a:gd name="T6" fmla="*/ 0 w 2188"/>
              <a:gd name="T7" fmla="*/ 11337 h 14034"/>
              <a:gd name="T8" fmla="*/ 376 w 2188"/>
              <a:gd name="T9" fmla="*/ 9820 h 14034"/>
              <a:gd name="T10" fmla="*/ 738 w 2188"/>
              <a:gd name="T11" fmla="*/ 8998 h 14034"/>
              <a:gd name="T12" fmla="*/ 1072 w 2188"/>
              <a:gd name="T13" fmla="*/ 8236 h 14034"/>
              <a:gd name="T14" fmla="*/ 1388 w 2188"/>
              <a:gd name="T15" fmla="*/ 7017 h 14034"/>
              <a:gd name="T16" fmla="*/ 1068 w 2188"/>
              <a:gd name="T17" fmla="*/ 5792 h 14034"/>
              <a:gd name="T18" fmla="*/ 735 w 2188"/>
              <a:gd name="T19" fmla="*/ 5037 h 14034"/>
              <a:gd name="T20" fmla="*/ 734 w 2188"/>
              <a:gd name="T21" fmla="*/ 5036 h 14034"/>
              <a:gd name="T22" fmla="*/ 373 w 2188"/>
              <a:gd name="T23" fmla="*/ 4214 h 14034"/>
              <a:gd name="T24" fmla="*/ 0 w 2188"/>
              <a:gd name="T25" fmla="*/ 2697 h 14034"/>
              <a:gd name="T26" fmla="*/ 376 w 2188"/>
              <a:gd name="T27" fmla="*/ 1180 h 14034"/>
              <a:gd name="T28" fmla="*/ 739 w 2188"/>
              <a:gd name="T29" fmla="*/ 357 h 14034"/>
              <a:gd name="T30" fmla="*/ 918 w 2188"/>
              <a:gd name="T31" fmla="*/ 0 h 14034"/>
              <a:gd name="T32" fmla="*/ 1633 w 2188"/>
              <a:gd name="T33" fmla="*/ 359 h 14034"/>
              <a:gd name="T34" fmla="*/ 1453 w 2188"/>
              <a:gd name="T35" fmla="*/ 717 h 14034"/>
              <a:gd name="T36" fmla="*/ 1118 w 2188"/>
              <a:gd name="T37" fmla="*/ 1478 h 14034"/>
              <a:gd name="T38" fmla="*/ 800 w 2188"/>
              <a:gd name="T39" fmla="*/ 2697 h 14034"/>
              <a:gd name="T40" fmla="*/ 1116 w 2188"/>
              <a:gd name="T41" fmla="*/ 3916 h 14034"/>
              <a:gd name="T42" fmla="*/ 1449 w 2188"/>
              <a:gd name="T43" fmla="*/ 4677 h 14034"/>
              <a:gd name="T44" fmla="*/ 1812 w 2188"/>
              <a:gd name="T45" fmla="*/ 5500 h 14034"/>
              <a:gd name="T46" fmla="*/ 2188 w 2188"/>
              <a:gd name="T47" fmla="*/ 7017 h 14034"/>
              <a:gd name="T48" fmla="*/ 1815 w 2188"/>
              <a:gd name="T49" fmla="*/ 8534 h 14034"/>
              <a:gd name="T50" fmla="*/ 1454 w 2188"/>
              <a:gd name="T51" fmla="*/ 9356 h 14034"/>
              <a:gd name="T52" fmla="*/ 1453 w 2188"/>
              <a:gd name="T53" fmla="*/ 9357 h 14034"/>
              <a:gd name="T54" fmla="*/ 1118 w 2188"/>
              <a:gd name="T55" fmla="*/ 10118 h 14034"/>
              <a:gd name="T56" fmla="*/ 800 w 2188"/>
              <a:gd name="T57" fmla="*/ 11337 h 14034"/>
              <a:gd name="T58" fmla="*/ 1116 w 2188"/>
              <a:gd name="T59" fmla="*/ 12556 h 14034"/>
              <a:gd name="T60" fmla="*/ 1450 w 2188"/>
              <a:gd name="T61" fmla="*/ 13318 h 14034"/>
              <a:gd name="T62" fmla="*/ 1628 w 2188"/>
              <a:gd name="T63" fmla="*/ 13676 h 14034"/>
              <a:gd name="T64" fmla="*/ 913 w 2188"/>
              <a:gd name="T65" fmla="*/ 14034 h 140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188" h="14034">
                <a:moveTo>
                  <a:pt x="913" y="14034"/>
                </a:moveTo>
                <a:cubicBezTo>
                  <a:pt x="734" y="13676"/>
                  <a:pt x="734" y="13676"/>
                  <a:pt x="734" y="13676"/>
                </a:cubicBezTo>
                <a:cubicBezTo>
                  <a:pt x="727" y="13661"/>
                  <a:pt x="551" y="13308"/>
                  <a:pt x="373" y="12854"/>
                </a:cubicBezTo>
                <a:cubicBezTo>
                  <a:pt x="126" y="12219"/>
                  <a:pt x="0" y="11709"/>
                  <a:pt x="0" y="11337"/>
                </a:cubicBezTo>
                <a:cubicBezTo>
                  <a:pt x="0" y="10965"/>
                  <a:pt x="126" y="10454"/>
                  <a:pt x="376" y="9820"/>
                </a:cubicBezTo>
                <a:cubicBezTo>
                  <a:pt x="553" y="9368"/>
                  <a:pt x="729" y="9017"/>
                  <a:pt x="738" y="8998"/>
                </a:cubicBezTo>
                <a:cubicBezTo>
                  <a:pt x="745" y="8984"/>
                  <a:pt x="910" y="8651"/>
                  <a:pt x="1072" y="8236"/>
                </a:cubicBezTo>
                <a:cubicBezTo>
                  <a:pt x="1276" y="7713"/>
                  <a:pt x="1388" y="7280"/>
                  <a:pt x="1388" y="7017"/>
                </a:cubicBezTo>
                <a:cubicBezTo>
                  <a:pt x="1388" y="6753"/>
                  <a:pt x="1274" y="6318"/>
                  <a:pt x="1068" y="5792"/>
                </a:cubicBezTo>
                <a:cubicBezTo>
                  <a:pt x="902" y="5371"/>
                  <a:pt x="736" y="5040"/>
                  <a:pt x="735" y="5037"/>
                </a:cubicBezTo>
                <a:cubicBezTo>
                  <a:pt x="734" y="5036"/>
                  <a:pt x="734" y="5036"/>
                  <a:pt x="734" y="5036"/>
                </a:cubicBezTo>
                <a:cubicBezTo>
                  <a:pt x="727" y="5021"/>
                  <a:pt x="551" y="4668"/>
                  <a:pt x="373" y="4214"/>
                </a:cubicBezTo>
                <a:cubicBezTo>
                  <a:pt x="126" y="3579"/>
                  <a:pt x="0" y="3069"/>
                  <a:pt x="0" y="2697"/>
                </a:cubicBezTo>
                <a:cubicBezTo>
                  <a:pt x="0" y="2325"/>
                  <a:pt x="126" y="1814"/>
                  <a:pt x="376" y="1180"/>
                </a:cubicBezTo>
                <a:cubicBezTo>
                  <a:pt x="554" y="725"/>
                  <a:pt x="731" y="372"/>
                  <a:pt x="739" y="357"/>
                </a:cubicBezTo>
                <a:cubicBezTo>
                  <a:pt x="918" y="0"/>
                  <a:pt x="918" y="0"/>
                  <a:pt x="918" y="0"/>
                </a:cubicBezTo>
                <a:cubicBezTo>
                  <a:pt x="1633" y="359"/>
                  <a:pt x="1633" y="359"/>
                  <a:pt x="1633" y="359"/>
                </a:cubicBezTo>
                <a:cubicBezTo>
                  <a:pt x="1453" y="717"/>
                  <a:pt x="1453" y="717"/>
                  <a:pt x="1453" y="717"/>
                </a:cubicBezTo>
                <a:cubicBezTo>
                  <a:pt x="1450" y="724"/>
                  <a:pt x="1282" y="1059"/>
                  <a:pt x="1118" y="1478"/>
                </a:cubicBezTo>
                <a:cubicBezTo>
                  <a:pt x="913" y="2001"/>
                  <a:pt x="800" y="2434"/>
                  <a:pt x="800" y="2697"/>
                </a:cubicBezTo>
                <a:cubicBezTo>
                  <a:pt x="800" y="2960"/>
                  <a:pt x="912" y="3393"/>
                  <a:pt x="1116" y="3916"/>
                </a:cubicBezTo>
                <a:cubicBezTo>
                  <a:pt x="1277" y="4329"/>
                  <a:pt x="1441" y="4660"/>
                  <a:pt x="1449" y="4677"/>
                </a:cubicBezTo>
                <a:cubicBezTo>
                  <a:pt x="1458" y="4695"/>
                  <a:pt x="1634" y="5047"/>
                  <a:pt x="1812" y="5500"/>
                </a:cubicBezTo>
                <a:cubicBezTo>
                  <a:pt x="2062" y="6134"/>
                  <a:pt x="2188" y="6645"/>
                  <a:pt x="2188" y="7017"/>
                </a:cubicBezTo>
                <a:cubicBezTo>
                  <a:pt x="2188" y="7389"/>
                  <a:pt x="2062" y="7899"/>
                  <a:pt x="1815" y="8534"/>
                </a:cubicBezTo>
                <a:cubicBezTo>
                  <a:pt x="1637" y="8988"/>
                  <a:pt x="1461" y="9341"/>
                  <a:pt x="1454" y="9356"/>
                </a:cubicBezTo>
                <a:cubicBezTo>
                  <a:pt x="1453" y="9357"/>
                  <a:pt x="1453" y="9357"/>
                  <a:pt x="1453" y="9357"/>
                </a:cubicBezTo>
                <a:cubicBezTo>
                  <a:pt x="1452" y="9360"/>
                  <a:pt x="1283" y="9697"/>
                  <a:pt x="1118" y="10118"/>
                </a:cubicBezTo>
                <a:cubicBezTo>
                  <a:pt x="913" y="10641"/>
                  <a:pt x="800" y="11074"/>
                  <a:pt x="800" y="11337"/>
                </a:cubicBezTo>
                <a:cubicBezTo>
                  <a:pt x="800" y="11600"/>
                  <a:pt x="912" y="12033"/>
                  <a:pt x="1116" y="12556"/>
                </a:cubicBezTo>
                <a:cubicBezTo>
                  <a:pt x="1281" y="12978"/>
                  <a:pt x="1448" y="13315"/>
                  <a:pt x="1450" y="13318"/>
                </a:cubicBezTo>
                <a:cubicBezTo>
                  <a:pt x="1628" y="13676"/>
                  <a:pt x="1628" y="13676"/>
                  <a:pt x="1628" y="13676"/>
                </a:cubicBezTo>
                <a:lnTo>
                  <a:pt x="913" y="14034"/>
                </a:lnTo>
                <a:close/>
              </a:path>
            </a:pathLst>
          </a:custGeom>
          <a:solidFill>
            <a:schemeClr val="tx1">
              <a:alpha val="88000"/>
            </a:schemeClr>
          </a:solidFill>
          <a:ln>
            <a:noFill/>
          </a:ln>
          <a:effectLst>
            <a:outerShdw blurRad="1003300" dist="38100" dir="10800000" algn="r" rotWithShape="0">
              <a:prstClr val="black">
                <a:alpha val="46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10">
            <a:extLst>
              <a:ext uri="{FF2B5EF4-FFF2-40B4-BE49-F238E27FC236}">
                <a16:creationId xmlns:a16="http://schemas.microsoft.com/office/drawing/2014/main" id="{55D0FD1F-60C6-437B-818C-8543DBCEFCC5}"/>
              </a:ext>
            </a:extLst>
          </p:cNvPr>
          <p:cNvSpPr>
            <a:spLocks/>
          </p:cNvSpPr>
          <p:nvPr/>
        </p:nvSpPr>
        <p:spPr bwMode="auto">
          <a:xfrm rot="2757414">
            <a:off x="17469931" y="-14646443"/>
            <a:ext cx="6481764" cy="41148000"/>
          </a:xfrm>
          <a:custGeom>
            <a:avLst/>
            <a:gdLst>
              <a:gd name="T0" fmla="*/ 913 w 2188"/>
              <a:gd name="T1" fmla="*/ 14034 h 14034"/>
              <a:gd name="T2" fmla="*/ 734 w 2188"/>
              <a:gd name="T3" fmla="*/ 13676 h 14034"/>
              <a:gd name="T4" fmla="*/ 373 w 2188"/>
              <a:gd name="T5" fmla="*/ 12854 h 14034"/>
              <a:gd name="T6" fmla="*/ 0 w 2188"/>
              <a:gd name="T7" fmla="*/ 11337 h 14034"/>
              <a:gd name="T8" fmla="*/ 376 w 2188"/>
              <a:gd name="T9" fmla="*/ 9820 h 14034"/>
              <a:gd name="T10" fmla="*/ 738 w 2188"/>
              <a:gd name="T11" fmla="*/ 8998 h 14034"/>
              <a:gd name="T12" fmla="*/ 1072 w 2188"/>
              <a:gd name="T13" fmla="*/ 8236 h 14034"/>
              <a:gd name="T14" fmla="*/ 1388 w 2188"/>
              <a:gd name="T15" fmla="*/ 7017 h 14034"/>
              <a:gd name="T16" fmla="*/ 1068 w 2188"/>
              <a:gd name="T17" fmla="*/ 5792 h 14034"/>
              <a:gd name="T18" fmla="*/ 735 w 2188"/>
              <a:gd name="T19" fmla="*/ 5037 h 14034"/>
              <a:gd name="T20" fmla="*/ 734 w 2188"/>
              <a:gd name="T21" fmla="*/ 5036 h 14034"/>
              <a:gd name="T22" fmla="*/ 373 w 2188"/>
              <a:gd name="T23" fmla="*/ 4214 h 14034"/>
              <a:gd name="T24" fmla="*/ 0 w 2188"/>
              <a:gd name="T25" fmla="*/ 2697 h 14034"/>
              <a:gd name="T26" fmla="*/ 376 w 2188"/>
              <a:gd name="T27" fmla="*/ 1180 h 14034"/>
              <a:gd name="T28" fmla="*/ 739 w 2188"/>
              <a:gd name="T29" fmla="*/ 357 h 14034"/>
              <a:gd name="T30" fmla="*/ 918 w 2188"/>
              <a:gd name="T31" fmla="*/ 0 h 14034"/>
              <a:gd name="T32" fmla="*/ 1633 w 2188"/>
              <a:gd name="T33" fmla="*/ 359 h 14034"/>
              <a:gd name="T34" fmla="*/ 1453 w 2188"/>
              <a:gd name="T35" fmla="*/ 717 h 14034"/>
              <a:gd name="T36" fmla="*/ 1118 w 2188"/>
              <a:gd name="T37" fmla="*/ 1478 h 14034"/>
              <a:gd name="T38" fmla="*/ 800 w 2188"/>
              <a:gd name="T39" fmla="*/ 2697 h 14034"/>
              <a:gd name="T40" fmla="*/ 1116 w 2188"/>
              <a:gd name="T41" fmla="*/ 3916 h 14034"/>
              <a:gd name="T42" fmla="*/ 1449 w 2188"/>
              <a:gd name="T43" fmla="*/ 4677 h 14034"/>
              <a:gd name="T44" fmla="*/ 1812 w 2188"/>
              <a:gd name="T45" fmla="*/ 5500 h 14034"/>
              <a:gd name="T46" fmla="*/ 2188 w 2188"/>
              <a:gd name="T47" fmla="*/ 7017 h 14034"/>
              <a:gd name="T48" fmla="*/ 1815 w 2188"/>
              <a:gd name="T49" fmla="*/ 8534 h 14034"/>
              <a:gd name="T50" fmla="*/ 1454 w 2188"/>
              <a:gd name="T51" fmla="*/ 9356 h 14034"/>
              <a:gd name="T52" fmla="*/ 1453 w 2188"/>
              <a:gd name="T53" fmla="*/ 9357 h 14034"/>
              <a:gd name="T54" fmla="*/ 1118 w 2188"/>
              <a:gd name="T55" fmla="*/ 10118 h 14034"/>
              <a:gd name="T56" fmla="*/ 800 w 2188"/>
              <a:gd name="T57" fmla="*/ 11337 h 14034"/>
              <a:gd name="T58" fmla="*/ 1116 w 2188"/>
              <a:gd name="T59" fmla="*/ 12556 h 14034"/>
              <a:gd name="T60" fmla="*/ 1450 w 2188"/>
              <a:gd name="T61" fmla="*/ 13318 h 14034"/>
              <a:gd name="T62" fmla="*/ 1628 w 2188"/>
              <a:gd name="T63" fmla="*/ 13676 h 14034"/>
              <a:gd name="T64" fmla="*/ 913 w 2188"/>
              <a:gd name="T65" fmla="*/ 14034 h 140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188" h="14034">
                <a:moveTo>
                  <a:pt x="913" y="14034"/>
                </a:moveTo>
                <a:cubicBezTo>
                  <a:pt x="734" y="13676"/>
                  <a:pt x="734" y="13676"/>
                  <a:pt x="734" y="13676"/>
                </a:cubicBezTo>
                <a:cubicBezTo>
                  <a:pt x="727" y="13661"/>
                  <a:pt x="551" y="13308"/>
                  <a:pt x="373" y="12854"/>
                </a:cubicBezTo>
                <a:cubicBezTo>
                  <a:pt x="126" y="12219"/>
                  <a:pt x="0" y="11709"/>
                  <a:pt x="0" y="11337"/>
                </a:cubicBezTo>
                <a:cubicBezTo>
                  <a:pt x="0" y="10965"/>
                  <a:pt x="126" y="10454"/>
                  <a:pt x="376" y="9820"/>
                </a:cubicBezTo>
                <a:cubicBezTo>
                  <a:pt x="553" y="9368"/>
                  <a:pt x="729" y="9017"/>
                  <a:pt x="738" y="8998"/>
                </a:cubicBezTo>
                <a:cubicBezTo>
                  <a:pt x="745" y="8984"/>
                  <a:pt x="910" y="8651"/>
                  <a:pt x="1072" y="8236"/>
                </a:cubicBezTo>
                <a:cubicBezTo>
                  <a:pt x="1276" y="7713"/>
                  <a:pt x="1388" y="7280"/>
                  <a:pt x="1388" y="7017"/>
                </a:cubicBezTo>
                <a:cubicBezTo>
                  <a:pt x="1388" y="6753"/>
                  <a:pt x="1274" y="6318"/>
                  <a:pt x="1068" y="5792"/>
                </a:cubicBezTo>
                <a:cubicBezTo>
                  <a:pt x="902" y="5371"/>
                  <a:pt x="736" y="5040"/>
                  <a:pt x="735" y="5037"/>
                </a:cubicBezTo>
                <a:cubicBezTo>
                  <a:pt x="734" y="5036"/>
                  <a:pt x="734" y="5036"/>
                  <a:pt x="734" y="5036"/>
                </a:cubicBezTo>
                <a:cubicBezTo>
                  <a:pt x="727" y="5021"/>
                  <a:pt x="551" y="4668"/>
                  <a:pt x="373" y="4214"/>
                </a:cubicBezTo>
                <a:cubicBezTo>
                  <a:pt x="126" y="3579"/>
                  <a:pt x="0" y="3069"/>
                  <a:pt x="0" y="2697"/>
                </a:cubicBezTo>
                <a:cubicBezTo>
                  <a:pt x="0" y="2325"/>
                  <a:pt x="126" y="1814"/>
                  <a:pt x="376" y="1180"/>
                </a:cubicBezTo>
                <a:cubicBezTo>
                  <a:pt x="554" y="725"/>
                  <a:pt x="731" y="372"/>
                  <a:pt x="739" y="357"/>
                </a:cubicBezTo>
                <a:cubicBezTo>
                  <a:pt x="918" y="0"/>
                  <a:pt x="918" y="0"/>
                  <a:pt x="918" y="0"/>
                </a:cubicBezTo>
                <a:cubicBezTo>
                  <a:pt x="1633" y="359"/>
                  <a:pt x="1633" y="359"/>
                  <a:pt x="1633" y="359"/>
                </a:cubicBezTo>
                <a:cubicBezTo>
                  <a:pt x="1453" y="717"/>
                  <a:pt x="1453" y="717"/>
                  <a:pt x="1453" y="717"/>
                </a:cubicBezTo>
                <a:cubicBezTo>
                  <a:pt x="1450" y="724"/>
                  <a:pt x="1282" y="1059"/>
                  <a:pt x="1118" y="1478"/>
                </a:cubicBezTo>
                <a:cubicBezTo>
                  <a:pt x="913" y="2001"/>
                  <a:pt x="800" y="2434"/>
                  <a:pt x="800" y="2697"/>
                </a:cubicBezTo>
                <a:cubicBezTo>
                  <a:pt x="800" y="2960"/>
                  <a:pt x="912" y="3393"/>
                  <a:pt x="1116" y="3916"/>
                </a:cubicBezTo>
                <a:cubicBezTo>
                  <a:pt x="1277" y="4329"/>
                  <a:pt x="1441" y="4660"/>
                  <a:pt x="1449" y="4677"/>
                </a:cubicBezTo>
                <a:cubicBezTo>
                  <a:pt x="1458" y="4695"/>
                  <a:pt x="1634" y="5047"/>
                  <a:pt x="1812" y="5500"/>
                </a:cubicBezTo>
                <a:cubicBezTo>
                  <a:pt x="2062" y="6134"/>
                  <a:pt x="2188" y="6645"/>
                  <a:pt x="2188" y="7017"/>
                </a:cubicBezTo>
                <a:cubicBezTo>
                  <a:pt x="2188" y="7389"/>
                  <a:pt x="2062" y="7899"/>
                  <a:pt x="1815" y="8534"/>
                </a:cubicBezTo>
                <a:cubicBezTo>
                  <a:pt x="1637" y="8988"/>
                  <a:pt x="1461" y="9341"/>
                  <a:pt x="1454" y="9356"/>
                </a:cubicBezTo>
                <a:cubicBezTo>
                  <a:pt x="1453" y="9357"/>
                  <a:pt x="1453" y="9357"/>
                  <a:pt x="1453" y="9357"/>
                </a:cubicBezTo>
                <a:cubicBezTo>
                  <a:pt x="1452" y="9360"/>
                  <a:pt x="1283" y="9697"/>
                  <a:pt x="1118" y="10118"/>
                </a:cubicBezTo>
                <a:cubicBezTo>
                  <a:pt x="913" y="10641"/>
                  <a:pt x="800" y="11074"/>
                  <a:pt x="800" y="11337"/>
                </a:cubicBezTo>
                <a:cubicBezTo>
                  <a:pt x="800" y="11600"/>
                  <a:pt x="912" y="12033"/>
                  <a:pt x="1116" y="12556"/>
                </a:cubicBezTo>
                <a:cubicBezTo>
                  <a:pt x="1281" y="12978"/>
                  <a:pt x="1448" y="13315"/>
                  <a:pt x="1450" y="13318"/>
                </a:cubicBezTo>
                <a:cubicBezTo>
                  <a:pt x="1628" y="13676"/>
                  <a:pt x="1628" y="13676"/>
                  <a:pt x="1628" y="13676"/>
                </a:cubicBezTo>
                <a:lnTo>
                  <a:pt x="913" y="14034"/>
                </a:lnTo>
                <a:close/>
              </a:path>
            </a:pathLst>
          </a:custGeom>
          <a:solidFill>
            <a:schemeClr val="accent2">
              <a:alpha val="88000"/>
            </a:schemeClr>
          </a:solidFill>
          <a:ln>
            <a:noFill/>
          </a:ln>
          <a:effectLst>
            <a:outerShdw blurRad="1003300" dist="38100" dir="10800000" algn="r" rotWithShape="0">
              <a:schemeClr val="accent2">
                <a:lumMod val="75000"/>
                <a:alpha val="46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BCB2333-85D5-4531-9522-EA42451A374A}"/>
              </a:ext>
            </a:extLst>
          </p:cNvPr>
          <p:cNvSpPr>
            <a:spLocks/>
          </p:cNvSpPr>
          <p:nvPr/>
        </p:nvSpPr>
        <p:spPr bwMode="auto">
          <a:xfrm rot="2757414">
            <a:off x="18900234" y="-13167549"/>
            <a:ext cx="6481764" cy="41148000"/>
          </a:xfrm>
          <a:custGeom>
            <a:avLst/>
            <a:gdLst>
              <a:gd name="T0" fmla="*/ 913 w 2188"/>
              <a:gd name="T1" fmla="*/ 14034 h 14034"/>
              <a:gd name="T2" fmla="*/ 734 w 2188"/>
              <a:gd name="T3" fmla="*/ 13676 h 14034"/>
              <a:gd name="T4" fmla="*/ 373 w 2188"/>
              <a:gd name="T5" fmla="*/ 12854 h 14034"/>
              <a:gd name="T6" fmla="*/ 0 w 2188"/>
              <a:gd name="T7" fmla="*/ 11337 h 14034"/>
              <a:gd name="T8" fmla="*/ 376 w 2188"/>
              <a:gd name="T9" fmla="*/ 9820 h 14034"/>
              <a:gd name="T10" fmla="*/ 738 w 2188"/>
              <a:gd name="T11" fmla="*/ 8998 h 14034"/>
              <a:gd name="T12" fmla="*/ 1072 w 2188"/>
              <a:gd name="T13" fmla="*/ 8236 h 14034"/>
              <a:gd name="T14" fmla="*/ 1388 w 2188"/>
              <a:gd name="T15" fmla="*/ 7017 h 14034"/>
              <a:gd name="T16" fmla="*/ 1068 w 2188"/>
              <a:gd name="T17" fmla="*/ 5792 h 14034"/>
              <a:gd name="T18" fmla="*/ 735 w 2188"/>
              <a:gd name="T19" fmla="*/ 5037 h 14034"/>
              <a:gd name="T20" fmla="*/ 734 w 2188"/>
              <a:gd name="T21" fmla="*/ 5036 h 14034"/>
              <a:gd name="T22" fmla="*/ 373 w 2188"/>
              <a:gd name="T23" fmla="*/ 4214 h 14034"/>
              <a:gd name="T24" fmla="*/ 0 w 2188"/>
              <a:gd name="T25" fmla="*/ 2697 h 14034"/>
              <a:gd name="T26" fmla="*/ 376 w 2188"/>
              <a:gd name="T27" fmla="*/ 1180 h 14034"/>
              <a:gd name="T28" fmla="*/ 739 w 2188"/>
              <a:gd name="T29" fmla="*/ 357 h 14034"/>
              <a:gd name="T30" fmla="*/ 918 w 2188"/>
              <a:gd name="T31" fmla="*/ 0 h 14034"/>
              <a:gd name="T32" fmla="*/ 1633 w 2188"/>
              <a:gd name="T33" fmla="*/ 359 h 14034"/>
              <a:gd name="T34" fmla="*/ 1453 w 2188"/>
              <a:gd name="T35" fmla="*/ 717 h 14034"/>
              <a:gd name="T36" fmla="*/ 1118 w 2188"/>
              <a:gd name="T37" fmla="*/ 1478 h 14034"/>
              <a:gd name="T38" fmla="*/ 800 w 2188"/>
              <a:gd name="T39" fmla="*/ 2697 h 14034"/>
              <a:gd name="T40" fmla="*/ 1116 w 2188"/>
              <a:gd name="T41" fmla="*/ 3916 h 14034"/>
              <a:gd name="T42" fmla="*/ 1449 w 2188"/>
              <a:gd name="T43" fmla="*/ 4677 h 14034"/>
              <a:gd name="T44" fmla="*/ 1812 w 2188"/>
              <a:gd name="T45" fmla="*/ 5500 h 14034"/>
              <a:gd name="T46" fmla="*/ 2188 w 2188"/>
              <a:gd name="T47" fmla="*/ 7017 h 14034"/>
              <a:gd name="T48" fmla="*/ 1815 w 2188"/>
              <a:gd name="T49" fmla="*/ 8534 h 14034"/>
              <a:gd name="T50" fmla="*/ 1454 w 2188"/>
              <a:gd name="T51" fmla="*/ 9356 h 14034"/>
              <a:gd name="T52" fmla="*/ 1453 w 2188"/>
              <a:gd name="T53" fmla="*/ 9357 h 14034"/>
              <a:gd name="T54" fmla="*/ 1118 w 2188"/>
              <a:gd name="T55" fmla="*/ 10118 h 14034"/>
              <a:gd name="T56" fmla="*/ 800 w 2188"/>
              <a:gd name="T57" fmla="*/ 11337 h 14034"/>
              <a:gd name="T58" fmla="*/ 1116 w 2188"/>
              <a:gd name="T59" fmla="*/ 12556 h 14034"/>
              <a:gd name="T60" fmla="*/ 1450 w 2188"/>
              <a:gd name="T61" fmla="*/ 13318 h 14034"/>
              <a:gd name="T62" fmla="*/ 1628 w 2188"/>
              <a:gd name="T63" fmla="*/ 13676 h 14034"/>
              <a:gd name="T64" fmla="*/ 913 w 2188"/>
              <a:gd name="T65" fmla="*/ 14034 h 140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188" h="14034">
                <a:moveTo>
                  <a:pt x="913" y="14034"/>
                </a:moveTo>
                <a:cubicBezTo>
                  <a:pt x="734" y="13676"/>
                  <a:pt x="734" y="13676"/>
                  <a:pt x="734" y="13676"/>
                </a:cubicBezTo>
                <a:cubicBezTo>
                  <a:pt x="727" y="13661"/>
                  <a:pt x="551" y="13308"/>
                  <a:pt x="373" y="12854"/>
                </a:cubicBezTo>
                <a:cubicBezTo>
                  <a:pt x="126" y="12219"/>
                  <a:pt x="0" y="11709"/>
                  <a:pt x="0" y="11337"/>
                </a:cubicBezTo>
                <a:cubicBezTo>
                  <a:pt x="0" y="10965"/>
                  <a:pt x="126" y="10454"/>
                  <a:pt x="376" y="9820"/>
                </a:cubicBezTo>
                <a:cubicBezTo>
                  <a:pt x="553" y="9368"/>
                  <a:pt x="729" y="9017"/>
                  <a:pt x="738" y="8998"/>
                </a:cubicBezTo>
                <a:cubicBezTo>
                  <a:pt x="745" y="8984"/>
                  <a:pt x="910" y="8651"/>
                  <a:pt x="1072" y="8236"/>
                </a:cubicBezTo>
                <a:cubicBezTo>
                  <a:pt x="1276" y="7713"/>
                  <a:pt x="1388" y="7280"/>
                  <a:pt x="1388" y="7017"/>
                </a:cubicBezTo>
                <a:cubicBezTo>
                  <a:pt x="1388" y="6753"/>
                  <a:pt x="1274" y="6318"/>
                  <a:pt x="1068" y="5792"/>
                </a:cubicBezTo>
                <a:cubicBezTo>
                  <a:pt x="902" y="5371"/>
                  <a:pt x="736" y="5040"/>
                  <a:pt x="735" y="5037"/>
                </a:cubicBezTo>
                <a:cubicBezTo>
                  <a:pt x="734" y="5036"/>
                  <a:pt x="734" y="5036"/>
                  <a:pt x="734" y="5036"/>
                </a:cubicBezTo>
                <a:cubicBezTo>
                  <a:pt x="727" y="5021"/>
                  <a:pt x="551" y="4668"/>
                  <a:pt x="373" y="4214"/>
                </a:cubicBezTo>
                <a:cubicBezTo>
                  <a:pt x="126" y="3579"/>
                  <a:pt x="0" y="3069"/>
                  <a:pt x="0" y="2697"/>
                </a:cubicBezTo>
                <a:cubicBezTo>
                  <a:pt x="0" y="2325"/>
                  <a:pt x="126" y="1814"/>
                  <a:pt x="376" y="1180"/>
                </a:cubicBezTo>
                <a:cubicBezTo>
                  <a:pt x="554" y="725"/>
                  <a:pt x="731" y="372"/>
                  <a:pt x="739" y="357"/>
                </a:cubicBezTo>
                <a:cubicBezTo>
                  <a:pt x="918" y="0"/>
                  <a:pt x="918" y="0"/>
                  <a:pt x="918" y="0"/>
                </a:cubicBezTo>
                <a:cubicBezTo>
                  <a:pt x="1633" y="359"/>
                  <a:pt x="1633" y="359"/>
                  <a:pt x="1633" y="359"/>
                </a:cubicBezTo>
                <a:cubicBezTo>
                  <a:pt x="1453" y="717"/>
                  <a:pt x="1453" y="717"/>
                  <a:pt x="1453" y="717"/>
                </a:cubicBezTo>
                <a:cubicBezTo>
                  <a:pt x="1450" y="724"/>
                  <a:pt x="1282" y="1059"/>
                  <a:pt x="1118" y="1478"/>
                </a:cubicBezTo>
                <a:cubicBezTo>
                  <a:pt x="913" y="2001"/>
                  <a:pt x="800" y="2434"/>
                  <a:pt x="800" y="2697"/>
                </a:cubicBezTo>
                <a:cubicBezTo>
                  <a:pt x="800" y="2960"/>
                  <a:pt x="912" y="3393"/>
                  <a:pt x="1116" y="3916"/>
                </a:cubicBezTo>
                <a:cubicBezTo>
                  <a:pt x="1277" y="4329"/>
                  <a:pt x="1441" y="4660"/>
                  <a:pt x="1449" y="4677"/>
                </a:cubicBezTo>
                <a:cubicBezTo>
                  <a:pt x="1458" y="4695"/>
                  <a:pt x="1634" y="5047"/>
                  <a:pt x="1812" y="5500"/>
                </a:cubicBezTo>
                <a:cubicBezTo>
                  <a:pt x="2062" y="6134"/>
                  <a:pt x="2188" y="6645"/>
                  <a:pt x="2188" y="7017"/>
                </a:cubicBezTo>
                <a:cubicBezTo>
                  <a:pt x="2188" y="7389"/>
                  <a:pt x="2062" y="7899"/>
                  <a:pt x="1815" y="8534"/>
                </a:cubicBezTo>
                <a:cubicBezTo>
                  <a:pt x="1637" y="8988"/>
                  <a:pt x="1461" y="9341"/>
                  <a:pt x="1454" y="9356"/>
                </a:cubicBezTo>
                <a:cubicBezTo>
                  <a:pt x="1453" y="9357"/>
                  <a:pt x="1453" y="9357"/>
                  <a:pt x="1453" y="9357"/>
                </a:cubicBezTo>
                <a:cubicBezTo>
                  <a:pt x="1452" y="9360"/>
                  <a:pt x="1283" y="9697"/>
                  <a:pt x="1118" y="10118"/>
                </a:cubicBezTo>
                <a:cubicBezTo>
                  <a:pt x="913" y="10641"/>
                  <a:pt x="800" y="11074"/>
                  <a:pt x="800" y="11337"/>
                </a:cubicBezTo>
                <a:cubicBezTo>
                  <a:pt x="800" y="11600"/>
                  <a:pt x="912" y="12033"/>
                  <a:pt x="1116" y="12556"/>
                </a:cubicBezTo>
                <a:cubicBezTo>
                  <a:pt x="1281" y="12978"/>
                  <a:pt x="1448" y="13315"/>
                  <a:pt x="1450" y="13318"/>
                </a:cubicBezTo>
                <a:cubicBezTo>
                  <a:pt x="1628" y="13676"/>
                  <a:pt x="1628" y="13676"/>
                  <a:pt x="1628" y="13676"/>
                </a:cubicBezTo>
                <a:lnTo>
                  <a:pt x="913" y="14034"/>
                </a:lnTo>
                <a:close/>
              </a:path>
            </a:pathLst>
          </a:custGeom>
          <a:solidFill>
            <a:schemeClr val="accent5">
              <a:alpha val="88000"/>
            </a:schemeClr>
          </a:solidFill>
          <a:ln>
            <a:noFill/>
          </a:ln>
          <a:effectLst>
            <a:outerShdw blurRad="1003300" dist="38100" dir="10800000" algn="r" rotWithShape="0">
              <a:schemeClr val="accent5">
                <a:lumMod val="75000"/>
                <a:alpha val="46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8">
            <a:extLst>
              <a:ext uri="{FF2B5EF4-FFF2-40B4-BE49-F238E27FC236}">
                <a16:creationId xmlns:a16="http://schemas.microsoft.com/office/drawing/2014/main" id="{BAD4E249-F500-4D10-ADBA-4F8DC3E5BFB2}"/>
              </a:ext>
            </a:extLst>
          </p:cNvPr>
          <p:cNvSpPr>
            <a:spLocks/>
          </p:cNvSpPr>
          <p:nvPr/>
        </p:nvSpPr>
        <p:spPr bwMode="auto">
          <a:xfrm rot="2757414">
            <a:off x="20333123" y="-11683519"/>
            <a:ext cx="6486525" cy="41148000"/>
          </a:xfrm>
          <a:custGeom>
            <a:avLst/>
            <a:gdLst>
              <a:gd name="T0" fmla="*/ 913 w 2188"/>
              <a:gd name="T1" fmla="*/ 14034 h 14034"/>
              <a:gd name="T2" fmla="*/ 734 w 2188"/>
              <a:gd name="T3" fmla="*/ 13676 h 14034"/>
              <a:gd name="T4" fmla="*/ 373 w 2188"/>
              <a:gd name="T5" fmla="*/ 12854 h 14034"/>
              <a:gd name="T6" fmla="*/ 0 w 2188"/>
              <a:gd name="T7" fmla="*/ 11337 h 14034"/>
              <a:gd name="T8" fmla="*/ 376 w 2188"/>
              <a:gd name="T9" fmla="*/ 9820 h 14034"/>
              <a:gd name="T10" fmla="*/ 738 w 2188"/>
              <a:gd name="T11" fmla="*/ 8998 h 14034"/>
              <a:gd name="T12" fmla="*/ 1072 w 2188"/>
              <a:gd name="T13" fmla="*/ 8236 h 14034"/>
              <a:gd name="T14" fmla="*/ 1388 w 2188"/>
              <a:gd name="T15" fmla="*/ 7017 h 14034"/>
              <a:gd name="T16" fmla="*/ 1068 w 2188"/>
              <a:gd name="T17" fmla="*/ 5792 h 14034"/>
              <a:gd name="T18" fmla="*/ 735 w 2188"/>
              <a:gd name="T19" fmla="*/ 5037 h 14034"/>
              <a:gd name="T20" fmla="*/ 734 w 2188"/>
              <a:gd name="T21" fmla="*/ 5036 h 14034"/>
              <a:gd name="T22" fmla="*/ 373 w 2188"/>
              <a:gd name="T23" fmla="*/ 4214 h 14034"/>
              <a:gd name="T24" fmla="*/ 0 w 2188"/>
              <a:gd name="T25" fmla="*/ 2697 h 14034"/>
              <a:gd name="T26" fmla="*/ 376 w 2188"/>
              <a:gd name="T27" fmla="*/ 1180 h 14034"/>
              <a:gd name="T28" fmla="*/ 739 w 2188"/>
              <a:gd name="T29" fmla="*/ 357 h 14034"/>
              <a:gd name="T30" fmla="*/ 918 w 2188"/>
              <a:gd name="T31" fmla="*/ 0 h 14034"/>
              <a:gd name="T32" fmla="*/ 1633 w 2188"/>
              <a:gd name="T33" fmla="*/ 359 h 14034"/>
              <a:gd name="T34" fmla="*/ 1453 w 2188"/>
              <a:gd name="T35" fmla="*/ 717 h 14034"/>
              <a:gd name="T36" fmla="*/ 1118 w 2188"/>
              <a:gd name="T37" fmla="*/ 1478 h 14034"/>
              <a:gd name="T38" fmla="*/ 800 w 2188"/>
              <a:gd name="T39" fmla="*/ 2697 h 14034"/>
              <a:gd name="T40" fmla="*/ 1116 w 2188"/>
              <a:gd name="T41" fmla="*/ 3916 h 14034"/>
              <a:gd name="T42" fmla="*/ 1449 w 2188"/>
              <a:gd name="T43" fmla="*/ 4677 h 14034"/>
              <a:gd name="T44" fmla="*/ 1812 w 2188"/>
              <a:gd name="T45" fmla="*/ 5500 h 14034"/>
              <a:gd name="T46" fmla="*/ 2188 w 2188"/>
              <a:gd name="T47" fmla="*/ 7017 h 14034"/>
              <a:gd name="T48" fmla="*/ 1815 w 2188"/>
              <a:gd name="T49" fmla="*/ 8534 h 14034"/>
              <a:gd name="T50" fmla="*/ 1454 w 2188"/>
              <a:gd name="T51" fmla="*/ 9356 h 14034"/>
              <a:gd name="T52" fmla="*/ 1453 w 2188"/>
              <a:gd name="T53" fmla="*/ 9357 h 14034"/>
              <a:gd name="T54" fmla="*/ 1118 w 2188"/>
              <a:gd name="T55" fmla="*/ 10118 h 14034"/>
              <a:gd name="T56" fmla="*/ 800 w 2188"/>
              <a:gd name="T57" fmla="*/ 11337 h 14034"/>
              <a:gd name="T58" fmla="*/ 1116 w 2188"/>
              <a:gd name="T59" fmla="*/ 12556 h 14034"/>
              <a:gd name="T60" fmla="*/ 1450 w 2188"/>
              <a:gd name="T61" fmla="*/ 13318 h 14034"/>
              <a:gd name="T62" fmla="*/ 1628 w 2188"/>
              <a:gd name="T63" fmla="*/ 13676 h 14034"/>
              <a:gd name="T64" fmla="*/ 913 w 2188"/>
              <a:gd name="T65" fmla="*/ 14034 h 140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188" h="14034">
                <a:moveTo>
                  <a:pt x="913" y="14034"/>
                </a:moveTo>
                <a:cubicBezTo>
                  <a:pt x="734" y="13676"/>
                  <a:pt x="734" y="13676"/>
                  <a:pt x="734" y="13676"/>
                </a:cubicBezTo>
                <a:cubicBezTo>
                  <a:pt x="727" y="13661"/>
                  <a:pt x="551" y="13308"/>
                  <a:pt x="373" y="12854"/>
                </a:cubicBezTo>
                <a:cubicBezTo>
                  <a:pt x="126" y="12219"/>
                  <a:pt x="0" y="11709"/>
                  <a:pt x="0" y="11337"/>
                </a:cubicBezTo>
                <a:cubicBezTo>
                  <a:pt x="0" y="10965"/>
                  <a:pt x="126" y="10454"/>
                  <a:pt x="376" y="9820"/>
                </a:cubicBezTo>
                <a:cubicBezTo>
                  <a:pt x="553" y="9368"/>
                  <a:pt x="729" y="9017"/>
                  <a:pt x="738" y="8998"/>
                </a:cubicBezTo>
                <a:cubicBezTo>
                  <a:pt x="745" y="8984"/>
                  <a:pt x="910" y="8651"/>
                  <a:pt x="1072" y="8236"/>
                </a:cubicBezTo>
                <a:cubicBezTo>
                  <a:pt x="1276" y="7713"/>
                  <a:pt x="1388" y="7280"/>
                  <a:pt x="1388" y="7017"/>
                </a:cubicBezTo>
                <a:cubicBezTo>
                  <a:pt x="1388" y="6753"/>
                  <a:pt x="1274" y="6318"/>
                  <a:pt x="1068" y="5792"/>
                </a:cubicBezTo>
                <a:cubicBezTo>
                  <a:pt x="902" y="5371"/>
                  <a:pt x="736" y="5040"/>
                  <a:pt x="735" y="5037"/>
                </a:cubicBezTo>
                <a:cubicBezTo>
                  <a:pt x="734" y="5036"/>
                  <a:pt x="734" y="5036"/>
                  <a:pt x="734" y="5036"/>
                </a:cubicBezTo>
                <a:cubicBezTo>
                  <a:pt x="727" y="5021"/>
                  <a:pt x="551" y="4668"/>
                  <a:pt x="373" y="4214"/>
                </a:cubicBezTo>
                <a:cubicBezTo>
                  <a:pt x="126" y="3579"/>
                  <a:pt x="0" y="3069"/>
                  <a:pt x="0" y="2697"/>
                </a:cubicBezTo>
                <a:cubicBezTo>
                  <a:pt x="0" y="2325"/>
                  <a:pt x="126" y="1814"/>
                  <a:pt x="376" y="1180"/>
                </a:cubicBezTo>
                <a:cubicBezTo>
                  <a:pt x="554" y="725"/>
                  <a:pt x="731" y="372"/>
                  <a:pt x="739" y="357"/>
                </a:cubicBezTo>
                <a:cubicBezTo>
                  <a:pt x="918" y="0"/>
                  <a:pt x="918" y="0"/>
                  <a:pt x="918" y="0"/>
                </a:cubicBezTo>
                <a:cubicBezTo>
                  <a:pt x="1633" y="359"/>
                  <a:pt x="1633" y="359"/>
                  <a:pt x="1633" y="359"/>
                </a:cubicBezTo>
                <a:cubicBezTo>
                  <a:pt x="1453" y="717"/>
                  <a:pt x="1453" y="717"/>
                  <a:pt x="1453" y="717"/>
                </a:cubicBezTo>
                <a:cubicBezTo>
                  <a:pt x="1450" y="724"/>
                  <a:pt x="1282" y="1059"/>
                  <a:pt x="1118" y="1478"/>
                </a:cubicBezTo>
                <a:cubicBezTo>
                  <a:pt x="913" y="2001"/>
                  <a:pt x="800" y="2434"/>
                  <a:pt x="800" y="2697"/>
                </a:cubicBezTo>
                <a:cubicBezTo>
                  <a:pt x="800" y="2960"/>
                  <a:pt x="912" y="3393"/>
                  <a:pt x="1116" y="3916"/>
                </a:cubicBezTo>
                <a:cubicBezTo>
                  <a:pt x="1277" y="4329"/>
                  <a:pt x="1441" y="4660"/>
                  <a:pt x="1449" y="4677"/>
                </a:cubicBezTo>
                <a:cubicBezTo>
                  <a:pt x="1458" y="4695"/>
                  <a:pt x="1634" y="5047"/>
                  <a:pt x="1812" y="5500"/>
                </a:cubicBezTo>
                <a:cubicBezTo>
                  <a:pt x="2062" y="6134"/>
                  <a:pt x="2188" y="6645"/>
                  <a:pt x="2188" y="7017"/>
                </a:cubicBezTo>
                <a:cubicBezTo>
                  <a:pt x="2188" y="7389"/>
                  <a:pt x="2062" y="7899"/>
                  <a:pt x="1815" y="8534"/>
                </a:cubicBezTo>
                <a:cubicBezTo>
                  <a:pt x="1637" y="8988"/>
                  <a:pt x="1461" y="9341"/>
                  <a:pt x="1454" y="9356"/>
                </a:cubicBezTo>
                <a:cubicBezTo>
                  <a:pt x="1453" y="9357"/>
                  <a:pt x="1453" y="9357"/>
                  <a:pt x="1453" y="9357"/>
                </a:cubicBezTo>
                <a:cubicBezTo>
                  <a:pt x="1452" y="9360"/>
                  <a:pt x="1283" y="9697"/>
                  <a:pt x="1118" y="10118"/>
                </a:cubicBezTo>
                <a:cubicBezTo>
                  <a:pt x="913" y="10641"/>
                  <a:pt x="800" y="11074"/>
                  <a:pt x="800" y="11337"/>
                </a:cubicBezTo>
                <a:cubicBezTo>
                  <a:pt x="800" y="11600"/>
                  <a:pt x="912" y="12033"/>
                  <a:pt x="1116" y="12556"/>
                </a:cubicBezTo>
                <a:cubicBezTo>
                  <a:pt x="1281" y="12978"/>
                  <a:pt x="1448" y="13315"/>
                  <a:pt x="1450" y="13318"/>
                </a:cubicBezTo>
                <a:cubicBezTo>
                  <a:pt x="1628" y="13676"/>
                  <a:pt x="1628" y="13676"/>
                  <a:pt x="1628" y="13676"/>
                </a:cubicBezTo>
                <a:lnTo>
                  <a:pt x="913" y="14034"/>
                </a:lnTo>
                <a:close/>
              </a:path>
            </a:pathLst>
          </a:custGeom>
          <a:solidFill>
            <a:schemeClr val="accent4">
              <a:alpha val="88000"/>
            </a:schemeClr>
          </a:solidFill>
          <a:ln>
            <a:noFill/>
          </a:ln>
          <a:effectLst>
            <a:outerShdw blurRad="1003300" dist="38100" dir="10800000" algn="r" rotWithShape="0">
              <a:schemeClr val="accent4">
                <a:lumMod val="75000"/>
                <a:alpha val="46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7">
            <a:extLst>
              <a:ext uri="{FF2B5EF4-FFF2-40B4-BE49-F238E27FC236}">
                <a16:creationId xmlns:a16="http://schemas.microsoft.com/office/drawing/2014/main" id="{8F6419EE-D874-4707-B2EA-33CE4EB5A2B1}"/>
              </a:ext>
            </a:extLst>
          </p:cNvPr>
          <p:cNvSpPr>
            <a:spLocks/>
          </p:cNvSpPr>
          <p:nvPr/>
        </p:nvSpPr>
        <p:spPr bwMode="auto">
          <a:xfrm rot="2757414">
            <a:off x="21767462" y="-10202914"/>
            <a:ext cx="6481764" cy="41148000"/>
          </a:xfrm>
          <a:custGeom>
            <a:avLst/>
            <a:gdLst>
              <a:gd name="T0" fmla="*/ 913 w 2188"/>
              <a:gd name="T1" fmla="*/ 14034 h 14034"/>
              <a:gd name="T2" fmla="*/ 734 w 2188"/>
              <a:gd name="T3" fmla="*/ 13676 h 14034"/>
              <a:gd name="T4" fmla="*/ 373 w 2188"/>
              <a:gd name="T5" fmla="*/ 12854 h 14034"/>
              <a:gd name="T6" fmla="*/ 0 w 2188"/>
              <a:gd name="T7" fmla="*/ 11337 h 14034"/>
              <a:gd name="T8" fmla="*/ 376 w 2188"/>
              <a:gd name="T9" fmla="*/ 9820 h 14034"/>
              <a:gd name="T10" fmla="*/ 738 w 2188"/>
              <a:gd name="T11" fmla="*/ 8998 h 14034"/>
              <a:gd name="T12" fmla="*/ 1072 w 2188"/>
              <a:gd name="T13" fmla="*/ 8236 h 14034"/>
              <a:gd name="T14" fmla="*/ 1388 w 2188"/>
              <a:gd name="T15" fmla="*/ 7017 h 14034"/>
              <a:gd name="T16" fmla="*/ 1068 w 2188"/>
              <a:gd name="T17" fmla="*/ 5792 h 14034"/>
              <a:gd name="T18" fmla="*/ 735 w 2188"/>
              <a:gd name="T19" fmla="*/ 5037 h 14034"/>
              <a:gd name="T20" fmla="*/ 734 w 2188"/>
              <a:gd name="T21" fmla="*/ 5036 h 14034"/>
              <a:gd name="T22" fmla="*/ 373 w 2188"/>
              <a:gd name="T23" fmla="*/ 4214 h 14034"/>
              <a:gd name="T24" fmla="*/ 0 w 2188"/>
              <a:gd name="T25" fmla="*/ 2697 h 14034"/>
              <a:gd name="T26" fmla="*/ 376 w 2188"/>
              <a:gd name="T27" fmla="*/ 1180 h 14034"/>
              <a:gd name="T28" fmla="*/ 739 w 2188"/>
              <a:gd name="T29" fmla="*/ 357 h 14034"/>
              <a:gd name="T30" fmla="*/ 918 w 2188"/>
              <a:gd name="T31" fmla="*/ 0 h 14034"/>
              <a:gd name="T32" fmla="*/ 1633 w 2188"/>
              <a:gd name="T33" fmla="*/ 359 h 14034"/>
              <a:gd name="T34" fmla="*/ 1453 w 2188"/>
              <a:gd name="T35" fmla="*/ 717 h 14034"/>
              <a:gd name="T36" fmla="*/ 1118 w 2188"/>
              <a:gd name="T37" fmla="*/ 1478 h 14034"/>
              <a:gd name="T38" fmla="*/ 800 w 2188"/>
              <a:gd name="T39" fmla="*/ 2697 h 14034"/>
              <a:gd name="T40" fmla="*/ 1116 w 2188"/>
              <a:gd name="T41" fmla="*/ 3916 h 14034"/>
              <a:gd name="T42" fmla="*/ 1449 w 2188"/>
              <a:gd name="T43" fmla="*/ 4677 h 14034"/>
              <a:gd name="T44" fmla="*/ 1812 w 2188"/>
              <a:gd name="T45" fmla="*/ 5500 h 14034"/>
              <a:gd name="T46" fmla="*/ 2188 w 2188"/>
              <a:gd name="T47" fmla="*/ 7017 h 14034"/>
              <a:gd name="T48" fmla="*/ 1815 w 2188"/>
              <a:gd name="T49" fmla="*/ 8534 h 14034"/>
              <a:gd name="T50" fmla="*/ 1454 w 2188"/>
              <a:gd name="T51" fmla="*/ 9356 h 14034"/>
              <a:gd name="T52" fmla="*/ 1453 w 2188"/>
              <a:gd name="T53" fmla="*/ 9357 h 14034"/>
              <a:gd name="T54" fmla="*/ 1118 w 2188"/>
              <a:gd name="T55" fmla="*/ 10118 h 14034"/>
              <a:gd name="T56" fmla="*/ 800 w 2188"/>
              <a:gd name="T57" fmla="*/ 11337 h 14034"/>
              <a:gd name="T58" fmla="*/ 1116 w 2188"/>
              <a:gd name="T59" fmla="*/ 12556 h 14034"/>
              <a:gd name="T60" fmla="*/ 1450 w 2188"/>
              <a:gd name="T61" fmla="*/ 13318 h 14034"/>
              <a:gd name="T62" fmla="*/ 1628 w 2188"/>
              <a:gd name="T63" fmla="*/ 13676 h 14034"/>
              <a:gd name="T64" fmla="*/ 913 w 2188"/>
              <a:gd name="T65" fmla="*/ 14034 h 140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188" h="14034">
                <a:moveTo>
                  <a:pt x="913" y="14034"/>
                </a:moveTo>
                <a:cubicBezTo>
                  <a:pt x="734" y="13676"/>
                  <a:pt x="734" y="13676"/>
                  <a:pt x="734" y="13676"/>
                </a:cubicBezTo>
                <a:cubicBezTo>
                  <a:pt x="727" y="13661"/>
                  <a:pt x="551" y="13308"/>
                  <a:pt x="373" y="12854"/>
                </a:cubicBezTo>
                <a:cubicBezTo>
                  <a:pt x="126" y="12219"/>
                  <a:pt x="0" y="11709"/>
                  <a:pt x="0" y="11337"/>
                </a:cubicBezTo>
                <a:cubicBezTo>
                  <a:pt x="0" y="10965"/>
                  <a:pt x="126" y="10454"/>
                  <a:pt x="376" y="9820"/>
                </a:cubicBezTo>
                <a:cubicBezTo>
                  <a:pt x="553" y="9368"/>
                  <a:pt x="729" y="9017"/>
                  <a:pt x="738" y="8998"/>
                </a:cubicBezTo>
                <a:cubicBezTo>
                  <a:pt x="745" y="8984"/>
                  <a:pt x="910" y="8651"/>
                  <a:pt x="1072" y="8236"/>
                </a:cubicBezTo>
                <a:cubicBezTo>
                  <a:pt x="1276" y="7713"/>
                  <a:pt x="1388" y="7280"/>
                  <a:pt x="1388" y="7017"/>
                </a:cubicBezTo>
                <a:cubicBezTo>
                  <a:pt x="1388" y="6753"/>
                  <a:pt x="1274" y="6318"/>
                  <a:pt x="1068" y="5792"/>
                </a:cubicBezTo>
                <a:cubicBezTo>
                  <a:pt x="902" y="5371"/>
                  <a:pt x="736" y="5040"/>
                  <a:pt x="735" y="5037"/>
                </a:cubicBezTo>
                <a:cubicBezTo>
                  <a:pt x="734" y="5036"/>
                  <a:pt x="734" y="5036"/>
                  <a:pt x="734" y="5036"/>
                </a:cubicBezTo>
                <a:cubicBezTo>
                  <a:pt x="727" y="5021"/>
                  <a:pt x="551" y="4668"/>
                  <a:pt x="373" y="4214"/>
                </a:cubicBezTo>
                <a:cubicBezTo>
                  <a:pt x="126" y="3579"/>
                  <a:pt x="0" y="3069"/>
                  <a:pt x="0" y="2697"/>
                </a:cubicBezTo>
                <a:cubicBezTo>
                  <a:pt x="0" y="2325"/>
                  <a:pt x="126" y="1814"/>
                  <a:pt x="376" y="1180"/>
                </a:cubicBezTo>
                <a:cubicBezTo>
                  <a:pt x="554" y="725"/>
                  <a:pt x="731" y="372"/>
                  <a:pt x="739" y="357"/>
                </a:cubicBezTo>
                <a:cubicBezTo>
                  <a:pt x="918" y="0"/>
                  <a:pt x="918" y="0"/>
                  <a:pt x="918" y="0"/>
                </a:cubicBezTo>
                <a:cubicBezTo>
                  <a:pt x="1633" y="359"/>
                  <a:pt x="1633" y="359"/>
                  <a:pt x="1633" y="359"/>
                </a:cubicBezTo>
                <a:cubicBezTo>
                  <a:pt x="1453" y="717"/>
                  <a:pt x="1453" y="717"/>
                  <a:pt x="1453" y="717"/>
                </a:cubicBezTo>
                <a:cubicBezTo>
                  <a:pt x="1450" y="724"/>
                  <a:pt x="1282" y="1059"/>
                  <a:pt x="1118" y="1478"/>
                </a:cubicBezTo>
                <a:cubicBezTo>
                  <a:pt x="913" y="2001"/>
                  <a:pt x="800" y="2434"/>
                  <a:pt x="800" y="2697"/>
                </a:cubicBezTo>
                <a:cubicBezTo>
                  <a:pt x="800" y="2960"/>
                  <a:pt x="912" y="3393"/>
                  <a:pt x="1116" y="3916"/>
                </a:cubicBezTo>
                <a:cubicBezTo>
                  <a:pt x="1277" y="4329"/>
                  <a:pt x="1441" y="4660"/>
                  <a:pt x="1449" y="4677"/>
                </a:cubicBezTo>
                <a:cubicBezTo>
                  <a:pt x="1458" y="4695"/>
                  <a:pt x="1634" y="5047"/>
                  <a:pt x="1812" y="5500"/>
                </a:cubicBezTo>
                <a:cubicBezTo>
                  <a:pt x="2062" y="6134"/>
                  <a:pt x="2188" y="6645"/>
                  <a:pt x="2188" y="7017"/>
                </a:cubicBezTo>
                <a:cubicBezTo>
                  <a:pt x="2188" y="7389"/>
                  <a:pt x="2062" y="7899"/>
                  <a:pt x="1815" y="8534"/>
                </a:cubicBezTo>
                <a:cubicBezTo>
                  <a:pt x="1637" y="8988"/>
                  <a:pt x="1461" y="9341"/>
                  <a:pt x="1454" y="9356"/>
                </a:cubicBezTo>
                <a:cubicBezTo>
                  <a:pt x="1453" y="9357"/>
                  <a:pt x="1453" y="9357"/>
                  <a:pt x="1453" y="9357"/>
                </a:cubicBezTo>
                <a:cubicBezTo>
                  <a:pt x="1452" y="9360"/>
                  <a:pt x="1283" y="9697"/>
                  <a:pt x="1118" y="10118"/>
                </a:cubicBezTo>
                <a:cubicBezTo>
                  <a:pt x="913" y="10641"/>
                  <a:pt x="800" y="11074"/>
                  <a:pt x="800" y="11337"/>
                </a:cubicBezTo>
                <a:cubicBezTo>
                  <a:pt x="800" y="11600"/>
                  <a:pt x="912" y="12033"/>
                  <a:pt x="1116" y="12556"/>
                </a:cubicBezTo>
                <a:cubicBezTo>
                  <a:pt x="1281" y="12978"/>
                  <a:pt x="1448" y="13315"/>
                  <a:pt x="1450" y="13318"/>
                </a:cubicBezTo>
                <a:cubicBezTo>
                  <a:pt x="1628" y="13676"/>
                  <a:pt x="1628" y="13676"/>
                  <a:pt x="1628" y="13676"/>
                </a:cubicBezTo>
                <a:lnTo>
                  <a:pt x="913" y="14034"/>
                </a:lnTo>
                <a:close/>
              </a:path>
            </a:pathLst>
          </a:custGeom>
          <a:solidFill>
            <a:schemeClr val="accent3">
              <a:alpha val="88000"/>
            </a:schemeClr>
          </a:solidFill>
          <a:ln>
            <a:noFill/>
          </a:ln>
          <a:effectLst>
            <a:outerShdw blurRad="1003300" dist="38100" dir="10800000" algn="r" rotWithShape="0">
              <a:schemeClr val="accent3">
                <a:lumMod val="75000"/>
                <a:alpha val="46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6">
            <a:extLst>
              <a:ext uri="{FF2B5EF4-FFF2-40B4-BE49-F238E27FC236}">
                <a16:creationId xmlns:a16="http://schemas.microsoft.com/office/drawing/2014/main" id="{AEB13B06-6FB9-4E9C-A4D6-8B0379950871}"/>
              </a:ext>
            </a:extLst>
          </p:cNvPr>
          <p:cNvSpPr>
            <a:spLocks/>
          </p:cNvSpPr>
          <p:nvPr/>
        </p:nvSpPr>
        <p:spPr bwMode="auto">
          <a:xfrm rot="2757414">
            <a:off x="23197763" y="-8724021"/>
            <a:ext cx="6481764" cy="41148000"/>
          </a:xfrm>
          <a:custGeom>
            <a:avLst/>
            <a:gdLst>
              <a:gd name="T0" fmla="*/ 913 w 2188"/>
              <a:gd name="T1" fmla="*/ 14034 h 14034"/>
              <a:gd name="T2" fmla="*/ 734 w 2188"/>
              <a:gd name="T3" fmla="*/ 13676 h 14034"/>
              <a:gd name="T4" fmla="*/ 373 w 2188"/>
              <a:gd name="T5" fmla="*/ 12854 h 14034"/>
              <a:gd name="T6" fmla="*/ 0 w 2188"/>
              <a:gd name="T7" fmla="*/ 11337 h 14034"/>
              <a:gd name="T8" fmla="*/ 376 w 2188"/>
              <a:gd name="T9" fmla="*/ 9820 h 14034"/>
              <a:gd name="T10" fmla="*/ 738 w 2188"/>
              <a:gd name="T11" fmla="*/ 8998 h 14034"/>
              <a:gd name="T12" fmla="*/ 1072 w 2188"/>
              <a:gd name="T13" fmla="*/ 8236 h 14034"/>
              <a:gd name="T14" fmla="*/ 1388 w 2188"/>
              <a:gd name="T15" fmla="*/ 7017 h 14034"/>
              <a:gd name="T16" fmla="*/ 1068 w 2188"/>
              <a:gd name="T17" fmla="*/ 5792 h 14034"/>
              <a:gd name="T18" fmla="*/ 735 w 2188"/>
              <a:gd name="T19" fmla="*/ 5037 h 14034"/>
              <a:gd name="T20" fmla="*/ 734 w 2188"/>
              <a:gd name="T21" fmla="*/ 5036 h 14034"/>
              <a:gd name="T22" fmla="*/ 373 w 2188"/>
              <a:gd name="T23" fmla="*/ 4214 h 14034"/>
              <a:gd name="T24" fmla="*/ 0 w 2188"/>
              <a:gd name="T25" fmla="*/ 2697 h 14034"/>
              <a:gd name="T26" fmla="*/ 376 w 2188"/>
              <a:gd name="T27" fmla="*/ 1180 h 14034"/>
              <a:gd name="T28" fmla="*/ 739 w 2188"/>
              <a:gd name="T29" fmla="*/ 357 h 14034"/>
              <a:gd name="T30" fmla="*/ 918 w 2188"/>
              <a:gd name="T31" fmla="*/ 0 h 14034"/>
              <a:gd name="T32" fmla="*/ 1633 w 2188"/>
              <a:gd name="T33" fmla="*/ 359 h 14034"/>
              <a:gd name="T34" fmla="*/ 1453 w 2188"/>
              <a:gd name="T35" fmla="*/ 717 h 14034"/>
              <a:gd name="T36" fmla="*/ 1118 w 2188"/>
              <a:gd name="T37" fmla="*/ 1478 h 14034"/>
              <a:gd name="T38" fmla="*/ 800 w 2188"/>
              <a:gd name="T39" fmla="*/ 2697 h 14034"/>
              <a:gd name="T40" fmla="*/ 1116 w 2188"/>
              <a:gd name="T41" fmla="*/ 3916 h 14034"/>
              <a:gd name="T42" fmla="*/ 1449 w 2188"/>
              <a:gd name="T43" fmla="*/ 4677 h 14034"/>
              <a:gd name="T44" fmla="*/ 1812 w 2188"/>
              <a:gd name="T45" fmla="*/ 5500 h 14034"/>
              <a:gd name="T46" fmla="*/ 2188 w 2188"/>
              <a:gd name="T47" fmla="*/ 7017 h 14034"/>
              <a:gd name="T48" fmla="*/ 1815 w 2188"/>
              <a:gd name="T49" fmla="*/ 8534 h 14034"/>
              <a:gd name="T50" fmla="*/ 1454 w 2188"/>
              <a:gd name="T51" fmla="*/ 9356 h 14034"/>
              <a:gd name="T52" fmla="*/ 1453 w 2188"/>
              <a:gd name="T53" fmla="*/ 9357 h 14034"/>
              <a:gd name="T54" fmla="*/ 1118 w 2188"/>
              <a:gd name="T55" fmla="*/ 10118 h 14034"/>
              <a:gd name="T56" fmla="*/ 800 w 2188"/>
              <a:gd name="T57" fmla="*/ 11337 h 14034"/>
              <a:gd name="T58" fmla="*/ 1116 w 2188"/>
              <a:gd name="T59" fmla="*/ 12556 h 14034"/>
              <a:gd name="T60" fmla="*/ 1450 w 2188"/>
              <a:gd name="T61" fmla="*/ 13318 h 14034"/>
              <a:gd name="T62" fmla="*/ 1628 w 2188"/>
              <a:gd name="T63" fmla="*/ 13676 h 14034"/>
              <a:gd name="T64" fmla="*/ 913 w 2188"/>
              <a:gd name="T65" fmla="*/ 14034 h 140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188" h="14034">
                <a:moveTo>
                  <a:pt x="913" y="14034"/>
                </a:moveTo>
                <a:cubicBezTo>
                  <a:pt x="734" y="13676"/>
                  <a:pt x="734" y="13676"/>
                  <a:pt x="734" y="13676"/>
                </a:cubicBezTo>
                <a:cubicBezTo>
                  <a:pt x="727" y="13661"/>
                  <a:pt x="551" y="13308"/>
                  <a:pt x="373" y="12854"/>
                </a:cubicBezTo>
                <a:cubicBezTo>
                  <a:pt x="126" y="12219"/>
                  <a:pt x="0" y="11709"/>
                  <a:pt x="0" y="11337"/>
                </a:cubicBezTo>
                <a:cubicBezTo>
                  <a:pt x="0" y="10965"/>
                  <a:pt x="126" y="10454"/>
                  <a:pt x="376" y="9820"/>
                </a:cubicBezTo>
                <a:cubicBezTo>
                  <a:pt x="553" y="9368"/>
                  <a:pt x="729" y="9017"/>
                  <a:pt x="738" y="8998"/>
                </a:cubicBezTo>
                <a:cubicBezTo>
                  <a:pt x="745" y="8984"/>
                  <a:pt x="910" y="8651"/>
                  <a:pt x="1072" y="8236"/>
                </a:cubicBezTo>
                <a:cubicBezTo>
                  <a:pt x="1276" y="7713"/>
                  <a:pt x="1388" y="7280"/>
                  <a:pt x="1388" y="7017"/>
                </a:cubicBezTo>
                <a:cubicBezTo>
                  <a:pt x="1388" y="6753"/>
                  <a:pt x="1274" y="6318"/>
                  <a:pt x="1068" y="5792"/>
                </a:cubicBezTo>
                <a:cubicBezTo>
                  <a:pt x="902" y="5371"/>
                  <a:pt x="736" y="5040"/>
                  <a:pt x="735" y="5037"/>
                </a:cubicBezTo>
                <a:cubicBezTo>
                  <a:pt x="734" y="5036"/>
                  <a:pt x="734" y="5036"/>
                  <a:pt x="734" y="5036"/>
                </a:cubicBezTo>
                <a:cubicBezTo>
                  <a:pt x="727" y="5021"/>
                  <a:pt x="551" y="4668"/>
                  <a:pt x="373" y="4214"/>
                </a:cubicBezTo>
                <a:cubicBezTo>
                  <a:pt x="126" y="3579"/>
                  <a:pt x="0" y="3069"/>
                  <a:pt x="0" y="2697"/>
                </a:cubicBezTo>
                <a:cubicBezTo>
                  <a:pt x="0" y="2325"/>
                  <a:pt x="126" y="1814"/>
                  <a:pt x="376" y="1180"/>
                </a:cubicBezTo>
                <a:cubicBezTo>
                  <a:pt x="554" y="725"/>
                  <a:pt x="731" y="372"/>
                  <a:pt x="739" y="357"/>
                </a:cubicBezTo>
                <a:cubicBezTo>
                  <a:pt x="918" y="0"/>
                  <a:pt x="918" y="0"/>
                  <a:pt x="918" y="0"/>
                </a:cubicBezTo>
                <a:cubicBezTo>
                  <a:pt x="1633" y="359"/>
                  <a:pt x="1633" y="359"/>
                  <a:pt x="1633" y="359"/>
                </a:cubicBezTo>
                <a:cubicBezTo>
                  <a:pt x="1453" y="717"/>
                  <a:pt x="1453" y="717"/>
                  <a:pt x="1453" y="717"/>
                </a:cubicBezTo>
                <a:cubicBezTo>
                  <a:pt x="1450" y="724"/>
                  <a:pt x="1282" y="1059"/>
                  <a:pt x="1118" y="1478"/>
                </a:cubicBezTo>
                <a:cubicBezTo>
                  <a:pt x="913" y="2001"/>
                  <a:pt x="800" y="2434"/>
                  <a:pt x="800" y="2697"/>
                </a:cubicBezTo>
                <a:cubicBezTo>
                  <a:pt x="800" y="2960"/>
                  <a:pt x="912" y="3393"/>
                  <a:pt x="1116" y="3916"/>
                </a:cubicBezTo>
                <a:cubicBezTo>
                  <a:pt x="1277" y="4329"/>
                  <a:pt x="1441" y="4660"/>
                  <a:pt x="1449" y="4677"/>
                </a:cubicBezTo>
                <a:cubicBezTo>
                  <a:pt x="1458" y="4695"/>
                  <a:pt x="1634" y="5047"/>
                  <a:pt x="1812" y="5500"/>
                </a:cubicBezTo>
                <a:cubicBezTo>
                  <a:pt x="2062" y="6134"/>
                  <a:pt x="2188" y="6645"/>
                  <a:pt x="2188" y="7017"/>
                </a:cubicBezTo>
                <a:cubicBezTo>
                  <a:pt x="2188" y="7389"/>
                  <a:pt x="2062" y="7899"/>
                  <a:pt x="1815" y="8534"/>
                </a:cubicBezTo>
                <a:cubicBezTo>
                  <a:pt x="1637" y="8988"/>
                  <a:pt x="1461" y="9341"/>
                  <a:pt x="1454" y="9356"/>
                </a:cubicBezTo>
                <a:cubicBezTo>
                  <a:pt x="1453" y="9357"/>
                  <a:pt x="1453" y="9357"/>
                  <a:pt x="1453" y="9357"/>
                </a:cubicBezTo>
                <a:cubicBezTo>
                  <a:pt x="1452" y="9360"/>
                  <a:pt x="1283" y="9697"/>
                  <a:pt x="1118" y="10118"/>
                </a:cubicBezTo>
                <a:cubicBezTo>
                  <a:pt x="913" y="10641"/>
                  <a:pt x="800" y="11074"/>
                  <a:pt x="800" y="11337"/>
                </a:cubicBezTo>
                <a:cubicBezTo>
                  <a:pt x="800" y="11600"/>
                  <a:pt x="912" y="12033"/>
                  <a:pt x="1116" y="12556"/>
                </a:cubicBezTo>
                <a:cubicBezTo>
                  <a:pt x="1281" y="12978"/>
                  <a:pt x="1448" y="13315"/>
                  <a:pt x="1450" y="13318"/>
                </a:cubicBezTo>
                <a:cubicBezTo>
                  <a:pt x="1628" y="13676"/>
                  <a:pt x="1628" y="13676"/>
                  <a:pt x="1628" y="13676"/>
                </a:cubicBezTo>
                <a:lnTo>
                  <a:pt x="913" y="14034"/>
                </a:lnTo>
                <a:close/>
              </a:path>
            </a:pathLst>
          </a:custGeom>
          <a:solidFill>
            <a:schemeClr val="accent1">
              <a:alpha val="88000"/>
            </a:schemeClr>
          </a:solidFill>
          <a:ln>
            <a:noFill/>
          </a:ln>
          <a:effectLst>
            <a:outerShdw blurRad="1003300" dist="38100" dir="10800000" algn="r" rotWithShape="0">
              <a:schemeClr val="accent6">
                <a:lumMod val="75000"/>
                <a:alpha val="46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7AA106F9-0CD5-4AE1-B53A-28F0E7EAEB35}"/>
              </a:ext>
            </a:extLst>
          </p:cNvPr>
          <p:cNvSpPr>
            <a:spLocks/>
          </p:cNvSpPr>
          <p:nvPr/>
        </p:nvSpPr>
        <p:spPr bwMode="auto">
          <a:xfrm rot="2757414">
            <a:off x="24628066" y="-7245127"/>
            <a:ext cx="6481764" cy="41148000"/>
          </a:xfrm>
          <a:custGeom>
            <a:avLst/>
            <a:gdLst>
              <a:gd name="T0" fmla="*/ 913 w 2188"/>
              <a:gd name="T1" fmla="*/ 14034 h 14034"/>
              <a:gd name="T2" fmla="*/ 734 w 2188"/>
              <a:gd name="T3" fmla="*/ 13676 h 14034"/>
              <a:gd name="T4" fmla="*/ 373 w 2188"/>
              <a:gd name="T5" fmla="*/ 12854 h 14034"/>
              <a:gd name="T6" fmla="*/ 0 w 2188"/>
              <a:gd name="T7" fmla="*/ 11337 h 14034"/>
              <a:gd name="T8" fmla="*/ 376 w 2188"/>
              <a:gd name="T9" fmla="*/ 9820 h 14034"/>
              <a:gd name="T10" fmla="*/ 738 w 2188"/>
              <a:gd name="T11" fmla="*/ 8998 h 14034"/>
              <a:gd name="T12" fmla="*/ 1072 w 2188"/>
              <a:gd name="T13" fmla="*/ 8236 h 14034"/>
              <a:gd name="T14" fmla="*/ 1388 w 2188"/>
              <a:gd name="T15" fmla="*/ 7017 h 14034"/>
              <a:gd name="T16" fmla="*/ 1068 w 2188"/>
              <a:gd name="T17" fmla="*/ 5792 h 14034"/>
              <a:gd name="T18" fmla="*/ 735 w 2188"/>
              <a:gd name="T19" fmla="*/ 5037 h 14034"/>
              <a:gd name="T20" fmla="*/ 734 w 2188"/>
              <a:gd name="T21" fmla="*/ 5036 h 14034"/>
              <a:gd name="T22" fmla="*/ 373 w 2188"/>
              <a:gd name="T23" fmla="*/ 4214 h 14034"/>
              <a:gd name="T24" fmla="*/ 0 w 2188"/>
              <a:gd name="T25" fmla="*/ 2697 h 14034"/>
              <a:gd name="T26" fmla="*/ 376 w 2188"/>
              <a:gd name="T27" fmla="*/ 1180 h 14034"/>
              <a:gd name="T28" fmla="*/ 739 w 2188"/>
              <a:gd name="T29" fmla="*/ 357 h 14034"/>
              <a:gd name="T30" fmla="*/ 918 w 2188"/>
              <a:gd name="T31" fmla="*/ 0 h 14034"/>
              <a:gd name="T32" fmla="*/ 1633 w 2188"/>
              <a:gd name="T33" fmla="*/ 359 h 14034"/>
              <a:gd name="T34" fmla="*/ 1453 w 2188"/>
              <a:gd name="T35" fmla="*/ 717 h 14034"/>
              <a:gd name="T36" fmla="*/ 1118 w 2188"/>
              <a:gd name="T37" fmla="*/ 1478 h 14034"/>
              <a:gd name="T38" fmla="*/ 800 w 2188"/>
              <a:gd name="T39" fmla="*/ 2697 h 14034"/>
              <a:gd name="T40" fmla="*/ 1116 w 2188"/>
              <a:gd name="T41" fmla="*/ 3916 h 14034"/>
              <a:gd name="T42" fmla="*/ 1449 w 2188"/>
              <a:gd name="T43" fmla="*/ 4677 h 14034"/>
              <a:gd name="T44" fmla="*/ 1812 w 2188"/>
              <a:gd name="T45" fmla="*/ 5500 h 14034"/>
              <a:gd name="T46" fmla="*/ 2188 w 2188"/>
              <a:gd name="T47" fmla="*/ 7017 h 14034"/>
              <a:gd name="T48" fmla="*/ 1815 w 2188"/>
              <a:gd name="T49" fmla="*/ 8534 h 14034"/>
              <a:gd name="T50" fmla="*/ 1454 w 2188"/>
              <a:gd name="T51" fmla="*/ 9356 h 14034"/>
              <a:gd name="T52" fmla="*/ 1453 w 2188"/>
              <a:gd name="T53" fmla="*/ 9357 h 14034"/>
              <a:gd name="T54" fmla="*/ 1118 w 2188"/>
              <a:gd name="T55" fmla="*/ 10118 h 14034"/>
              <a:gd name="T56" fmla="*/ 800 w 2188"/>
              <a:gd name="T57" fmla="*/ 11337 h 14034"/>
              <a:gd name="T58" fmla="*/ 1116 w 2188"/>
              <a:gd name="T59" fmla="*/ 12556 h 14034"/>
              <a:gd name="T60" fmla="*/ 1450 w 2188"/>
              <a:gd name="T61" fmla="*/ 13318 h 14034"/>
              <a:gd name="T62" fmla="*/ 1628 w 2188"/>
              <a:gd name="T63" fmla="*/ 13676 h 14034"/>
              <a:gd name="T64" fmla="*/ 913 w 2188"/>
              <a:gd name="T65" fmla="*/ 14034 h 140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188" h="14034">
                <a:moveTo>
                  <a:pt x="913" y="14034"/>
                </a:moveTo>
                <a:cubicBezTo>
                  <a:pt x="734" y="13676"/>
                  <a:pt x="734" y="13676"/>
                  <a:pt x="734" y="13676"/>
                </a:cubicBezTo>
                <a:cubicBezTo>
                  <a:pt x="727" y="13661"/>
                  <a:pt x="551" y="13308"/>
                  <a:pt x="373" y="12854"/>
                </a:cubicBezTo>
                <a:cubicBezTo>
                  <a:pt x="126" y="12219"/>
                  <a:pt x="0" y="11709"/>
                  <a:pt x="0" y="11337"/>
                </a:cubicBezTo>
                <a:cubicBezTo>
                  <a:pt x="0" y="10965"/>
                  <a:pt x="126" y="10454"/>
                  <a:pt x="376" y="9820"/>
                </a:cubicBezTo>
                <a:cubicBezTo>
                  <a:pt x="553" y="9368"/>
                  <a:pt x="729" y="9017"/>
                  <a:pt x="738" y="8998"/>
                </a:cubicBezTo>
                <a:cubicBezTo>
                  <a:pt x="745" y="8984"/>
                  <a:pt x="910" y="8651"/>
                  <a:pt x="1072" y="8236"/>
                </a:cubicBezTo>
                <a:cubicBezTo>
                  <a:pt x="1276" y="7713"/>
                  <a:pt x="1388" y="7280"/>
                  <a:pt x="1388" y="7017"/>
                </a:cubicBezTo>
                <a:cubicBezTo>
                  <a:pt x="1388" y="6753"/>
                  <a:pt x="1274" y="6318"/>
                  <a:pt x="1068" y="5792"/>
                </a:cubicBezTo>
                <a:cubicBezTo>
                  <a:pt x="902" y="5371"/>
                  <a:pt x="736" y="5040"/>
                  <a:pt x="735" y="5037"/>
                </a:cubicBezTo>
                <a:cubicBezTo>
                  <a:pt x="734" y="5036"/>
                  <a:pt x="734" y="5036"/>
                  <a:pt x="734" y="5036"/>
                </a:cubicBezTo>
                <a:cubicBezTo>
                  <a:pt x="727" y="5021"/>
                  <a:pt x="551" y="4668"/>
                  <a:pt x="373" y="4214"/>
                </a:cubicBezTo>
                <a:cubicBezTo>
                  <a:pt x="126" y="3579"/>
                  <a:pt x="0" y="3069"/>
                  <a:pt x="0" y="2697"/>
                </a:cubicBezTo>
                <a:cubicBezTo>
                  <a:pt x="0" y="2325"/>
                  <a:pt x="126" y="1814"/>
                  <a:pt x="376" y="1180"/>
                </a:cubicBezTo>
                <a:cubicBezTo>
                  <a:pt x="554" y="725"/>
                  <a:pt x="731" y="372"/>
                  <a:pt x="739" y="357"/>
                </a:cubicBezTo>
                <a:cubicBezTo>
                  <a:pt x="918" y="0"/>
                  <a:pt x="918" y="0"/>
                  <a:pt x="918" y="0"/>
                </a:cubicBezTo>
                <a:cubicBezTo>
                  <a:pt x="1633" y="359"/>
                  <a:pt x="1633" y="359"/>
                  <a:pt x="1633" y="359"/>
                </a:cubicBezTo>
                <a:cubicBezTo>
                  <a:pt x="1453" y="717"/>
                  <a:pt x="1453" y="717"/>
                  <a:pt x="1453" y="717"/>
                </a:cubicBezTo>
                <a:cubicBezTo>
                  <a:pt x="1450" y="724"/>
                  <a:pt x="1282" y="1059"/>
                  <a:pt x="1118" y="1478"/>
                </a:cubicBezTo>
                <a:cubicBezTo>
                  <a:pt x="913" y="2001"/>
                  <a:pt x="800" y="2434"/>
                  <a:pt x="800" y="2697"/>
                </a:cubicBezTo>
                <a:cubicBezTo>
                  <a:pt x="800" y="2960"/>
                  <a:pt x="912" y="3393"/>
                  <a:pt x="1116" y="3916"/>
                </a:cubicBezTo>
                <a:cubicBezTo>
                  <a:pt x="1277" y="4329"/>
                  <a:pt x="1441" y="4660"/>
                  <a:pt x="1449" y="4677"/>
                </a:cubicBezTo>
                <a:cubicBezTo>
                  <a:pt x="1458" y="4695"/>
                  <a:pt x="1634" y="5047"/>
                  <a:pt x="1812" y="5500"/>
                </a:cubicBezTo>
                <a:cubicBezTo>
                  <a:pt x="2062" y="6134"/>
                  <a:pt x="2188" y="6645"/>
                  <a:pt x="2188" y="7017"/>
                </a:cubicBezTo>
                <a:cubicBezTo>
                  <a:pt x="2188" y="7389"/>
                  <a:pt x="2062" y="7899"/>
                  <a:pt x="1815" y="8534"/>
                </a:cubicBezTo>
                <a:cubicBezTo>
                  <a:pt x="1637" y="8988"/>
                  <a:pt x="1461" y="9341"/>
                  <a:pt x="1454" y="9356"/>
                </a:cubicBezTo>
                <a:cubicBezTo>
                  <a:pt x="1453" y="9357"/>
                  <a:pt x="1453" y="9357"/>
                  <a:pt x="1453" y="9357"/>
                </a:cubicBezTo>
                <a:cubicBezTo>
                  <a:pt x="1452" y="9360"/>
                  <a:pt x="1283" y="9697"/>
                  <a:pt x="1118" y="10118"/>
                </a:cubicBezTo>
                <a:cubicBezTo>
                  <a:pt x="913" y="10641"/>
                  <a:pt x="800" y="11074"/>
                  <a:pt x="800" y="11337"/>
                </a:cubicBezTo>
                <a:cubicBezTo>
                  <a:pt x="800" y="11600"/>
                  <a:pt x="912" y="12033"/>
                  <a:pt x="1116" y="12556"/>
                </a:cubicBezTo>
                <a:cubicBezTo>
                  <a:pt x="1281" y="12978"/>
                  <a:pt x="1448" y="13315"/>
                  <a:pt x="1450" y="13318"/>
                </a:cubicBezTo>
                <a:cubicBezTo>
                  <a:pt x="1628" y="13676"/>
                  <a:pt x="1628" y="13676"/>
                  <a:pt x="1628" y="13676"/>
                </a:cubicBezTo>
                <a:lnTo>
                  <a:pt x="913" y="14034"/>
                </a:lnTo>
                <a:close/>
              </a:path>
            </a:pathLst>
          </a:custGeom>
          <a:solidFill>
            <a:schemeClr val="accent6">
              <a:alpha val="88000"/>
            </a:schemeClr>
          </a:solidFill>
          <a:ln>
            <a:noFill/>
          </a:ln>
          <a:effectLst>
            <a:outerShdw blurRad="1003300" dist="38100" dir="10800000" algn="r" rotWithShape="0">
              <a:schemeClr val="accent1">
                <a:lumMod val="75000"/>
                <a:alpha val="46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Flowchart: Process 16">
            <a:extLst>
              <a:ext uri="{FF2B5EF4-FFF2-40B4-BE49-F238E27FC236}">
                <a16:creationId xmlns:a16="http://schemas.microsoft.com/office/drawing/2014/main" id="{409CB482-82E0-487A-B73A-83A96AB99161}"/>
              </a:ext>
            </a:extLst>
          </p:cNvPr>
          <p:cNvSpPr/>
          <p:nvPr/>
        </p:nvSpPr>
        <p:spPr>
          <a:xfrm>
            <a:off x="12193588" y="0"/>
            <a:ext cx="12193587" cy="13716000"/>
          </a:xfrm>
          <a:prstGeom prst="flowChartProcess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Freeform 5">
            <a:extLst>
              <a:ext uri="{FF2B5EF4-FFF2-40B4-BE49-F238E27FC236}">
                <a16:creationId xmlns:a16="http://schemas.microsoft.com/office/drawing/2014/main" id="{7C34A74E-EA1C-4CBF-AF6E-0F5C791AB43D}"/>
              </a:ext>
            </a:extLst>
          </p:cNvPr>
          <p:cNvSpPr>
            <a:spLocks noEditPoints="1"/>
          </p:cNvSpPr>
          <p:nvPr/>
        </p:nvSpPr>
        <p:spPr bwMode="auto">
          <a:xfrm>
            <a:off x="0" y="3175"/>
            <a:ext cx="12312650" cy="13716000"/>
          </a:xfrm>
          <a:custGeom>
            <a:avLst/>
            <a:gdLst>
              <a:gd name="T0" fmla="*/ 0 w 3840"/>
              <a:gd name="T1" fmla="*/ 0 h 4320"/>
              <a:gd name="T2" fmla="*/ 0 w 3840"/>
              <a:gd name="T3" fmla="*/ 4320 h 4320"/>
              <a:gd name="T4" fmla="*/ 3840 w 3840"/>
              <a:gd name="T5" fmla="*/ 4320 h 4320"/>
              <a:gd name="T6" fmla="*/ 3840 w 3840"/>
              <a:gd name="T7" fmla="*/ 0 h 4320"/>
              <a:gd name="T8" fmla="*/ 0 w 3840"/>
              <a:gd name="T9" fmla="*/ 0 h 4320"/>
              <a:gd name="T10" fmla="*/ 2921 w 3840"/>
              <a:gd name="T11" fmla="*/ 3574 h 4320"/>
              <a:gd name="T12" fmla="*/ 977 w 3840"/>
              <a:gd name="T13" fmla="*/ 3574 h 4320"/>
              <a:gd name="T14" fmla="*/ 977 w 3840"/>
              <a:gd name="T15" fmla="*/ 3153 h 4320"/>
              <a:gd name="T16" fmla="*/ 1873 w 3840"/>
              <a:gd name="T17" fmla="*/ 2211 h 4320"/>
              <a:gd name="T18" fmla="*/ 2204 w 3840"/>
              <a:gd name="T19" fmla="*/ 1612 h 4320"/>
              <a:gd name="T20" fmla="*/ 2125 w 3840"/>
              <a:gd name="T21" fmla="*/ 1338 h 4320"/>
              <a:gd name="T22" fmla="*/ 1897 w 3840"/>
              <a:gd name="T23" fmla="*/ 1245 h 4320"/>
              <a:gd name="T24" fmla="*/ 1658 w 3840"/>
              <a:gd name="T25" fmla="*/ 1370 h 4320"/>
              <a:gd name="T26" fmla="*/ 1566 w 3840"/>
              <a:gd name="T27" fmla="*/ 1683 h 4320"/>
              <a:gd name="T28" fmla="*/ 920 w 3840"/>
              <a:gd name="T29" fmla="*/ 1683 h 4320"/>
              <a:gd name="T30" fmla="*/ 1048 w 3840"/>
              <a:gd name="T31" fmla="*/ 1209 h 4320"/>
              <a:gd name="T32" fmla="*/ 1404 w 3840"/>
              <a:gd name="T33" fmla="*/ 870 h 4320"/>
              <a:gd name="T34" fmla="*/ 1913 w 3840"/>
              <a:gd name="T35" fmla="*/ 747 h 4320"/>
              <a:gd name="T36" fmla="*/ 2608 w 3840"/>
              <a:gd name="T37" fmla="*/ 956 h 4320"/>
              <a:gd name="T38" fmla="*/ 2852 w 3840"/>
              <a:gd name="T39" fmla="*/ 1555 h 4320"/>
              <a:gd name="T40" fmla="*/ 2791 w 3840"/>
              <a:gd name="T41" fmla="*/ 1875 h 4320"/>
              <a:gd name="T42" fmla="*/ 2601 w 3840"/>
              <a:gd name="T43" fmla="*/ 2202 h 4320"/>
              <a:gd name="T44" fmla="*/ 2184 w 3840"/>
              <a:gd name="T45" fmla="*/ 2661 h 4320"/>
              <a:gd name="T46" fmla="*/ 1825 w 3840"/>
              <a:gd name="T47" fmla="*/ 3076 h 4320"/>
              <a:gd name="T48" fmla="*/ 2921 w 3840"/>
              <a:gd name="T49" fmla="*/ 3076 h 4320"/>
              <a:gd name="T50" fmla="*/ 2921 w 3840"/>
              <a:gd name="T51" fmla="*/ 3574 h 4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840" h="4320">
                <a:moveTo>
                  <a:pt x="0" y="0"/>
                </a:moveTo>
                <a:cubicBezTo>
                  <a:pt x="0" y="4320"/>
                  <a:pt x="0" y="4320"/>
                  <a:pt x="0" y="4320"/>
                </a:cubicBezTo>
                <a:cubicBezTo>
                  <a:pt x="3840" y="4320"/>
                  <a:pt x="3840" y="4320"/>
                  <a:pt x="3840" y="4320"/>
                </a:cubicBezTo>
                <a:cubicBezTo>
                  <a:pt x="3840" y="0"/>
                  <a:pt x="3840" y="0"/>
                  <a:pt x="3840" y="0"/>
                </a:cubicBezTo>
                <a:lnTo>
                  <a:pt x="0" y="0"/>
                </a:lnTo>
                <a:close/>
                <a:moveTo>
                  <a:pt x="2921" y="3574"/>
                </a:moveTo>
                <a:cubicBezTo>
                  <a:pt x="977" y="3574"/>
                  <a:pt x="977" y="3574"/>
                  <a:pt x="977" y="3574"/>
                </a:cubicBezTo>
                <a:cubicBezTo>
                  <a:pt x="977" y="3153"/>
                  <a:pt x="977" y="3153"/>
                  <a:pt x="977" y="3153"/>
                </a:cubicBezTo>
                <a:cubicBezTo>
                  <a:pt x="1873" y="2211"/>
                  <a:pt x="1873" y="2211"/>
                  <a:pt x="1873" y="2211"/>
                </a:cubicBezTo>
                <a:cubicBezTo>
                  <a:pt x="2093" y="1960"/>
                  <a:pt x="2204" y="1760"/>
                  <a:pt x="2204" y="1612"/>
                </a:cubicBezTo>
                <a:cubicBezTo>
                  <a:pt x="2204" y="1492"/>
                  <a:pt x="2177" y="1401"/>
                  <a:pt x="2125" y="1338"/>
                </a:cubicBezTo>
                <a:cubicBezTo>
                  <a:pt x="2073" y="1276"/>
                  <a:pt x="1997" y="1245"/>
                  <a:pt x="1897" y="1245"/>
                </a:cubicBezTo>
                <a:cubicBezTo>
                  <a:pt x="1799" y="1245"/>
                  <a:pt x="1719" y="1286"/>
                  <a:pt x="1658" y="1370"/>
                </a:cubicBezTo>
                <a:cubicBezTo>
                  <a:pt x="1597" y="1454"/>
                  <a:pt x="1566" y="1558"/>
                  <a:pt x="1566" y="1683"/>
                </a:cubicBezTo>
                <a:cubicBezTo>
                  <a:pt x="920" y="1683"/>
                  <a:pt x="920" y="1683"/>
                  <a:pt x="920" y="1683"/>
                </a:cubicBezTo>
                <a:cubicBezTo>
                  <a:pt x="920" y="1512"/>
                  <a:pt x="962" y="1354"/>
                  <a:pt x="1048" y="1209"/>
                </a:cubicBezTo>
                <a:cubicBezTo>
                  <a:pt x="1133" y="1065"/>
                  <a:pt x="1252" y="951"/>
                  <a:pt x="1404" y="870"/>
                </a:cubicBezTo>
                <a:cubicBezTo>
                  <a:pt x="1556" y="788"/>
                  <a:pt x="1725" y="747"/>
                  <a:pt x="1913" y="747"/>
                </a:cubicBezTo>
                <a:cubicBezTo>
                  <a:pt x="2214" y="747"/>
                  <a:pt x="2446" y="817"/>
                  <a:pt x="2608" y="956"/>
                </a:cubicBezTo>
                <a:cubicBezTo>
                  <a:pt x="2771" y="1095"/>
                  <a:pt x="2852" y="1294"/>
                  <a:pt x="2852" y="1555"/>
                </a:cubicBezTo>
                <a:cubicBezTo>
                  <a:pt x="2852" y="1664"/>
                  <a:pt x="2832" y="1771"/>
                  <a:pt x="2791" y="1875"/>
                </a:cubicBezTo>
                <a:cubicBezTo>
                  <a:pt x="2750" y="1979"/>
                  <a:pt x="2687" y="2088"/>
                  <a:pt x="2601" y="2202"/>
                </a:cubicBezTo>
                <a:cubicBezTo>
                  <a:pt x="2515" y="2317"/>
                  <a:pt x="2376" y="2469"/>
                  <a:pt x="2184" y="2661"/>
                </a:cubicBezTo>
                <a:cubicBezTo>
                  <a:pt x="1825" y="3076"/>
                  <a:pt x="1825" y="3076"/>
                  <a:pt x="1825" y="3076"/>
                </a:cubicBezTo>
                <a:cubicBezTo>
                  <a:pt x="2921" y="3076"/>
                  <a:pt x="2921" y="3076"/>
                  <a:pt x="2921" y="3076"/>
                </a:cubicBezTo>
                <a:lnTo>
                  <a:pt x="2921" y="357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E9EE982-C84D-4AA0-9B2E-714F462DDEAA}"/>
              </a:ext>
            </a:extLst>
          </p:cNvPr>
          <p:cNvSpPr txBox="1"/>
          <p:nvPr/>
        </p:nvSpPr>
        <p:spPr>
          <a:xfrm>
            <a:off x="13975893" y="5334506"/>
            <a:ext cx="6742470" cy="6001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dirty="0">
                <a:latin typeface="FUTURA MEDIUM BT" panose="020B0602020204020303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This severely undermines paid competitors like </a:t>
            </a:r>
            <a:r>
              <a:rPr lang="en-US" sz="4800" dirty="0" err="1">
                <a:latin typeface="FUTURA MEDIUM BT" panose="020B0602020204020303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NordVPN</a:t>
            </a:r>
            <a:r>
              <a:rPr lang="en-US" sz="4800" dirty="0">
                <a:latin typeface="FUTURA MEDIUM BT" panose="020B0602020204020303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, who fundamentally lack infrastructure for a </a:t>
            </a:r>
            <a:r>
              <a:rPr lang="en-US" sz="4800" dirty="0" err="1">
                <a:latin typeface="FUTURA MEDIUM BT" panose="020B0602020204020303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dVPN</a:t>
            </a:r>
            <a:r>
              <a:rPr lang="en-US" sz="4800" dirty="0">
                <a:latin typeface="FUTURA MEDIUM BT" panose="020B0602020204020303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 and services like Atlas.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BA30290-D0E5-AFFB-0072-4ACC79295E81}"/>
              </a:ext>
            </a:extLst>
          </p:cNvPr>
          <p:cNvSpPr/>
          <p:nvPr/>
        </p:nvSpPr>
        <p:spPr>
          <a:xfrm>
            <a:off x="16883339" y="3492396"/>
            <a:ext cx="1684714" cy="21454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B2042B5-ACF5-DB8C-755D-CB99934F50BC}"/>
              </a:ext>
            </a:extLst>
          </p:cNvPr>
          <p:cNvSpPr txBox="1"/>
          <p:nvPr/>
        </p:nvSpPr>
        <p:spPr>
          <a:xfrm>
            <a:off x="15485008" y="2747863"/>
            <a:ext cx="64817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>
                <a:effectLst/>
                <a:latin typeface="FUTURA MEDIUM BT" panose="020B0602020204020303" pitchFamily="34" charset="0"/>
              </a:rPr>
              <a:t>Why We Beat The Competition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E78DE10B-F754-41C8-74CB-5110348AA99B}"/>
              </a:ext>
            </a:extLst>
          </p:cNvPr>
          <p:cNvSpPr txBox="1">
            <a:spLocks/>
          </p:cNvSpPr>
          <p:nvPr/>
        </p:nvSpPr>
        <p:spPr>
          <a:xfrm>
            <a:off x="23408916" y="8877743"/>
            <a:ext cx="324565" cy="582761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2400" b="1" smtClean="0">
                <a:solidFill>
                  <a:schemeClr val="tx1"/>
                </a:solidFill>
                <a:latin typeface="+mj-lt"/>
              </a:rPr>
              <a:pPr algn="ctr"/>
              <a:t>17</a:t>
            </a:fld>
            <a:endParaRPr lang="en-US" sz="1400" b="1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D8B30B1E-FD99-650E-70A8-7E4C382B174D}"/>
              </a:ext>
            </a:extLst>
          </p:cNvPr>
          <p:cNvGrpSpPr/>
          <p:nvPr/>
        </p:nvGrpSpPr>
        <p:grpSpPr>
          <a:xfrm>
            <a:off x="23332870" y="446240"/>
            <a:ext cx="476655" cy="337457"/>
            <a:chOff x="6167336" y="2130357"/>
            <a:chExt cx="476655" cy="337457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0545B9F-21A7-234D-8F1A-85EFB44AA793}"/>
                </a:ext>
              </a:extLst>
            </p:cNvPr>
            <p:cNvCxnSpPr/>
            <p:nvPr userDrawn="1"/>
          </p:nvCxnSpPr>
          <p:spPr>
            <a:xfrm>
              <a:off x="6167336" y="2130357"/>
              <a:ext cx="476655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A4E97EB-4A99-6C7B-1C66-2D865D741622}"/>
                </a:ext>
              </a:extLst>
            </p:cNvPr>
            <p:cNvCxnSpPr/>
            <p:nvPr userDrawn="1"/>
          </p:nvCxnSpPr>
          <p:spPr>
            <a:xfrm>
              <a:off x="6167336" y="2299086"/>
              <a:ext cx="476655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EE20665B-0AD3-0A8E-4AD5-AA106CD1CD04}"/>
                </a:ext>
              </a:extLst>
            </p:cNvPr>
            <p:cNvCxnSpPr/>
            <p:nvPr userDrawn="1"/>
          </p:nvCxnSpPr>
          <p:spPr>
            <a:xfrm>
              <a:off x="6167336" y="2467814"/>
              <a:ext cx="476655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32D02D68-9E76-4704-BFDE-592698FB3A32}"/>
              </a:ext>
            </a:extLst>
          </p:cNvPr>
          <p:cNvGrpSpPr/>
          <p:nvPr/>
        </p:nvGrpSpPr>
        <p:grpSpPr>
          <a:xfrm>
            <a:off x="23519785" y="12234167"/>
            <a:ext cx="102824" cy="698136"/>
            <a:chOff x="729638" y="739163"/>
            <a:chExt cx="102824" cy="698136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63FE969A-1948-C3DA-8F1C-658F4B78C6C3}"/>
                </a:ext>
              </a:extLst>
            </p:cNvPr>
            <p:cNvSpPr/>
            <p:nvPr userDrawn="1"/>
          </p:nvSpPr>
          <p:spPr>
            <a:xfrm>
              <a:off x="729638" y="739163"/>
              <a:ext cx="102824" cy="10282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9E66EACF-81AD-719B-506A-D053DD9AF693}"/>
                </a:ext>
              </a:extLst>
            </p:cNvPr>
            <p:cNvSpPr/>
            <p:nvPr userDrawn="1"/>
          </p:nvSpPr>
          <p:spPr>
            <a:xfrm>
              <a:off x="729638" y="1036819"/>
              <a:ext cx="102824" cy="10282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05E9B1CA-6F61-906B-19FD-14908274BCF0}"/>
                </a:ext>
              </a:extLst>
            </p:cNvPr>
            <p:cNvSpPr/>
            <p:nvPr userDrawn="1"/>
          </p:nvSpPr>
          <p:spPr>
            <a:xfrm>
              <a:off x="729638" y="1334475"/>
              <a:ext cx="102824" cy="10282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7" name="Graphic 29">
            <a:extLst>
              <a:ext uri="{FF2B5EF4-FFF2-40B4-BE49-F238E27FC236}">
                <a16:creationId xmlns:a16="http://schemas.microsoft.com/office/drawing/2014/main" id="{12F3D2E2-6237-62E6-B7DE-29D00460880F}"/>
              </a:ext>
            </a:extLst>
          </p:cNvPr>
          <p:cNvGrpSpPr/>
          <p:nvPr/>
        </p:nvGrpSpPr>
        <p:grpSpPr>
          <a:xfrm>
            <a:off x="631422" y="446240"/>
            <a:ext cx="589131" cy="1104816"/>
            <a:chOff x="1502100" y="653619"/>
            <a:chExt cx="2035484" cy="3817207"/>
          </a:xfrm>
          <a:solidFill>
            <a:schemeClr val="tx1"/>
          </a:solidFill>
        </p:grpSpPr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13152F52-3DF0-77CF-5A1B-EC275336C8C0}"/>
                </a:ext>
              </a:extLst>
            </p:cNvPr>
            <p:cNvSpPr/>
            <p:nvPr/>
          </p:nvSpPr>
          <p:spPr>
            <a:xfrm>
              <a:off x="1502100" y="653619"/>
              <a:ext cx="2035484" cy="3817207"/>
            </a:xfrm>
            <a:custGeom>
              <a:avLst/>
              <a:gdLst>
                <a:gd name="connsiteX0" fmla="*/ 1775452 w 2035484"/>
                <a:gd name="connsiteY0" fmla="*/ 2695942 h 3817207"/>
                <a:gd name="connsiteX1" fmla="*/ 1556377 w 2035484"/>
                <a:gd name="connsiteY1" fmla="*/ 2695942 h 3817207"/>
                <a:gd name="connsiteX2" fmla="*/ 1516372 w 2035484"/>
                <a:gd name="connsiteY2" fmla="*/ 2664509 h 3817207"/>
                <a:gd name="connsiteX3" fmla="*/ 1423027 w 2035484"/>
                <a:gd name="connsiteY3" fmla="*/ 2477819 h 3817207"/>
                <a:gd name="connsiteX4" fmla="*/ 1031549 w 2035484"/>
                <a:gd name="connsiteY4" fmla="*/ 2283509 h 3817207"/>
                <a:gd name="connsiteX5" fmla="*/ 508627 w 2035484"/>
                <a:gd name="connsiteY5" fmla="*/ 2785477 h 3817207"/>
                <a:gd name="connsiteX6" fmla="*/ 1010594 w 2035484"/>
                <a:gd name="connsiteY6" fmla="*/ 3308399 h 3817207"/>
                <a:gd name="connsiteX7" fmla="*/ 1515419 w 2035484"/>
                <a:gd name="connsiteY7" fmla="*/ 2931209 h 3817207"/>
                <a:gd name="connsiteX8" fmla="*/ 1518277 w 2035484"/>
                <a:gd name="connsiteY8" fmla="*/ 2917874 h 3817207"/>
                <a:gd name="connsiteX9" fmla="*/ 1546852 w 2035484"/>
                <a:gd name="connsiteY9" fmla="*/ 2895967 h 3817207"/>
                <a:gd name="connsiteX10" fmla="*/ 1985955 w 2035484"/>
                <a:gd name="connsiteY10" fmla="*/ 2895967 h 3817207"/>
                <a:gd name="connsiteX11" fmla="*/ 2022149 w 2035484"/>
                <a:gd name="connsiteY11" fmla="*/ 2895967 h 3817207"/>
                <a:gd name="connsiteX12" fmla="*/ 2035484 w 2035484"/>
                <a:gd name="connsiteY12" fmla="*/ 2909302 h 3817207"/>
                <a:gd name="connsiteX13" fmla="*/ 2035484 w 2035484"/>
                <a:gd name="connsiteY13" fmla="*/ 2912159 h 3817207"/>
                <a:gd name="connsiteX14" fmla="*/ 2033580 w 2035484"/>
                <a:gd name="connsiteY14" fmla="*/ 2935019 h 3817207"/>
                <a:gd name="connsiteX15" fmla="*/ 1294440 w 2035484"/>
                <a:gd name="connsiteY15" fmla="*/ 3779887 h 3817207"/>
                <a:gd name="connsiteX16" fmla="*/ 37139 w 2035484"/>
                <a:gd name="connsiteY16" fmla="*/ 3068369 h 3817207"/>
                <a:gd name="connsiteX17" fmla="*/ 65714 w 2035484"/>
                <a:gd name="connsiteY17" fmla="*/ 2434004 h 3817207"/>
                <a:gd name="connsiteX18" fmla="*/ 315269 w 2035484"/>
                <a:gd name="connsiteY18" fmla="*/ 1756777 h 3817207"/>
                <a:gd name="connsiteX19" fmla="*/ 944872 w 2035484"/>
                <a:gd name="connsiteY19" fmla="*/ 42277 h 3817207"/>
                <a:gd name="connsiteX20" fmla="*/ 1009642 w 2035484"/>
                <a:gd name="connsiteY20" fmla="*/ 20369 h 3817207"/>
                <a:gd name="connsiteX21" fmla="*/ 1340159 w 2035484"/>
                <a:gd name="connsiteY21" fmla="*/ 531862 h 3817207"/>
                <a:gd name="connsiteX22" fmla="*/ 1266817 w 2035484"/>
                <a:gd name="connsiteY22" fmla="*/ 1033829 h 3817207"/>
                <a:gd name="connsiteX23" fmla="*/ 929632 w 2035484"/>
                <a:gd name="connsiteY23" fmla="*/ 1708199 h 3817207"/>
                <a:gd name="connsiteX24" fmla="*/ 906772 w 2035484"/>
                <a:gd name="connsiteY24" fmla="*/ 1752967 h 3817207"/>
                <a:gd name="connsiteX25" fmla="*/ 923917 w 2035484"/>
                <a:gd name="connsiteY25" fmla="*/ 1779637 h 3817207"/>
                <a:gd name="connsiteX26" fmla="*/ 1038217 w 2035484"/>
                <a:gd name="connsiteY26" fmla="*/ 1776779 h 3817207"/>
                <a:gd name="connsiteX27" fmla="*/ 1658294 w 2035484"/>
                <a:gd name="connsiteY27" fmla="*/ 1999664 h 3817207"/>
                <a:gd name="connsiteX28" fmla="*/ 2023102 w 2035484"/>
                <a:gd name="connsiteY28" fmla="*/ 2599739 h 3817207"/>
                <a:gd name="connsiteX29" fmla="*/ 2034532 w 2035484"/>
                <a:gd name="connsiteY29" fmla="*/ 2672129 h 3817207"/>
                <a:gd name="connsiteX30" fmla="*/ 2013577 w 2035484"/>
                <a:gd name="connsiteY30" fmla="*/ 2697847 h 3817207"/>
                <a:gd name="connsiteX31" fmla="*/ 1774499 w 2035484"/>
                <a:gd name="connsiteY31" fmla="*/ 2697847 h 3817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035484" h="3817207">
                  <a:moveTo>
                    <a:pt x="1775452" y="2695942"/>
                  </a:moveTo>
                  <a:lnTo>
                    <a:pt x="1556377" y="2695942"/>
                  </a:lnTo>
                  <a:cubicBezTo>
                    <a:pt x="1525897" y="2695942"/>
                    <a:pt x="1524944" y="2695942"/>
                    <a:pt x="1516372" y="2664509"/>
                  </a:cubicBezTo>
                  <a:cubicBezTo>
                    <a:pt x="1499227" y="2595929"/>
                    <a:pt x="1466842" y="2533064"/>
                    <a:pt x="1423027" y="2477819"/>
                  </a:cubicBezTo>
                  <a:cubicBezTo>
                    <a:pt x="1322062" y="2353994"/>
                    <a:pt x="1191569" y="2287319"/>
                    <a:pt x="1031549" y="2283509"/>
                  </a:cubicBezTo>
                  <a:cubicBezTo>
                    <a:pt x="748657" y="2277794"/>
                    <a:pt x="514342" y="2502584"/>
                    <a:pt x="508627" y="2785477"/>
                  </a:cubicBezTo>
                  <a:cubicBezTo>
                    <a:pt x="502912" y="3068369"/>
                    <a:pt x="727702" y="3302684"/>
                    <a:pt x="1010594" y="3308399"/>
                  </a:cubicBezTo>
                  <a:cubicBezTo>
                    <a:pt x="1244909" y="3313162"/>
                    <a:pt x="1453507" y="3157904"/>
                    <a:pt x="1515419" y="2931209"/>
                  </a:cubicBezTo>
                  <a:cubicBezTo>
                    <a:pt x="1516372" y="2926447"/>
                    <a:pt x="1517324" y="2922637"/>
                    <a:pt x="1518277" y="2917874"/>
                  </a:cubicBezTo>
                  <a:cubicBezTo>
                    <a:pt x="1523992" y="2897872"/>
                    <a:pt x="1525897" y="2895967"/>
                    <a:pt x="1546852" y="2895967"/>
                  </a:cubicBezTo>
                  <a:lnTo>
                    <a:pt x="1985955" y="2895967"/>
                  </a:lnTo>
                  <a:cubicBezTo>
                    <a:pt x="1998337" y="2895967"/>
                    <a:pt x="2009767" y="2895967"/>
                    <a:pt x="2022149" y="2895967"/>
                  </a:cubicBezTo>
                  <a:cubicBezTo>
                    <a:pt x="2029769" y="2895967"/>
                    <a:pt x="2035484" y="2901682"/>
                    <a:pt x="2035484" y="2909302"/>
                  </a:cubicBezTo>
                  <a:cubicBezTo>
                    <a:pt x="2035484" y="2909302"/>
                    <a:pt x="2035484" y="2911207"/>
                    <a:pt x="2035484" y="2912159"/>
                  </a:cubicBezTo>
                  <a:cubicBezTo>
                    <a:pt x="2035484" y="2919779"/>
                    <a:pt x="2035484" y="2927399"/>
                    <a:pt x="2033580" y="2935019"/>
                  </a:cubicBezTo>
                  <a:cubicBezTo>
                    <a:pt x="1976430" y="3339832"/>
                    <a:pt x="1688774" y="3672254"/>
                    <a:pt x="1294440" y="3779887"/>
                  </a:cubicBezTo>
                  <a:cubicBezTo>
                    <a:pt x="750562" y="3930382"/>
                    <a:pt x="187634" y="3612247"/>
                    <a:pt x="37139" y="3068369"/>
                  </a:cubicBezTo>
                  <a:cubicBezTo>
                    <a:pt x="-20963" y="2858819"/>
                    <a:pt x="-10486" y="2636887"/>
                    <a:pt x="65714" y="2434004"/>
                  </a:cubicBezTo>
                  <a:cubicBezTo>
                    <a:pt x="148582" y="2208262"/>
                    <a:pt x="232402" y="1982519"/>
                    <a:pt x="315269" y="1756777"/>
                  </a:cubicBezTo>
                  <a:cubicBezTo>
                    <a:pt x="524819" y="1185277"/>
                    <a:pt x="735322" y="613777"/>
                    <a:pt x="944872" y="42277"/>
                  </a:cubicBezTo>
                  <a:cubicBezTo>
                    <a:pt x="963922" y="-9158"/>
                    <a:pt x="965827" y="-10111"/>
                    <a:pt x="1009642" y="20369"/>
                  </a:cubicBezTo>
                  <a:cubicBezTo>
                    <a:pt x="1189665" y="146099"/>
                    <a:pt x="1301107" y="316597"/>
                    <a:pt x="1340159" y="531862"/>
                  </a:cubicBezTo>
                  <a:cubicBezTo>
                    <a:pt x="1372544" y="702359"/>
                    <a:pt x="1346827" y="879524"/>
                    <a:pt x="1266817" y="1033829"/>
                  </a:cubicBezTo>
                  <a:cubicBezTo>
                    <a:pt x="1154422" y="1258619"/>
                    <a:pt x="1041074" y="1483409"/>
                    <a:pt x="929632" y="1708199"/>
                  </a:cubicBezTo>
                  <a:cubicBezTo>
                    <a:pt x="922012" y="1723439"/>
                    <a:pt x="914392" y="1737727"/>
                    <a:pt x="906772" y="1752967"/>
                  </a:cubicBezTo>
                  <a:cubicBezTo>
                    <a:pt x="897247" y="1774874"/>
                    <a:pt x="901057" y="1780589"/>
                    <a:pt x="923917" y="1779637"/>
                  </a:cubicBezTo>
                  <a:cubicBezTo>
                    <a:pt x="962017" y="1778684"/>
                    <a:pt x="1000117" y="1775827"/>
                    <a:pt x="1038217" y="1776779"/>
                  </a:cubicBezTo>
                  <a:cubicBezTo>
                    <a:pt x="1263959" y="1778684"/>
                    <a:pt x="1483034" y="1856789"/>
                    <a:pt x="1658294" y="1999664"/>
                  </a:cubicBezTo>
                  <a:cubicBezTo>
                    <a:pt x="1852605" y="2154922"/>
                    <a:pt x="1972619" y="2356852"/>
                    <a:pt x="2023102" y="2599739"/>
                  </a:cubicBezTo>
                  <a:cubicBezTo>
                    <a:pt x="2027865" y="2623552"/>
                    <a:pt x="2031674" y="2647364"/>
                    <a:pt x="2034532" y="2672129"/>
                  </a:cubicBezTo>
                  <a:cubicBezTo>
                    <a:pt x="2037390" y="2692132"/>
                    <a:pt x="2032627" y="2696894"/>
                    <a:pt x="2013577" y="2697847"/>
                  </a:cubicBezTo>
                  <a:lnTo>
                    <a:pt x="1774499" y="269784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2E16866B-FFCB-704F-4AB9-D8B6CF61AA69}"/>
                </a:ext>
              </a:extLst>
            </p:cNvPr>
            <p:cNvSpPr/>
            <p:nvPr/>
          </p:nvSpPr>
          <p:spPr>
            <a:xfrm>
              <a:off x="1503045" y="1064002"/>
              <a:ext cx="291914" cy="1722631"/>
            </a:xfrm>
            <a:custGeom>
              <a:avLst/>
              <a:gdLst>
                <a:gd name="connsiteX0" fmla="*/ 952 w 291914"/>
                <a:gd name="connsiteY0" fmla="*/ 1722632 h 1722631"/>
                <a:gd name="connsiteX1" fmla="*/ 952 w 291914"/>
                <a:gd name="connsiteY1" fmla="*/ 1374969 h 1722631"/>
                <a:gd name="connsiteX2" fmla="*/ 952 w 291914"/>
                <a:gd name="connsiteY2" fmla="*/ 1342584 h 1722631"/>
                <a:gd name="connsiteX3" fmla="*/ 3810 w 291914"/>
                <a:gd name="connsiteY3" fmla="*/ 465331 h 1722631"/>
                <a:gd name="connsiteX4" fmla="*/ 3810 w 291914"/>
                <a:gd name="connsiteY4" fmla="*/ 40516 h 1722631"/>
                <a:gd name="connsiteX5" fmla="*/ 48577 w 291914"/>
                <a:gd name="connsiteY5" fmla="*/ 4321 h 1722631"/>
                <a:gd name="connsiteX6" fmla="*/ 271463 w 291914"/>
                <a:gd name="connsiteY6" fmla="*/ 96714 h 1722631"/>
                <a:gd name="connsiteX7" fmla="*/ 290513 w 291914"/>
                <a:gd name="connsiteY7" fmla="*/ 136719 h 1722631"/>
                <a:gd name="connsiteX8" fmla="*/ 211455 w 291914"/>
                <a:gd name="connsiteY8" fmla="*/ 576774 h 1722631"/>
                <a:gd name="connsiteX9" fmla="*/ 122872 w 291914"/>
                <a:gd name="connsiteY9" fmla="*/ 1071122 h 1722631"/>
                <a:gd name="connsiteX10" fmla="*/ 16192 w 291914"/>
                <a:gd name="connsiteY10" fmla="*/ 1664529 h 1722631"/>
                <a:gd name="connsiteX11" fmla="*/ 0 w 291914"/>
                <a:gd name="connsiteY11" fmla="*/ 1720726 h 1722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1914" h="1722631">
                  <a:moveTo>
                    <a:pt x="952" y="1722632"/>
                  </a:moveTo>
                  <a:lnTo>
                    <a:pt x="952" y="1374969"/>
                  </a:lnTo>
                  <a:cubicBezTo>
                    <a:pt x="952" y="1364491"/>
                    <a:pt x="952" y="1354014"/>
                    <a:pt x="952" y="1342584"/>
                  </a:cubicBezTo>
                  <a:cubicBezTo>
                    <a:pt x="1905" y="1050166"/>
                    <a:pt x="2858" y="757749"/>
                    <a:pt x="3810" y="465331"/>
                  </a:cubicBezTo>
                  <a:cubicBezTo>
                    <a:pt x="3810" y="323409"/>
                    <a:pt x="3810" y="182439"/>
                    <a:pt x="3810" y="40516"/>
                  </a:cubicBezTo>
                  <a:cubicBezTo>
                    <a:pt x="3810" y="-1394"/>
                    <a:pt x="8572" y="-5204"/>
                    <a:pt x="48577" y="4321"/>
                  </a:cubicBezTo>
                  <a:cubicBezTo>
                    <a:pt x="126683" y="24324"/>
                    <a:pt x="201930" y="54804"/>
                    <a:pt x="271463" y="96714"/>
                  </a:cubicBezTo>
                  <a:cubicBezTo>
                    <a:pt x="287655" y="103381"/>
                    <a:pt x="295275" y="120527"/>
                    <a:pt x="290513" y="136719"/>
                  </a:cubicBezTo>
                  <a:cubicBezTo>
                    <a:pt x="262890" y="283404"/>
                    <a:pt x="238125" y="430089"/>
                    <a:pt x="211455" y="576774"/>
                  </a:cubicBezTo>
                  <a:cubicBezTo>
                    <a:pt x="181927" y="741557"/>
                    <a:pt x="152400" y="906339"/>
                    <a:pt x="122872" y="1071122"/>
                  </a:cubicBezTo>
                  <a:cubicBezTo>
                    <a:pt x="87630" y="1269241"/>
                    <a:pt x="51435" y="1466409"/>
                    <a:pt x="16192" y="1664529"/>
                  </a:cubicBezTo>
                  <a:cubicBezTo>
                    <a:pt x="12383" y="1681674"/>
                    <a:pt x="10477" y="1692151"/>
                    <a:pt x="0" y="17207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4CCBC0B1-6701-ED49-592A-80A219E586AD}"/>
                </a:ext>
              </a:extLst>
            </p:cNvPr>
            <p:cNvSpPr/>
            <p:nvPr/>
          </p:nvSpPr>
          <p:spPr>
            <a:xfrm>
              <a:off x="1683067" y="817105"/>
              <a:ext cx="541936" cy="1609483"/>
            </a:xfrm>
            <a:custGeom>
              <a:avLst/>
              <a:gdLst>
                <a:gd name="connsiteX0" fmla="*/ 953 w 541936"/>
                <a:gd name="connsiteY0" fmla="*/ 1608531 h 1609483"/>
                <a:gd name="connsiteX1" fmla="*/ 89535 w 541936"/>
                <a:gd name="connsiteY1" fmla="*/ 1138949 h 1609483"/>
                <a:gd name="connsiteX2" fmla="*/ 224790 w 541936"/>
                <a:gd name="connsiteY2" fmla="*/ 384568 h 1609483"/>
                <a:gd name="connsiteX3" fmla="*/ 285750 w 541936"/>
                <a:gd name="connsiteY3" fmla="*/ 43573 h 1609483"/>
                <a:gd name="connsiteX4" fmla="*/ 342900 w 541936"/>
                <a:gd name="connsiteY4" fmla="*/ 13093 h 1609483"/>
                <a:gd name="connsiteX5" fmla="*/ 521017 w 541936"/>
                <a:gd name="connsiteY5" fmla="*/ 123583 h 1609483"/>
                <a:gd name="connsiteX6" fmla="*/ 535305 w 541936"/>
                <a:gd name="connsiteY6" fmla="*/ 173113 h 1609483"/>
                <a:gd name="connsiteX7" fmla="*/ 456248 w 541936"/>
                <a:gd name="connsiteY7" fmla="*/ 387426 h 1609483"/>
                <a:gd name="connsiteX8" fmla="*/ 200025 w 541936"/>
                <a:gd name="connsiteY8" fmla="*/ 1085608 h 1609483"/>
                <a:gd name="connsiteX9" fmla="*/ 35242 w 541936"/>
                <a:gd name="connsiteY9" fmla="*/ 1530426 h 1609483"/>
                <a:gd name="connsiteX10" fmla="*/ 0 w 541936"/>
                <a:gd name="connsiteY10" fmla="*/ 1609483 h 1609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1936" h="1609483">
                  <a:moveTo>
                    <a:pt x="953" y="1608531"/>
                  </a:moveTo>
                  <a:cubicBezTo>
                    <a:pt x="24765" y="1478038"/>
                    <a:pt x="66675" y="1268488"/>
                    <a:pt x="89535" y="1138949"/>
                  </a:cubicBezTo>
                  <a:cubicBezTo>
                    <a:pt x="134303" y="887488"/>
                    <a:pt x="180023" y="636028"/>
                    <a:pt x="224790" y="384568"/>
                  </a:cubicBezTo>
                  <a:cubicBezTo>
                    <a:pt x="244792" y="270268"/>
                    <a:pt x="264795" y="156921"/>
                    <a:pt x="285750" y="43573"/>
                  </a:cubicBezTo>
                  <a:cubicBezTo>
                    <a:pt x="294323" y="-1194"/>
                    <a:pt x="289560" y="-11672"/>
                    <a:pt x="342900" y="13093"/>
                  </a:cubicBezTo>
                  <a:cubicBezTo>
                    <a:pt x="406717" y="41668"/>
                    <a:pt x="466725" y="78816"/>
                    <a:pt x="521017" y="123583"/>
                  </a:cubicBezTo>
                  <a:cubicBezTo>
                    <a:pt x="545783" y="143586"/>
                    <a:pt x="545783" y="144538"/>
                    <a:pt x="535305" y="173113"/>
                  </a:cubicBezTo>
                  <a:cubicBezTo>
                    <a:pt x="509588" y="244551"/>
                    <a:pt x="482917" y="315988"/>
                    <a:pt x="456248" y="387426"/>
                  </a:cubicBezTo>
                  <a:cubicBezTo>
                    <a:pt x="370523" y="619836"/>
                    <a:pt x="284798" y="853199"/>
                    <a:pt x="200025" y="1085608"/>
                  </a:cubicBezTo>
                  <a:cubicBezTo>
                    <a:pt x="145733" y="1234199"/>
                    <a:pt x="90488" y="1382788"/>
                    <a:pt x="35242" y="1530426"/>
                  </a:cubicBezTo>
                  <a:lnTo>
                    <a:pt x="0" y="16094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1" name="TextBox 40">
            <a:extLst>
              <a:ext uri="{FF2B5EF4-FFF2-40B4-BE49-F238E27FC236}">
                <a16:creationId xmlns:a16="http://schemas.microsoft.com/office/drawing/2014/main" id="{B4A5BCFD-9E0A-8B9E-EAB4-DA5721D60FDB}"/>
              </a:ext>
            </a:extLst>
          </p:cNvPr>
          <p:cNvSpPr txBox="1"/>
          <p:nvPr/>
        </p:nvSpPr>
        <p:spPr>
          <a:xfrm rot="16200000">
            <a:off x="-3194635" y="4189140"/>
            <a:ext cx="80705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3200" b="1" dirty="0" err="1">
                <a:solidFill>
                  <a:schemeClr val="tx1"/>
                </a:solidFill>
              </a:rPr>
              <a:t>breadcrumbsdata.com</a:t>
            </a:r>
            <a:endParaRPr lang="en-US" sz="3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13534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61541E-6 4.07407E-6 L -0.74469 1.28287 " pathEditMode="relative" rAng="0" ptsTypes="AA">
                                      <p:cBhvr>
                                        <p:cTn id="6" dur="5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235" y="64144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97591E-6 2.22222E-6 L -0.7447 1.28287 " pathEditMode="relative" rAng="0" ptsTypes="AA">
                                      <p:cBhvr>
                                        <p:cTn id="8" dur="5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235" y="64144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6724E-6 -3.88889E-6 L -0.7447 1.28287 " pathEditMode="relative" rAng="0" ptsTypes="AA">
                                      <p:cBhvr>
                                        <p:cTn id="10" dur="5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235" y="64144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15857E-6 0 L -0.7447 1.28287 " pathEditMode="relative" rAng="0" ptsTypes="AA">
                                      <p:cBhvr>
                                        <p:cTn id="12" dur="5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235" y="64144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9.41284E-7 3.88889E-6 L -0.7447 1.28287 " pathEditMode="relative" rAng="0" ptsTypes="AA">
                                      <p:cBhvr>
                                        <p:cTn id="14" dur="5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235" y="6414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3692E-6 -2.22222E-6 L -0.7447 1.28287 " pathEditMode="relative" rAng="0" ptsTypes="AA">
                                      <p:cBhvr>
                                        <p:cTn id="16" dur="5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235" y="64144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42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02825E-6 -4.07407E-6 L -0.7447 1.28287 " pathEditMode="relative" rAng="0" ptsTypes="AA">
                                      <p:cBhvr>
                                        <p:cTn id="18" dur="5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235" y="64144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42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61958E-6 4.07407E-6 L -0.7447 1.28287 " pathEditMode="relative" rAng="0" ptsTypes="AA">
                                      <p:cBhvr>
                                        <p:cTn id="20" dur="5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235" y="64144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42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02291E-7 -5.55556E-7 L -0.7447 1.28287 " pathEditMode="relative" rAng="0" ptsTypes="AA">
                                      <p:cBhvr>
                                        <p:cTn id="22" dur="5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235" y="64144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42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89793E-6 1.85185E-6 L -0.7447 1.28287 " pathEditMode="relative" rAng="0" ptsTypes="AA">
                                      <p:cBhvr>
                                        <p:cTn id="24" dur="5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235" y="6414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42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41505E-6 -4.25926E-6 L -0.74469 1.28287 " pathEditMode="relative" rAng="0" ptsTypes="AA">
                                      <p:cBhvr>
                                        <p:cTn id="26" dur="5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235" y="64144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42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63234E-6 -4.62963E-6 L -0.74469 1.28288 " pathEditMode="relative" rAng="0" ptsTypes="AA">
                                      <p:cBhvr>
                                        <p:cTn id="28" dur="5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235" y="64144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42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84963E-6 7.40741E-7 L -0.74469 1.28287 " pathEditMode="relative" rAng="0" ptsTypes="AA">
                                      <p:cBhvr>
                                        <p:cTn id="30" dur="5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235" y="64144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2" presetClass="entr" presetSubtype="2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1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1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26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5">
            <a:extLst>
              <a:ext uri="{FF2B5EF4-FFF2-40B4-BE49-F238E27FC236}">
                <a16:creationId xmlns:a16="http://schemas.microsoft.com/office/drawing/2014/main" id="{0688E7A2-C656-4645-BD47-2EF0DAD994B5}"/>
              </a:ext>
            </a:extLst>
          </p:cNvPr>
          <p:cNvSpPr>
            <a:spLocks/>
          </p:cNvSpPr>
          <p:nvPr/>
        </p:nvSpPr>
        <p:spPr bwMode="auto">
          <a:xfrm rot="2757414">
            <a:off x="8871559" y="-23536925"/>
            <a:ext cx="6481764" cy="41148000"/>
          </a:xfrm>
          <a:custGeom>
            <a:avLst/>
            <a:gdLst>
              <a:gd name="T0" fmla="*/ 913 w 2188"/>
              <a:gd name="T1" fmla="*/ 14034 h 14034"/>
              <a:gd name="T2" fmla="*/ 734 w 2188"/>
              <a:gd name="T3" fmla="*/ 13676 h 14034"/>
              <a:gd name="T4" fmla="*/ 373 w 2188"/>
              <a:gd name="T5" fmla="*/ 12854 h 14034"/>
              <a:gd name="T6" fmla="*/ 0 w 2188"/>
              <a:gd name="T7" fmla="*/ 11337 h 14034"/>
              <a:gd name="T8" fmla="*/ 376 w 2188"/>
              <a:gd name="T9" fmla="*/ 9820 h 14034"/>
              <a:gd name="T10" fmla="*/ 738 w 2188"/>
              <a:gd name="T11" fmla="*/ 8998 h 14034"/>
              <a:gd name="T12" fmla="*/ 1072 w 2188"/>
              <a:gd name="T13" fmla="*/ 8236 h 14034"/>
              <a:gd name="T14" fmla="*/ 1388 w 2188"/>
              <a:gd name="T15" fmla="*/ 7017 h 14034"/>
              <a:gd name="T16" fmla="*/ 1068 w 2188"/>
              <a:gd name="T17" fmla="*/ 5792 h 14034"/>
              <a:gd name="T18" fmla="*/ 735 w 2188"/>
              <a:gd name="T19" fmla="*/ 5037 h 14034"/>
              <a:gd name="T20" fmla="*/ 734 w 2188"/>
              <a:gd name="T21" fmla="*/ 5036 h 14034"/>
              <a:gd name="T22" fmla="*/ 373 w 2188"/>
              <a:gd name="T23" fmla="*/ 4214 h 14034"/>
              <a:gd name="T24" fmla="*/ 0 w 2188"/>
              <a:gd name="T25" fmla="*/ 2697 h 14034"/>
              <a:gd name="T26" fmla="*/ 376 w 2188"/>
              <a:gd name="T27" fmla="*/ 1180 h 14034"/>
              <a:gd name="T28" fmla="*/ 739 w 2188"/>
              <a:gd name="T29" fmla="*/ 357 h 14034"/>
              <a:gd name="T30" fmla="*/ 918 w 2188"/>
              <a:gd name="T31" fmla="*/ 0 h 14034"/>
              <a:gd name="T32" fmla="*/ 1633 w 2188"/>
              <a:gd name="T33" fmla="*/ 359 h 14034"/>
              <a:gd name="T34" fmla="*/ 1453 w 2188"/>
              <a:gd name="T35" fmla="*/ 717 h 14034"/>
              <a:gd name="T36" fmla="*/ 1118 w 2188"/>
              <a:gd name="T37" fmla="*/ 1478 h 14034"/>
              <a:gd name="T38" fmla="*/ 800 w 2188"/>
              <a:gd name="T39" fmla="*/ 2697 h 14034"/>
              <a:gd name="T40" fmla="*/ 1116 w 2188"/>
              <a:gd name="T41" fmla="*/ 3916 h 14034"/>
              <a:gd name="T42" fmla="*/ 1449 w 2188"/>
              <a:gd name="T43" fmla="*/ 4677 h 14034"/>
              <a:gd name="T44" fmla="*/ 1812 w 2188"/>
              <a:gd name="T45" fmla="*/ 5500 h 14034"/>
              <a:gd name="T46" fmla="*/ 2188 w 2188"/>
              <a:gd name="T47" fmla="*/ 7017 h 14034"/>
              <a:gd name="T48" fmla="*/ 1815 w 2188"/>
              <a:gd name="T49" fmla="*/ 8534 h 14034"/>
              <a:gd name="T50" fmla="*/ 1454 w 2188"/>
              <a:gd name="T51" fmla="*/ 9356 h 14034"/>
              <a:gd name="T52" fmla="*/ 1453 w 2188"/>
              <a:gd name="T53" fmla="*/ 9357 h 14034"/>
              <a:gd name="T54" fmla="*/ 1118 w 2188"/>
              <a:gd name="T55" fmla="*/ 10118 h 14034"/>
              <a:gd name="T56" fmla="*/ 800 w 2188"/>
              <a:gd name="T57" fmla="*/ 11337 h 14034"/>
              <a:gd name="T58" fmla="*/ 1116 w 2188"/>
              <a:gd name="T59" fmla="*/ 12556 h 14034"/>
              <a:gd name="T60" fmla="*/ 1450 w 2188"/>
              <a:gd name="T61" fmla="*/ 13318 h 14034"/>
              <a:gd name="T62" fmla="*/ 1628 w 2188"/>
              <a:gd name="T63" fmla="*/ 13676 h 14034"/>
              <a:gd name="T64" fmla="*/ 913 w 2188"/>
              <a:gd name="T65" fmla="*/ 14034 h 140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188" h="14034">
                <a:moveTo>
                  <a:pt x="913" y="14034"/>
                </a:moveTo>
                <a:cubicBezTo>
                  <a:pt x="734" y="13676"/>
                  <a:pt x="734" y="13676"/>
                  <a:pt x="734" y="13676"/>
                </a:cubicBezTo>
                <a:cubicBezTo>
                  <a:pt x="727" y="13661"/>
                  <a:pt x="551" y="13308"/>
                  <a:pt x="373" y="12854"/>
                </a:cubicBezTo>
                <a:cubicBezTo>
                  <a:pt x="126" y="12219"/>
                  <a:pt x="0" y="11709"/>
                  <a:pt x="0" y="11337"/>
                </a:cubicBezTo>
                <a:cubicBezTo>
                  <a:pt x="0" y="10965"/>
                  <a:pt x="126" y="10454"/>
                  <a:pt x="376" y="9820"/>
                </a:cubicBezTo>
                <a:cubicBezTo>
                  <a:pt x="553" y="9368"/>
                  <a:pt x="729" y="9017"/>
                  <a:pt x="738" y="8998"/>
                </a:cubicBezTo>
                <a:cubicBezTo>
                  <a:pt x="745" y="8984"/>
                  <a:pt x="910" y="8651"/>
                  <a:pt x="1072" y="8236"/>
                </a:cubicBezTo>
                <a:cubicBezTo>
                  <a:pt x="1276" y="7713"/>
                  <a:pt x="1388" y="7280"/>
                  <a:pt x="1388" y="7017"/>
                </a:cubicBezTo>
                <a:cubicBezTo>
                  <a:pt x="1388" y="6753"/>
                  <a:pt x="1274" y="6318"/>
                  <a:pt x="1068" y="5792"/>
                </a:cubicBezTo>
                <a:cubicBezTo>
                  <a:pt x="902" y="5371"/>
                  <a:pt x="736" y="5040"/>
                  <a:pt x="735" y="5037"/>
                </a:cubicBezTo>
                <a:cubicBezTo>
                  <a:pt x="734" y="5036"/>
                  <a:pt x="734" y="5036"/>
                  <a:pt x="734" y="5036"/>
                </a:cubicBezTo>
                <a:cubicBezTo>
                  <a:pt x="727" y="5021"/>
                  <a:pt x="551" y="4668"/>
                  <a:pt x="373" y="4214"/>
                </a:cubicBezTo>
                <a:cubicBezTo>
                  <a:pt x="126" y="3579"/>
                  <a:pt x="0" y="3069"/>
                  <a:pt x="0" y="2697"/>
                </a:cubicBezTo>
                <a:cubicBezTo>
                  <a:pt x="0" y="2325"/>
                  <a:pt x="126" y="1814"/>
                  <a:pt x="376" y="1180"/>
                </a:cubicBezTo>
                <a:cubicBezTo>
                  <a:pt x="554" y="725"/>
                  <a:pt x="731" y="372"/>
                  <a:pt x="739" y="357"/>
                </a:cubicBezTo>
                <a:cubicBezTo>
                  <a:pt x="918" y="0"/>
                  <a:pt x="918" y="0"/>
                  <a:pt x="918" y="0"/>
                </a:cubicBezTo>
                <a:cubicBezTo>
                  <a:pt x="1633" y="359"/>
                  <a:pt x="1633" y="359"/>
                  <a:pt x="1633" y="359"/>
                </a:cubicBezTo>
                <a:cubicBezTo>
                  <a:pt x="1453" y="717"/>
                  <a:pt x="1453" y="717"/>
                  <a:pt x="1453" y="717"/>
                </a:cubicBezTo>
                <a:cubicBezTo>
                  <a:pt x="1450" y="724"/>
                  <a:pt x="1282" y="1059"/>
                  <a:pt x="1118" y="1478"/>
                </a:cubicBezTo>
                <a:cubicBezTo>
                  <a:pt x="913" y="2001"/>
                  <a:pt x="800" y="2434"/>
                  <a:pt x="800" y="2697"/>
                </a:cubicBezTo>
                <a:cubicBezTo>
                  <a:pt x="800" y="2960"/>
                  <a:pt x="912" y="3393"/>
                  <a:pt x="1116" y="3916"/>
                </a:cubicBezTo>
                <a:cubicBezTo>
                  <a:pt x="1277" y="4329"/>
                  <a:pt x="1441" y="4660"/>
                  <a:pt x="1449" y="4677"/>
                </a:cubicBezTo>
                <a:cubicBezTo>
                  <a:pt x="1458" y="4695"/>
                  <a:pt x="1634" y="5047"/>
                  <a:pt x="1812" y="5500"/>
                </a:cubicBezTo>
                <a:cubicBezTo>
                  <a:pt x="2062" y="6134"/>
                  <a:pt x="2188" y="6645"/>
                  <a:pt x="2188" y="7017"/>
                </a:cubicBezTo>
                <a:cubicBezTo>
                  <a:pt x="2188" y="7389"/>
                  <a:pt x="2062" y="7899"/>
                  <a:pt x="1815" y="8534"/>
                </a:cubicBezTo>
                <a:cubicBezTo>
                  <a:pt x="1637" y="8988"/>
                  <a:pt x="1461" y="9341"/>
                  <a:pt x="1454" y="9356"/>
                </a:cubicBezTo>
                <a:cubicBezTo>
                  <a:pt x="1453" y="9357"/>
                  <a:pt x="1453" y="9357"/>
                  <a:pt x="1453" y="9357"/>
                </a:cubicBezTo>
                <a:cubicBezTo>
                  <a:pt x="1452" y="9360"/>
                  <a:pt x="1283" y="9697"/>
                  <a:pt x="1118" y="10118"/>
                </a:cubicBezTo>
                <a:cubicBezTo>
                  <a:pt x="913" y="10641"/>
                  <a:pt x="800" y="11074"/>
                  <a:pt x="800" y="11337"/>
                </a:cubicBezTo>
                <a:cubicBezTo>
                  <a:pt x="800" y="11600"/>
                  <a:pt x="912" y="12033"/>
                  <a:pt x="1116" y="12556"/>
                </a:cubicBezTo>
                <a:cubicBezTo>
                  <a:pt x="1281" y="12978"/>
                  <a:pt x="1448" y="13315"/>
                  <a:pt x="1450" y="13318"/>
                </a:cubicBezTo>
                <a:cubicBezTo>
                  <a:pt x="1628" y="13676"/>
                  <a:pt x="1628" y="13676"/>
                  <a:pt x="1628" y="13676"/>
                </a:cubicBezTo>
                <a:lnTo>
                  <a:pt x="913" y="14034"/>
                </a:lnTo>
                <a:close/>
              </a:path>
            </a:pathLst>
          </a:custGeom>
          <a:solidFill>
            <a:schemeClr val="accent6">
              <a:alpha val="88000"/>
            </a:schemeClr>
          </a:solidFill>
          <a:ln>
            <a:noFill/>
          </a:ln>
          <a:effectLst>
            <a:outerShdw blurRad="1003300" dist="38100" dir="10800000" algn="r" rotWithShape="0">
              <a:schemeClr val="accent1">
                <a:lumMod val="75000"/>
                <a:alpha val="46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Freeform 6">
            <a:extLst>
              <a:ext uri="{FF2B5EF4-FFF2-40B4-BE49-F238E27FC236}">
                <a16:creationId xmlns:a16="http://schemas.microsoft.com/office/drawing/2014/main" id="{C904A4A6-086D-4870-85D6-280040144355}"/>
              </a:ext>
            </a:extLst>
          </p:cNvPr>
          <p:cNvSpPr>
            <a:spLocks/>
          </p:cNvSpPr>
          <p:nvPr/>
        </p:nvSpPr>
        <p:spPr bwMode="auto">
          <a:xfrm rot="2757414">
            <a:off x="8871559" y="-23536924"/>
            <a:ext cx="6481764" cy="41148000"/>
          </a:xfrm>
          <a:custGeom>
            <a:avLst/>
            <a:gdLst>
              <a:gd name="T0" fmla="*/ 913 w 2188"/>
              <a:gd name="T1" fmla="*/ 14034 h 14034"/>
              <a:gd name="T2" fmla="*/ 734 w 2188"/>
              <a:gd name="T3" fmla="*/ 13676 h 14034"/>
              <a:gd name="T4" fmla="*/ 373 w 2188"/>
              <a:gd name="T5" fmla="*/ 12854 h 14034"/>
              <a:gd name="T6" fmla="*/ 0 w 2188"/>
              <a:gd name="T7" fmla="*/ 11337 h 14034"/>
              <a:gd name="T8" fmla="*/ 376 w 2188"/>
              <a:gd name="T9" fmla="*/ 9820 h 14034"/>
              <a:gd name="T10" fmla="*/ 738 w 2188"/>
              <a:gd name="T11" fmla="*/ 8998 h 14034"/>
              <a:gd name="T12" fmla="*/ 1072 w 2188"/>
              <a:gd name="T13" fmla="*/ 8236 h 14034"/>
              <a:gd name="T14" fmla="*/ 1388 w 2188"/>
              <a:gd name="T15" fmla="*/ 7017 h 14034"/>
              <a:gd name="T16" fmla="*/ 1068 w 2188"/>
              <a:gd name="T17" fmla="*/ 5792 h 14034"/>
              <a:gd name="T18" fmla="*/ 735 w 2188"/>
              <a:gd name="T19" fmla="*/ 5037 h 14034"/>
              <a:gd name="T20" fmla="*/ 734 w 2188"/>
              <a:gd name="T21" fmla="*/ 5036 h 14034"/>
              <a:gd name="T22" fmla="*/ 373 w 2188"/>
              <a:gd name="T23" fmla="*/ 4214 h 14034"/>
              <a:gd name="T24" fmla="*/ 0 w 2188"/>
              <a:gd name="T25" fmla="*/ 2697 h 14034"/>
              <a:gd name="T26" fmla="*/ 376 w 2188"/>
              <a:gd name="T27" fmla="*/ 1180 h 14034"/>
              <a:gd name="T28" fmla="*/ 739 w 2188"/>
              <a:gd name="T29" fmla="*/ 357 h 14034"/>
              <a:gd name="T30" fmla="*/ 918 w 2188"/>
              <a:gd name="T31" fmla="*/ 0 h 14034"/>
              <a:gd name="T32" fmla="*/ 1633 w 2188"/>
              <a:gd name="T33" fmla="*/ 359 h 14034"/>
              <a:gd name="T34" fmla="*/ 1453 w 2188"/>
              <a:gd name="T35" fmla="*/ 717 h 14034"/>
              <a:gd name="T36" fmla="*/ 1118 w 2188"/>
              <a:gd name="T37" fmla="*/ 1478 h 14034"/>
              <a:gd name="T38" fmla="*/ 800 w 2188"/>
              <a:gd name="T39" fmla="*/ 2697 h 14034"/>
              <a:gd name="T40" fmla="*/ 1116 w 2188"/>
              <a:gd name="T41" fmla="*/ 3916 h 14034"/>
              <a:gd name="T42" fmla="*/ 1449 w 2188"/>
              <a:gd name="T43" fmla="*/ 4677 h 14034"/>
              <a:gd name="T44" fmla="*/ 1812 w 2188"/>
              <a:gd name="T45" fmla="*/ 5500 h 14034"/>
              <a:gd name="T46" fmla="*/ 2188 w 2188"/>
              <a:gd name="T47" fmla="*/ 7017 h 14034"/>
              <a:gd name="T48" fmla="*/ 1815 w 2188"/>
              <a:gd name="T49" fmla="*/ 8534 h 14034"/>
              <a:gd name="T50" fmla="*/ 1454 w 2188"/>
              <a:gd name="T51" fmla="*/ 9356 h 14034"/>
              <a:gd name="T52" fmla="*/ 1453 w 2188"/>
              <a:gd name="T53" fmla="*/ 9357 h 14034"/>
              <a:gd name="T54" fmla="*/ 1118 w 2188"/>
              <a:gd name="T55" fmla="*/ 10118 h 14034"/>
              <a:gd name="T56" fmla="*/ 800 w 2188"/>
              <a:gd name="T57" fmla="*/ 11337 h 14034"/>
              <a:gd name="T58" fmla="*/ 1116 w 2188"/>
              <a:gd name="T59" fmla="*/ 12556 h 14034"/>
              <a:gd name="T60" fmla="*/ 1450 w 2188"/>
              <a:gd name="T61" fmla="*/ 13318 h 14034"/>
              <a:gd name="T62" fmla="*/ 1628 w 2188"/>
              <a:gd name="T63" fmla="*/ 13676 h 14034"/>
              <a:gd name="T64" fmla="*/ 913 w 2188"/>
              <a:gd name="T65" fmla="*/ 14034 h 140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188" h="14034">
                <a:moveTo>
                  <a:pt x="913" y="14034"/>
                </a:moveTo>
                <a:cubicBezTo>
                  <a:pt x="734" y="13676"/>
                  <a:pt x="734" y="13676"/>
                  <a:pt x="734" y="13676"/>
                </a:cubicBezTo>
                <a:cubicBezTo>
                  <a:pt x="727" y="13661"/>
                  <a:pt x="551" y="13308"/>
                  <a:pt x="373" y="12854"/>
                </a:cubicBezTo>
                <a:cubicBezTo>
                  <a:pt x="126" y="12219"/>
                  <a:pt x="0" y="11709"/>
                  <a:pt x="0" y="11337"/>
                </a:cubicBezTo>
                <a:cubicBezTo>
                  <a:pt x="0" y="10965"/>
                  <a:pt x="126" y="10454"/>
                  <a:pt x="376" y="9820"/>
                </a:cubicBezTo>
                <a:cubicBezTo>
                  <a:pt x="553" y="9368"/>
                  <a:pt x="729" y="9017"/>
                  <a:pt x="738" y="8998"/>
                </a:cubicBezTo>
                <a:cubicBezTo>
                  <a:pt x="745" y="8984"/>
                  <a:pt x="910" y="8651"/>
                  <a:pt x="1072" y="8236"/>
                </a:cubicBezTo>
                <a:cubicBezTo>
                  <a:pt x="1276" y="7713"/>
                  <a:pt x="1388" y="7280"/>
                  <a:pt x="1388" y="7017"/>
                </a:cubicBezTo>
                <a:cubicBezTo>
                  <a:pt x="1388" y="6753"/>
                  <a:pt x="1274" y="6318"/>
                  <a:pt x="1068" y="5792"/>
                </a:cubicBezTo>
                <a:cubicBezTo>
                  <a:pt x="902" y="5371"/>
                  <a:pt x="736" y="5040"/>
                  <a:pt x="735" y="5037"/>
                </a:cubicBezTo>
                <a:cubicBezTo>
                  <a:pt x="734" y="5036"/>
                  <a:pt x="734" y="5036"/>
                  <a:pt x="734" y="5036"/>
                </a:cubicBezTo>
                <a:cubicBezTo>
                  <a:pt x="727" y="5021"/>
                  <a:pt x="551" y="4668"/>
                  <a:pt x="373" y="4214"/>
                </a:cubicBezTo>
                <a:cubicBezTo>
                  <a:pt x="126" y="3579"/>
                  <a:pt x="0" y="3069"/>
                  <a:pt x="0" y="2697"/>
                </a:cubicBezTo>
                <a:cubicBezTo>
                  <a:pt x="0" y="2325"/>
                  <a:pt x="126" y="1814"/>
                  <a:pt x="376" y="1180"/>
                </a:cubicBezTo>
                <a:cubicBezTo>
                  <a:pt x="554" y="725"/>
                  <a:pt x="731" y="372"/>
                  <a:pt x="739" y="357"/>
                </a:cubicBezTo>
                <a:cubicBezTo>
                  <a:pt x="918" y="0"/>
                  <a:pt x="918" y="0"/>
                  <a:pt x="918" y="0"/>
                </a:cubicBezTo>
                <a:cubicBezTo>
                  <a:pt x="1633" y="359"/>
                  <a:pt x="1633" y="359"/>
                  <a:pt x="1633" y="359"/>
                </a:cubicBezTo>
                <a:cubicBezTo>
                  <a:pt x="1453" y="717"/>
                  <a:pt x="1453" y="717"/>
                  <a:pt x="1453" y="717"/>
                </a:cubicBezTo>
                <a:cubicBezTo>
                  <a:pt x="1450" y="724"/>
                  <a:pt x="1282" y="1059"/>
                  <a:pt x="1118" y="1478"/>
                </a:cubicBezTo>
                <a:cubicBezTo>
                  <a:pt x="913" y="2001"/>
                  <a:pt x="800" y="2434"/>
                  <a:pt x="800" y="2697"/>
                </a:cubicBezTo>
                <a:cubicBezTo>
                  <a:pt x="800" y="2960"/>
                  <a:pt x="912" y="3393"/>
                  <a:pt x="1116" y="3916"/>
                </a:cubicBezTo>
                <a:cubicBezTo>
                  <a:pt x="1277" y="4329"/>
                  <a:pt x="1441" y="4660"/>
                  <a:pt x="1449" y="4677"/>
                </a:cubicBezTo>
                <a:cubicBezTo>
                  <a:pt x="1458" y="4695"/>
                  <a:pt x="1634" y="5047"/>
                  <a:pt x="1812" y="5500"/>
                </a:cubicBezTo>
                <a:cubicBezTo>
                  <a:pt x="2062" y="6134"/>
                  <a:pt x="2188" y="6645"/>
                  <a:pt x="2188" y="7017"/>
                </a:cubicBezTo>
                <a:cubicBezTo>
                  <a:pt x="2188" y="7389"/>
                  <a:pt x="2062" y="7899"/>
                  <a:pt x="1815" y="8534"/>
                </a:cubicBezTo>
                <a:cubicBezTo>
                  <a:pt x="1637" y="8988"/>
                  <a:pt x="1461" y="9341"/>
                  <a:pt x="1454" y="9356"/>
                </a:cubicBezTo>
                <a:cubicBezTo>
                  <a:pt x="1453" y="9357"/>
                  <a:pt x="1453" y="9357"/>
                  <a:pt x="1453" y="9357"/>
                </a:cubicBezTo>
                <a:cubicBezTo>
                  <a:pt x="1452" y="9360"/>
                  <a:pt x="1283" y="9697"/>
                  <a:pt x="1118" y="10118"/>
                </a:cubicBezTo>
                <a:cubicBezTo>
                  <a:pt x="913" y="10641"/>
                  <a:pt x="800" y="11074"/>
                  <a:pt x="800" y="11337"/>
                </a:cubicBezTo>
                <a:cubicBezTo>
                  <a:pt x="800" y="11600"/>
                  <a:pt x="912" y="12033"/>
                  <a:pt x="1116" y="12556"/>
                </a:cubicBezTo>
                <a:cubicBezTo>
                  <a:pt x="1281" y="12978"/>
                  <a:pt x="1448" y="13315"/>
                  <a:pt x="1450" y="13318"/>
                </a:cubicBezTo>
                <a:cubicBezTo>
                  <a:pt x="1628" y="13676"/>
                  <a:pt x="1628" y="13676"/>
                  <a:pt x="1628" y="13676"/>
                </a:cubicBezTo>
                <a:lnTo>
                  <a:pt x="913" y="14034"/>
                </a:lnTo>
                <a:close/>
              </a:path>
            </a:pathLst>
          </a:custGeom>
          <a:solidFill>
            <a:schemeClr val="tx1">
              <a:alpha val="88000"/>
            </a:schemeClr>
          </a:solidFill>
          <a:ln>
            <a:noFill/>
          </a:ln>
          <a:effectLst>
            <a:outerShdw blurRad="1003300" dist="38100" dir="10800000" algn="r" rotWithShape="0">
              <a:schemeClr val="accent6">
                <a:lumMod val="75000"/>
                <a:alpha val="46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Freeform 7">
            <a:extLst>
              <a:ext uri="{FF2B5EF4-FFF2-40B4-BE49-F238E27FC236}">
                <a16:creationId xmlns:a16="http://schemas.microsoft.com/office/drawing/2014/main" id="{DD3D3D6C-9C80-4D2E-AACF-7CC792CDDA25}"/>
              </a:ext>
            </a:extLst>
          </p:cNvPr>
          <p:cNvSpPr>
            <a:spLocks/>
          </p:cNvSpPr>
          <p:nvPr/>
        </p:nvSpPr>
        <p:spPr bwMode="auto">
          <a:xfrm rot="2757414">
            <a:off x="10305174" y="-22054606"/>
            <a:ext cx="6481764" cy="41148000"/>
          </a:xfrm>
          <a:custGeom>
            <a:avLst/>
            <a:gdLst>
              <a:gd name="T0" fmla="*/ 913 w 2188"/>
              <a:gd name="T1" fmla="*/ 14034 h 14034"/>
              <a:gd name="T2" fmla="*/ 734 w 2188"/>
              <a:gd name="T3" fmla="*/ 13676 h 14034"/>
              <a:gd name="T4" fmla="*/ 373 w 2188"/>
              <a:gd name="T5" fmla="*/ 12854 h 14034"/>
              <a:gd name="T6" fmla="*/ 0 w 2188"/>
              <a:gd name="T7" fmla="*/ 11337 h 14034"/>
              <a:gd name="T8" fmla="*/ 376 w 2188"/>
              <a:gd name="T9" fmla="*/ 9820 h 14034"/>
              <a:gd name="T10" fmla="*/ 738 w 2188"/>
              <a:gd name="T11" fmla="*/ 8998 h 14034"/>
              <a:gd name="T12" fmla="*/ 1072 w 2188"/>
              <a:gd name="T13" fmla="*/ 8236 h 14034"/>
              <a:gd name="T14" fmla="*/ 1388 w 2188"/>
              <a:gd name="T15" fmla="*/ 7017 h 14034"/>
              <a:gd name="T16" fmla="*/ 1068 w 2188"/>
              <a:gd name="T17" fmla="*/ 5792 h 14034"/>
              <a:gd name="T18" fmla="*/ 735 w 2188"/>
              <a:gd name="T19" fmla="*/ 5037 h 14034"/>
              <a:gd name="T20" fmla="*/ 734 w 2188"/>
              <a:gd name="T21" fmla="*/ 5036 h 14034"/>
              <a:gd name="T22" fmla="*/ 373 w 2188"/>
              <a:gd name="T23" fmla="*/ 4214 h 14034"/>
              <a:gd name="T24" fmla="*/ 0 w 2188"/>
              <a:gd name="T25" fmla="*/ 2697 h 14034"/>
              <a:gd name="T26" fmla="*/ 376 w 2188"/>
              <a:gd name="T27" fmla="*/ 1180 h 14034"/>
              <a:gd name="T28" fmla="*/ 739 w 2188"/>
              <a:gd name="T29" fmla="*/ 357 h 14034"/>
              <a:gd name="T30" fmla="*/ 918 w 2188"/>
              <a:gd name="T31" fmla="*/ 0 h 14034"/>
              <a:gd name="T32" fmla="*/ 1633 w 2188"/>
              <a:gd name="T33" fmla="*/ 359 h 14034"/>
              <a:gd name="T34" fmla="*/ 1453 w 2188"/>
              <a:gd name="T35" fmla="*/ 717 h 14034"/>
              <a:gd name="T36" fmla="*/ 1118 w 2188"/>
              <a:gd name="T37" fmla="*/ 1478 h 14034"/>
              <a:gd name="T38" fmla="*/ 800 w 2188"/>
              <a:gd name="T39" fmla="*/ 2697 h 14034"/>
              <a:gd name="T40" fmla="*/ 1116 w 2188"/>
              <a:gd name="T41" fmla="*/ 3916 h 14034"/>
              <a:gd name="T42" fmla="*/ 1449 w 2188"/>
              <a:gd name="T43" fmla="*/ 4677 h 14034"/>
              <a:gd name="T44" fmla="*/ 1812 w 2188"/>
              <a:gd name="T45" fmla="*/ 5500 h 14034"/>
              <a:gd name="T46" fmla="*/ 2188 w 2188"/>
              <a:gd name="T47" fmla="*/ 7017 h 14034"/>
              <a:gd name="T48" fmla="*/ 1815 w 2188"/>
              <a:gd name="T49" fmla="*/ 8534 h 14034"/>
              <a:gd name="T50" fmla="*/ 1454 w 2188"/>
              <a:gd name="T51" fmla="*/ 9356 h 14034"/>
              <a:gd name="T52" fmla="*/ 1453 w 2188"/>
              <a:gd name="T53" fmla="*/ 9357 h 14034"/>
              <a:gd name="T54" fmla="*/ 1118 w 2188"/>
              <a:gd name="T55" fmla="*/ 10118 h 14034"/>
              <a:gd name="T56" fmla="*/ 800 w 2188"/>
              <a:gd name="T57" fmla="*/ 11337 h 14034"/>
              <a:gd name="T58" fmla="*/ 1116 w 2188"/>
              <a:gd name="T59" fmla="*/ 12556 h 14034"/>
              <a:gd name="T60" fmla="*/ 1450 w 2188"/>
              <a:gd name="T61" fmla="*/ 13318 h 14034"/>
              <a:gd name="T62" fmla="*/ 1628 w 2188"/>
              <a:gd name="T63" fmla="*/ 13676 h 14034"/>
              <a:gd name="T64" fmla="*/ 913 w 2188"/>
              <a:gd name="T65" fmla="*/ 14034 h 140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188" h="14034">
                <a:moveTo>
                  <a:pt x="913" y="14034"/>
                </a:moveTo>
                <a:cubicBezTo>
                  <a:pt x="734" y="13676"/>
                  <a:pt x="734" y="13676"/>
                  <a:pt x="734" y="13676"/>
                </a:cubicBezTo>
                <a:cubicBezTo>
                  <a:pt x="727" y="13661"/>
                  <a:pt x="551" y="13308"/>
                  <a:pt x="373" y="12854"/>
                </a:cubicBezTo>
                <a:cubicBezTo>
                  <a:pt x="126" y="12219"/>
                  <a:pt x="0" y="11709"/>
                  <a:pt x="0" y="11337"/>
                </a:cubicBezTo>
                <a:cubicBezTo>
                  <a:pt x="0" y="10965"/>
                  <a:pt x="126" y="10454"/>
                  <a:pt x="376" y="9820"/>
                </a:cubicBezTo>
                <a:cubicBezTo>
                  <a:pt x="553" y="9368"/>
                  <a:pt x="729" y="9017"/>
                  <a:pt x="738" y="8998"/>
                </a:cubicBezTo>
                <a:cubicBezTo>
                  <a:pt x="745" y="8984"/>
                  <a:pt x="910" y="8651"/>
                  <a:pt x="1072" y="8236"/>
                </a:cubicBezTo>
                <a:cubicBezTo>
                  <a:pt x="1276" y="7713"/>
                  <a:pt x="1388" y="7280"/>
                  <a:pt x="1388" y="7017"/>
                </a:cubicBezTo>
                <a:cubicBezTo>
                  <a:pt x="1388" y="6753"/>
                  <a:pt x="1274" y="6318"/>
                  <a:pt x="1068" y="5792"/>
                </a:cubicBezTo>
                <a:cubicBezTo>
                  <a:pt x="902" y="5371"/>
                  <a:pt x="736" y="5040"/>
                  <a:pt x="735" y="5037"/>
                </a:cubicBezTo>
                <a:cubicBezTo>
                  <a:pt x="734" y="5036"/>
                  <a:pt x="734" y="5036"/>
                  <a:pt x="734" y="5036"/>
                </a:cubicBezTo>
                <a:cubicBezTo>
                  <a:pt x="727" y="5021"/>
                  <a:pt x="551" y="4668"/>
                  <a:pt x="373" y="4214"/>
                </a:cubicBezTo>
                <a:cubicBezTo>
                  <a:pt x="126" y="3579"/>
                  <a:pt x="0" y="3069"/>
                  <a:pt x="0" y="2697"/>
                </a:cubicBezTo>
                <a:cubicBezTo>
                  <a:pt x="0" y="2325"/>
                  <a:pt x="126" y="1814"/>
                  <a:pt x="376" y="1180"/>
                </a:cubicBezTo>
                <a:cubicBezTo>
                  <a:pt x="554" y="725"/>
                  <a:pt x="731" y="372"/>
                  <a:pt x="739" y="357"/>
                </a:cubicBezTo>
                <a:cubicBezTo>
                  <a:pt x="918" y="0"/>
                  <a:pt x="918" y="0"/>
                  <a:pt x="918" y="0"/>
                </a:cubicBezTo>
                <a:cubicBezTo>
                  <a:pt x="1633" y="359"/>
                  <a:pt x="1633" y="359"/>
                  <a:pt x="1633" y="359"/>
                </a:cubicBezTo>
                <a:cubicBezTo>
                  <a:pt x="1453" y="717"/>
                  <a:pt x="1453" y="717"/>
                  <a:pt x="1453" y="717"/>
                </a:cubicBezTo>
                <a:cubicBezTo>
                  <a:pt x="1450" y="724"/>
                  <a:pt x="1282" y="1059"/>
                  <a:pt x="1118" y="1478"/>
                </a:cubicBezTo>
                <a:cubicBezTo>
                  <a:pt x="913" y="2001"/>
                  <a:pt x="800" y="2434"/>
                  <a:pt x="800" y="2697"/>
                </a:cubicBezTo>
                <a:cubicBezTo>
                  <a:pt x="800" y="2960"/>
                  <a:pt x="912" y="3393"/>
                  <a:pt x="1116" y="3916"/>
                </a:cubicBezTo>
                <a:cubicBezTo>
                  <a:pt x="1277" y="4329"/>
                  <a:pt x="1441" y="4660"/>
                  <a:pt x="1449" y="4677"/>
                </a:cubicBezTo>
                <a:cubicBezTo>
                  <a:pt x="1458" y="4695"/>
                  <a:pt x="1634" y="5047"/>
                  <a:pt x="1812" y="5500"/>
                </a:cubicBezTo>
                <a:cubicBezTo>
                  <a:pt x="2062" y="6134"/>
                  <a:pt x="2188" y="6645"/>
                  <a:pt x="2188" y="7017"/>
                </a:cubicBezTo>
                <a:cubicBezTo>
                  <a:pt x="2188" y="7389"/>
                  <a:pt x="2062" y="7899"/>
                  <a:pt x="1815" y="8534"/>
                </a:cubicBezTo>
                <a:cubicBezTo>
                  <a:pt x="1637" y="8988"/>
                  <a:pt x="1461" y="9341"/>
                  <a:pt x="1454" y="9356"/>
                </a:cubicBezTo>
                <a:cubicBezTo>
                  <a:pt x="1453" y="9357"/>
                  <a:pt x="1453" y="9357"/>
                  <a:pt x="1453" y="9357"/>
                </a:cubicBezTo>
                <a:cubicBezTo>
                  <a:pt x="1452" y="9360"/>
                  <a:pt x="1283" y="9697"/>
                  <a:pt x="1118" y="10118"/>
                </a:cubicBezTo>
                <a:cubicBezTo>
                  <a:pt x="913" y="10641"/>
                  <a:pt x="800" y="11074"/>
                  <a:pt x="800" y="11337"/>
                </a:cubicBezTo>
                <a:cubicBezTo>
                  <a:pt x="800" y="11600"/>
                  <a:pt x="912" y="12033"/>
                  <a:pt x="1116" y="12556"/>
                </a:cubicBezTo>
                <a:cubicBezTo>
                  <a:pt x="1281" y="12978"/>
                  <a:pt x="1448" y="13315"/>
                  <a:pt x="1450" y="13318"/>
                </a:cubicBezTo>
                <a:cubicBezTo>
                  <a:pt x="1628" y="13676"/>
                  <a:pt x="1628" y="13676"/>
                  <a:pt x="1628" y="13676"/>
                </a:cubicBezTo>
                <a:lnTo>
                  <a:pt x="913" y="14034"/>
                </a:lnTo>
                <a:close/>
              </a:path>
            </a:pathLst>
          </a:custGeom>
          <a:solidFill>
            <a:schemeClr val="accent3">
              <a:alpha val="88000"/>
            </a:schemeClr>
          </a:solidFill>
          <a:ln>
            <a:noFill/>
          </a:ln>
          <a:effectLst>
            <a:outerShdw blurRad="1003300" dist="38100" dir="10800000" algn="r" rotWithShape="0">
              <a:schemeClr val="accent3">
                <a:lumMod val="75000"/>
                <a:alpha val="46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Freeform 8">
            <a:extLst>
              <a:ext uri="{FF2B5EF4-FFF2-40B4-BE49-F238E27FC236}">
                <a16:creationId xmlns:a16="http://schemas.microsoft.com/office/drawing/2014/main" id="{FA55C1CA-3B7A-47F9-8466-10AC52499650}"/>
              </a:ext>
            </a:extLst>
          </p:cNvPr>
          <p:cNvSpPr>
            <a:spLocks/>
          </p:cNvSpPr>
          <p:nvPr/>
        </p:nvSpPr>
        <p:spPr bwMode="auto">
          <a:xfrm rot="2757414">
            <a:off x="11734752" y="-20574000"/>
            <a:ext cx="6486525" cy="41148000"/>
          </a:xfrm>
          <a:custGeom>
            <a:avLst/>
            <a:gdLst>
              <a:gd name="T0" fmla="*/ 913 w 2188"/>
              <a:gd name="T1" fmla="*/ 14034 h 14034"/>
              <a:gd name="T2" fmla="*/ 734 w 2188"/>
              <a:gd name="T3" fmla="*/ 13676 h 14034"/>
              <a:gd name="T4" fmla="*/ 373 w 2188"/>
              <a:gd name="T5" fmla="*/ 12854 h 14034"/>
              <a:gd name="T6" fmla="*/ 0 w 2188"/>
              <a:gd name="T7" fmla="*/ 11337 h 14034"/>
              <a:gd name="T8" fmla="*/ 376 w 2188"/>
              <a:gd name="T9" fmla="*/ 9820 h 14034"/>
              <a:gd name="T10" fmla="*/ 738 w 2188"/>
              <a:gd name="T11" fmla="*/ 8998 h 14034"/>
              <a:gd name="T12" fmla="*/ 1072 w 2188"/>
              <a:gd name="T13" fmla="*/ 8236 h 14034"/>
              <a:gd name="T14" fmla="*/ 1388 w 2188"/>
              <a:gd name="T15" fmla="*/ 7017 h 14034"/>
              <a:gd name="T16" fmla="*/ 1068 w 2188"/>
              <a:gd name="T17" fmla="*/ 5792 h 14034"/>
              <a:gd name="T18" fmla="*/ 735 w 2188"/>
              <a:gd name="T19" fmla="*/ 5037 h 14034"/>
              <a:gd name="T20" fmla="*/ 734 w 2188"/>
              <a:gd name="T21" fmla="*/ 5036 h 14034"/>
              <a:gd name="T22" fmla="*/ 373 w 2188"/>
              <a:gd name="T23" fmla="*/ 4214 h 14034"/>
              <a:gd name="T24" fmla="*/ 0 w 2188"/>
              <a:gd name="T25" fmla="*/ 2697 h 14034"/>
              <a:gd name="T26" fmla="*/ 376 w 2188"/>
              <a:gd name="T27" fmla="*/ 1180 h 14034"/>
              <a:gd name="T28" fmla="*/ 739 w 2188"/>
              <a:gd name="T29" fmla="*/ 357 h 14034"/>
              <a:gd name="T30" fmla="*/ 918 w 2188"/>
              <a:gd name="T31" fmla="*/ 0 h 14034"/>
              <a:gd name="T32" fmla="*/ 1633 w 2188"/>
              <a:gd name="T33" fmla="*/ 359 h 14034"/>
              <a:gd name="T34" fmla="*/ 1453 w 2188"/>
              <a:gd name="T35" fmla="*/ 717 h 14034"/>
              <a:gd name="T36" fmla="*/ 1118 w 2188"/>
              <a:gd name="T37" fmla="*/ 1478 h 14034"/>
              <a:gd name="T38" fmla="*/ 800 w 2188"/>
              <a:gd name="T39" fmla="*/ 2697 h 14034"/>
              <a:gd name="T40" fmla="*/ 1116 w 2188"/>
              <a:gd name="T41" fmla="*/ 3916 h 14034"/>
              <a:gd name="T42" fmla="*/ 1449 w 2188"/>
              <a:gd name="T43" fmla="*/ 4677 h 14034"/>
              <a:gd name="T44" fmla="*/ 1812 w 2188"/>
              <a:gd name="T45" fmla="*/ 5500 h 14034"/>
              <a:gd name="T46" fmla="*/ 2188 w 2188"/>
              <a:gd name="T47" fmla="*/ 7017 h 14034"/>
              <a:gd name="T48" fmla="*/ 1815 w 2188"/>
              <a:gd name="T49" fmla="*/ 8534 h 14034"/>
              <a:gd name="T50" fmla="*/ 1454 w 2188"/>
              <a:gd name="T51" fmla="*/ 9356 h 14034"/>
              <a:gd name="T52" fmla="*/ 1453 w 2188"/>
              <a:gd name="T53" fmla="*/ 9357 h 14034"/>
              <a:gd name="T54" fmla="*/ 1118 w 2188"/>
              <a:gd name="T55" fmla="*/ 10118 h 14034"/>
              <a:gd name="T56" fmla="*/ 800 w 2188"/>
              <a:gd name="T57" fmla="*/ 11337 h 14034"/>
              <a:gd name="T58" fmla="*/ 1116 w 2188"/>
              <a:gd name="T59" fmla="*/ 12556 h 14034"/>
              <a:gd name="T60" fmla="*/ 1450 w 2188"/>
              <a:gd name="T61" fmla="*/ 13318 h 14034"/>
              <a:gd name="T62" fmla="*/ 1628 w 2188"/>
              <a:gd name="T63" fmla="*/ 13676 h 14034"/>
              <a:gd name="T64" fmla="*/ 913 w 2188"/>
              <a:gd name="T65" fmla="*/ 14034 h 140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188" h="14034">
                <a:moveTo>
                  <a:pt x="913" y="14034"/>
                </a:moveTo>
                <a:cubicBezTo>
                  <a:pt x="734" y="13676"/>
                  <a:pt x="734" y="13676"/>
                  <a:pt x="734" y="13676"/>
                </a:cubicBezTo>
                <a:cubicBezTo>
                  <a:pt x="727" y="13661"/>
                  <a:pt x="551" y="13308"/>
                  <a:pt x="373" y="12854"/>
                </a:cubicBezTo>
                <a:cubicBezTo>
                  <a:pt x="126" y="12219"/>
                  <a:pt x="0" y="11709"/>
                  <a:pt x="0" y="11337"/>
                </a:cubicBezTo>
                <a:cubicBezTo>
                  <a:pt x="0" y="10965"/>
                  <a:pt x="126" y="10454"/>
                  <a:pt x="376" y="9820"/>
                </a:cubicBezTo>
                <a:cubicBezTo>
                  <a:pt x="553" y="9368"/>
                  <a:pt x="729" y="9017"/>
                  <a:pt x="738" y="8998"/>
                </a:cubicBezTo>
                <a:cubicBezTo>
                  <a:pt x="745" y="8984"/>
                  <a:pt x="910" y="8651"/>
                  <a:pt x="1072" y="8236"/>
                </a:cubicBezTo>
                <a:cubicBezTo>
                  <a:pt x="1276" y="7713"/>
                  <a:pt x="1388" y="7280"/>
                  <a:pt x="1388" y="7017"/>
                </a:cubicBezTo>
                <a:cubicBezTo>
                  <a:pt x="1388" y="6753"/>
                  <a:pt x="1274" y="6318"/>
                  <a:pt x="1068" y="5792"/>
                </a:cubicBezTo>
                <a:cubicBezTo>
                  <a:pt x="902" y="5371"/>
                  <a:pt x="736" y="5040"/>
                  <a:pt x="735" y="5037"/>
                </a:cubicBezTo>
                <a:cubicBezTo>
                  <a:pt x="734" y="5036"/>
                  <a:pt x="734" y="5036"/>
                  <a:pt x="734" y="5036"/>
                </a:cubicBezTo>
                <a:cubicBezTo>
                  <a:pt x="727" y="5021"/>
                  <a:pt x="551" y="4668"/>
                  <a:pt x="373" y="4214"/>
                </a:cubicBezTo>
                <a:cubicBezTo>
                  <a:pt x="126" y="3579"/>
                  <a:pt x="0" y="3069"/>
                  <a:pt x="0" y="2697"/>
                </a:cubicBezTo>
                <a:cubicBezTo>
                  <a:pt x="0" y="2325"/>
                  <a:pt x="126" y="1814"/>
                  <a:pt x="376" y="1180"/>
                </a:cubicBezTo>
                <a:cubicBezTo>
                  <a:pt x="554" y="725"/>
                  <a:pt x="731" y="372"/>
                  <a:pt x="739" y="357"/>
                </a:cubicBezTo>
                <a:cubicBezTo>
                  <a:pt x="918" y="0"/>
                  <a:pt x="918" y="0"/>
                  <a:pt x="918" y="0"/>
                </a:cubicBezTo>
                <a:cubicBezTo>
                  <a:pt x="1633" y="359"/>
                  <a:pt x="1633" y="359"/>
                  <a:pt x="1633" y="359"/>
                </a:cubicBezTo>
                <a:cubicBezTo>
                  <a:pt x="1453" y="717"/>
                  <a:pt x="1453" y="717"/>
                  <a:pt x="1453" y="717"/>
                </a:cubicBezTo>
                <a:cubicBezTo>
                  <a:pt x="1450" y="724"/>
                  <a:pt x="1282" y="1059"/>
                  <a:pt x="1118" y="1478"/>
                </a:cubicBezTo>
                <a:cubicBezTo>
                  <a:pt x="913" y="2001"/>
                  <a:pt x="800" y="2434"/>
                  <a:pt x="800" y="2697"/>
                </a:cubicBezTo>
                <a:cubicBezTo>
                  <a:pt x="800" y="2960"/>
                  <a:pt x="912" y="3393"/>
                  <a:pt x="1116" y="3916"/>
                </a:cubicBezTo>
                <a:cubicBezTo>
                  <a:pt x="1277" y="4329"/>
                  <a:pt x="1441" y="4660"/>
                  <a:pt x="1449" y="4677"/>
                </a:cubicBezTo>
                <a:cubicBezTo>
                  <a:pt x="1458" y="4695"/>
                  <a:pt x="1634" y="5047"/>
                  <a:pt x="1812" y="5500"/>
                </a:cubicBezTo>
                <a:cubicBezTo>
                  <a:pt x="2062" y="6134"/>
                  <a:pt x="2188" y="6645"/>
                  <a:pt x="2188" y="7017"/>
                </a:cubicBezTo>
                <a:cubicBezTo>
                  <a:pt x="2188" y="7389"/>
                  <a:pt x="2062" y="7899"/>
                  <a:pt x="1815" y="8534"/>
                </a:cubicBezTo>
                <a:cubicBezTo>
                  <a:pt x="1637" y="8988"/>
                  <a:pt x="1461" y="9341"/>
                  <a:pt x="1454" y="9356"/>
                </a:cubicBezTo>
                <a:cubicBezTo>
                  <a:pt x="1453" y="9357"/>
                  <a:pt x="1453" y="9357"/>
                  <a:pt x="1453" y="9357"/>
                </a:cubicBezTo>
                <a:cubicBezTo>
                  <a:pt x="1452" y="9360"/>
                  <a:pt x="1283" y="9697"/>
                  <a:pt x="1118" y="10118"/>
                </a:cubicBezTo>
                <a:cubicBezTo>
                  <a:pt x="913" y="10641"/>
                  <a:pt x="800" y="11074"/>
                  <a:pt x="800" y="11337"/>
                </a:cubicBezTo>
                <a:cubicBezTo>
                  <a:pt x="800" y="11600"/>
                  <a:pt x="912" y="12033"/>
                  <a:pt x="1116" y="12556"/>
                </a:cubicBezTo>
                <a:cubicBezTo>
                  <a:pt x="1281" y="12978"/>
                  <a:pt x="1448" y="13315"/>
                  <a:pt x="1450" y="13318"/>
                </a:cubicBezTo>
                <a:cubicBezTo>
                  <a:pt x="1628" y="13676"/>
                  <a:pt x="1628" y="13676"/>
                  <a:pt x="1628" y="13676"/>
                </a:cubicBezTo>
                <a:lnTo>
                  <a:pt x="913" y="14034"/>
                </a:lnTo>
                <a:close/>
              </a:path>
            </a:pathLst>
          </a:custGeom>
          <a:solidFill>
            <a:schemeClr val="bg2">
              <a:alpha val="88000"/>
            </a:schemeClr>
          </a:solidFill>
          <a:ln>
            <a:noFill/>
          </a:ln>
          <a:effectLst>
            <a:outerShdw blurRad="1003300" dist="38100" dir="10800000" algn="r" rotWithShape="0">
              <a:schemeClr val="accent4">
                <a:lumMod val="75000"/>
                <a:alpha val="46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Freeform 9">
            <a:extLst>
              <a:ext uri="{FF2B5EF4-FFF2-40B4-BE49-F238E27FC236}">
                <a16:creationId xmlns:a16="http://schemas.microsoft.com/office/drawing/2014/main" id="{4AEC489A-4248-4DA6-B1D5-3D90EF5E08C3}"/>
              </a:ext>
            </a:extLst>
          </p:cNvPr>
          <p:cNvSpPr>
            <a:spLocks/>
          </p:cNvSpPr>
          <p:nvPr/>
        </p:nvSpPr>
        <p:spPr bwMode="auto">
          <a:xfrm rot="2757414">
            <a:off x="13169090" y="-19093395"/>
            <a:ext cx="6481764" cy="41148000"/>
          </a:xfrm>
          <a:custGeom>
            <a:avLst/>
            <a:gdLst>
              <a:gd name="T0" fmla="*/ 913 w 2188"/>
              <a:gd name="T1" fmla="*/ 14034 h 14034"/>
              <a:gd name="T2" fmla="*/ 734 w 2188"/>
              <a:gd name="T3" fmla="*/ 13676 h 14034"/>
              <a:gd name="T4" fmla="*/ 373 w 2188"/>
              <a:gd name="T5" fmla="*/ 12854 h 14034"/>
              <a:gd name="T6" fmla="*/ 0 w 2188"/>
              <a:gd name="T7" fmla="*/ 11337 h 14034"/>
              <a:gd name="T8" fmla="*/ 376 w 2188"/>
              <a:gd name="T9" fmla="*/ 9820 h 14034"/>
              <a:gd name="T10" fmla="*/ 738 w 2188"/>
              <a:gd name="T11" fmla="*/ 8998 h 14034"/>
              <a:gd name="T12" fmla="*/ 1072 w 2188"/>
              <a:gd name="T13" fmla="*/ 8236 h 14034"/>
              <a:gd name="T14" fmla="*/ 1388 w 2188"/>
              <a:gd name="T15" fmla="*/ 7017 h 14034"/>
              <a:gd name="T16" fmla="*/ 1068 w 2188"/>
              <a:gd name="T17" fmla="*/ 5792 h 14034"/>
              <a:gd name="T18" fmla="*/ 735 w 2188"/>
              <a:gd name="T19" fmla="*/ 5037 h 14034"/>
              <a:gd name="T20" fmla="*/ 734 w 2188"/>
              <a:gd name="T21" fmla="*/ 5036 h 14034"/>
              <a:gd name="T22" fmla="*/ 373 w 2188"/>
              <a:gd name="T23" fmla="*/ 4214 h 14034"/>
              <a:gd name="T24" fmla="*/ 0 w 2188"/>
              <a:gd name="T25" fmla="*/ 2697 h 14034"/>
              <a:gd name="T26" fmla="*/ 376 w 2188"/>
              <a:gd name="T27" fmla="*/ 1180 h 14034"/>
              <a:gd name="T28" fmla="*/ 739 w 2188"/>
              <a:gd name="T29" fmla="*/ 357 h 14034"/>
              <a:gd name="T30" fmla="*/ 918 w 2188"/>
              <a:gd name="T31" fmla="*/ 0 h 14034"/>
              <a:gd name="T32" fmla="*/ 1633 w 2188"/>
              <a:gd name="T33" fmla="*/ 359 h 14034"/>
              <a:gd name="T34" fmla="*/ 1453 w 2188"/>
              <a:gd name="T35" fmla="*/ 717 h 14034"/>
              <a:gd name="T36" fmla="*/ 1118 w 2188"/>
              <a:gd name="T37" fmla="*/ 1478 h 14034"/>
              <a:gd name="T38" fmla="*/ 800 w 2188"/>
              <a:gd name="T39" fmla="*/ 2697 h 14034"/>
              <a:gd name="T40" fmla="*/ 1116 w 2188"/>
              <a:gd name="T41" fmla="*/ 3916 h 14034"/>
              <a:gd name="T42" fmla="*/ 1449 w 2188"/>
              <a:gd name="T43" fmla="*/ 4677 h 14034"/>
              <a:gd name="T44" fmla="*/ 1812 w 2188"/>
              <a:gd name="T45" fmla="*/ 5500 h 14034"/>
              <a:gd name="T46" fmla="*/ 2188 w 2188"/>
              <a:gd name="T47" fmla="*/ 7017 h 14034"/>
              <a:gd name="T48" fmla="*/ 1815 w 2188"/>
              <a:gd name="T49" fmla="*/ 8534 h 14034"/>
              <a:gd name="T50" fmla="*/ 1454 w 2188"/>
              <a:gd name="T51" fmla="*/ 9356 h 14034"/>
              <a:gd name="T52" fmla="*/ 1453 w 2188"/>
              <a:gd name="T53" fmla="*/ 9357 h 14034"/>
              <a:gd name="T54" fmla="*/ 1118 w 2188"/>
              <a:gd name="T55" fmla="*/ 10118 h 14034"/>
              <a:gd name="T56" fmla="*/ 800 w 2188"/>
              <a:gd name="T57" fmla="*/ 11337 h 14034"/>
              <a:gd name="T58" fmla="*/ 1116 w 2188"/>
              <a:gd name="T59" fmla="*/ 12556 h 14034"/>
              <a:gd name="T60" fmla="*/ 1450 w 2188"/>
              <a:gd name="T61" fmla="*/ 13318 h 14034"/>
              <a:gd name="T62" fmla="*/ 1628 w 2188"/>
              <a:gd name="T63" fmla="*/ 13676 h 14034"/>
              <a:gd name="T64" fmla="*/ 913 w 2188"/>
              <a:gd name="T65" fmla="*/ 14034 h 140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188" h="14034">
                <a:moveTo>
                  <a:pt x="913" y="14034"/>
                </a:moveTo>
                <a:cubicBezTo>
                  <a:pt x="734" y="13676"/>
                  <a:pt x="734" y="13676"/>
                  <a:pt x="734" y="13676"/>
                </a:cubicBezTo>
                <a:cubicBezTo>
                  <a:pt x="727" y="13661"/>
                  <a:pt x="551" y="13308"/>
                  <a:pt x="373" y="12854"/>
                </a:cubicBezTo>
                <a:cubicBezTo>
                  <a:pt x="126" y="12219"/>
                  <a:pt x="0" y="11709"/>
                  <a:pt x="0" y="11337"/>
                </a:cubicBezTo>
                <a:cubicBezTo>
                  <a:pt x="0" y="10965"/>
                  <a:pt x="126" y="10454"/>
                  <a:pt x="376" y="9820"/>
                </a:cubicBezTo>
                <a:cubicBezTo>
                  <a:pt x="553" y="9368"/>
                  <a:pt x="729" y="9017"/>
                  <a:pt x="738" y="8998"/>
                </a:cubicBezTo>
                <a:cubicBezTo>
                  <a:pt x="745" y="8984"/>
                  <a:pt x="910" y="8651"/>
                  <a:pt x="1072" y="8236"/>
                </a:cubicBezTo>
                <a:cubicBezTo>
                  <a:pt x="1276" y="7713"/>
                  <a:pt x="1388" y="7280"/>
                  <a:pt x="1388" y="7017"/>
                </a:cubicBezTo>
                <a:cubicBezTo>
                  <a:pt x="1388" y="6753"/>
                  <a:pt x="1274" y="6318"/>
                  <a:pt x="1068" y="5792"/>
                </a:cubicBezTo>
                <a:cubicBezTo>
                  <a:pt x="902" y="5371"/>
                  <a:pt x="736" y="5040"/>
                  <a:pt x="735" y="5037"/>
                </a:cubicBezTo>
                <a:cubicBezTo>
                  <a:pt x="734" y="5036"/>
                  <a:pt x="734" y="5036"/>
                  <a:pt x="734" y="5036"/>
                </a:cubicBezTo>
                <a:cubicBezTo>
                  <a:pt x="727" y="5021"/>
                  <a:pt x="551" y="4668"/>
                  <a:pt x="373" y="4214"/>
                </a:cubicBezTo>
                <a:cubicBezTo>
                  <a:pt x="126" y="3579"/>
                  <a:pt x="0" y="3069"/>
                  <a:pt x="0" y="2697"/>
                </a:cubicBezTo>
                <a:cubicBezTo>
                  <a:pt x="0" y="2325"/>
                  <a:pt x="126" y="1814"/>
                  <a:pt x="376" y="1180"/>
                </a:cubicBezTo>
                <a:cubicBezTo>
                  <a:pt x="554" y="725"/>
                  <a:pt x="731" y="372"/>
                  <a:pt x="739" y="357"/>
                </a:cubicBezTo>
                <a:cubicBezTo>
                  <a:pt x="918" y="0"/>
                  <a:pt x="918" y="0"/>
                  <a:pt x="918" y="0"/>
                </a:cubicBezTo>
                <a:cubicBezTo>
                  <a:pt x="1633" y="359"/>
                  <a:pt x="1633" y="359"/>
                  <a:pt x="1633" y="359"/>
                </a:cubicBezTo>
                <a:cubicBezTo>
                  <a:pt x="1453" y="717"/>
                  <a:pt x="1453" y="717"/>
                  <a:pt x="1453" y="717"/>
                </a:cubicBezTo>
                <a:cubicBezTo>
                  <a:pt x="1450" y="724"/>
                  <a:pt x="1282" y="1059"/>
                  <a:pt x="1118" y="1478"/>
                </a:cubicBezTo>
                <a:cubicBezTo>
                  <a:pt x="913" y="2001"/>
                  <a:pt x="800" y="2434"/>
                  <a:pt x="800" y="2697"/>
                </a:cubicBezTo>
                <a:cubicBezTo>
                  <a:pt x="800" y="2960"/>
                  <a:pt x="912" y="3393"/>
                  <a:pt x="1116" y="3916"/>
                </a:cubicBezTo>
                <a:cubicBezTo>
                  <a:pt x="1277" y="4329"/>
                  <a:pt x="1441" y="4660"/>
                  <a:pt x="1449" y="4677"/>
                </a:cubicBezTo>
                <a:cubicBezTo>
                  <a:pt x="1458" y="4695"/>
                  <a:pt x="1634" y="5047"/>
                  <a:pt x="1812" y="5500"/>
                </a:cubicBezTo>
                <a:cubicBezTo>
                  <a:pt x="2062" y="6134"/>
                  <a:pt x="2188" y="6645"/>
                  <a:pt x="2188" y="7017"/>
                </a:cubicBezTo>
                <a:cubicBezTo>
                  <a:pt x="2188" y="7389"/>
                  <a:pt x="2062" y="7899"/>
                  <a:pt x="1815" y="8534"/>
                </a:cubicBezTo>
                <a:cubicBezTo>
                  <a:pt x="1637" y="8988"/>
                  <a:pt x="1461" y="9341"/>
                  <a:pt x="1454" y="9356"/>
                </a:cubicBezTo>
                <a:cubicBezTo>
                  <a:pt x="1453" y="9357"/>
                  <a:pt x="1453" y="9357"/>
                  <a:pt x="1453" y="9357"/>
                </a:cubicBezTo>
                <a:cubicBezTo>
                  <a:pt x="1452" y="9360"/>
                  <a:pt x="1283" y="9697"/>
                  <a:pt x="1118" y="10118"/>
                </a:cubicBezTo>
                <a:cubicBezTo>
                  <a:pt x="913" y="10641"/>
                  <a:pt x="800" y="11074"/>
                  <a:pt x="800" y="11337"/>
                </a:cubicBezTo>
                <a:cubicBezTo>
                  <a:pt x="800" y="11600"/>
                  <a:pt x="912" y="12033"/>
                  <a:pt x="1116" y="12556"/>
                </a:cubicBezTo>
                <a:cubicBezTo>
                  <a:pt x="1281" y="12978"/>
                  <a:pt x="1448" y="13315"/>
                  <a:pt x="1450" y="13318"/>
                </a:cubicBezTo>
                <a:cubicBezTo>
                  <a:pt x="1628" y="13676"/>
                  <a:pt x="1628" y="13676"/>
                  <a:pt x="1628" y="13676"/>
                </a:cubicBezTo>
                <a:lnTo>
                  <a:pt x="913" y="14034"/>
                </a:lnTo>
                <a:close/>
              </a:path>
            </a:pathLst>
          </a:custGeom>
          <a:solidFill>
            <a:schemeClr val="accent5">
              <a:alpha val="88000"/>
            </a:schemeClr>
          </a:solidFill>
          <a:ln>
            <a:noFill/>
          </a:ln>
          <a:effectLst>
            <a:outerShdw blurRad="1003300" dist="38100" dir="10800000" algn="r" rotWithShape="0">
              <a:schemeClr val="accent5">
                <a:lumMod val="75000"/>
                <a:alpha val="46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reeform 10">
            <a:extLst>
              <a:ext uri="{FF2B5EF4-FFF2-40B4-BE49-F238E27FC236}">
                <a16:creationId xmlns:a16="http://schemas.microsoft.com/office/drawing/2014/main" id="{4338872D-5B88-4EF7-BB11-7972E9F4AB5A}"/>
              </a:ext>
            </a:extLst>
          </p:cNvPr>
          <p:cNvSpPr>
            <a:spLocks/>
          </p:cNvSpPr>
          <p:nvPr/>
        </p:nvSpPr>
        <p:spPr bwMode="auto">
          <a:xfrm rot="2757414">
            <a:off x="14602705" y="-17611076"/>
            <a:ext cx="6481764" cy="41148000"/>
          </a:xfrm>
          <a:custGeom>
            <a:avLst/>
            <a:gdLst>
              <a:gd name="T0" fmla="*/ 913 w 2188"/>
              <a:gd name="T1" fmla="*/ 14034 h 14034"/>
              <a:gd name="T2" fmla="*/ 734 w 2188"/>
              <a:gd name="T3" fmla="*/ 13676 h 14034"/>
              <a:gd name="T4" fmla="*/ 373 w 2188"/>
              <a:gd name="T5" fmla="*/ 12854 h 14034"/>
              <a:gd name="T6" fmla="*/ 0 w 2188"/>
              <a:gd name="T7" fmla="*/ 11337 h 14034"/>
              <a:gd name="T8" fmla="*/ 376 w 2188"/>
              <a:gd name="T9" fmla="*/ 9820 h 14034"/>
              <a:gd name="T10" fmla="*/ 738 w 2188"/>
              <a:gd name="T11" fmla="*/ 8998 h 14034"/>
              <a:gd name="T12" fmla="*/ 1072 w 2188"/>
              <a:gd name="T13" fmla="*/ 8236 h 14034"/>
              <a:gd name="T14" fmla="*/ 1388 w 2188"/>
              <a:gd name="T15" fmla="*/ 7017 h 14034"/>
              <a:gd name="T16" fmla="*/ 1068 w 2188"/>
              <a:gd name="T17" fmla="*/ 5792 h 14034"/>
              <a:gd name="T18" fmla="*/ 735 w 2188"/>
              <a:gd name="T19" fmla="*/ 5037 h 14034"/>
              <a:gd name="T20" fmla="*/ 734 w 2188"/>
              <a:gd name="T21" fmla="*/ 5036 h 14034"/>
              <a:gd name="T22" fmla="*/ 373 w 2188"/>
              <a:gd name="T23" fmla="*/ 4214 h 14034"/>
              <a:gd name="T24" fmla="*/ 0 w 2188"/>
              <a:gd name="T25" fmla="*/ 2697 h 14034"/>
              <a:gd name="T26" fmla="*/ 376 w 2188"/>
              <a:gd name="T27" fmla="*/ 1180 h 14034"/>
              <a:gd name="T28" fmla="*/ 739 w 2188"/>
              <a:gd name="T29" fmla="*/ 357 h 14034"/>
              <a:gd name="T30" fmla="*/ 918 w 2188"/>
              <a:gd name="T31" fmla="*/ 0 h 14034"/>
              <a:gd name="T32" fmla="*/ 1633 w 2188"/>
              <a:gd name="T33" fmla="*/ 359 h 14034"/>
              <a:gd name="T34" fmla="*/ 1453 w 2188"/>
              <a:gd name="T35" fmla="*/ 717 h 14034"/>
              <a:gd name="T36" fmla="*/ 1118 w 2188"/>
              <a:gd name="T37" fmla="*/ 1478 h 14034"/>
              <a:gd name="T38" fmla="*/ 800 w 2188"/>
              <a:gd name="T39" fmla="*/ 2697 h 14034"/>
              <a:gd name="T40" fmla="*/ 1116 w 2188"/>
              <a:gd name="T41" fmla="*/ 3916 h 14034"/>
              <a:gd name="T42" fmla="*/ 1449 w 2188"/>
              <a:gd name="T43" fmla="*/ 4677 h 14034"/>
              <a:gd name="T44" fmla="*/ 1812 w 2188"/>
              <a:gd name="T45" fmla="*/ 5500 h 14034"/>
              <a:gd name="T46" fmla="*/ 2188 w 2188"/>
              <a:gd name="T47" fmla="*/ 7017 h 14034"/>
              <a:gd name="T48" fmla="*/ 1815 w 2188"/>
              <a:gd name="T49" fmla="*/ 8534 h 14034"/>
              <a:gd name="T50" fmla="*/ 1454 w 2188"/>
              <a:gd name="T51" fmla="*/ 9356 h 14034"/>
              <a:gd name="T52" fmla="*/ 1453 w 2188"/>
              <a:gd name="T53" fmla="*/ 9357 h 14034"/>
              <a:gd name="T54" fmla="*/ 1118 w 2188"/>
              <a:gd name="T55" fmla="*/ 10118 h 14034"/>
              <a:gd name="T56" fmla="*/ 800 w 2188"/>
              <a:gd name="T57" fmla="*/ 11337 h 14034"/>
              <a:gd name="T58" fmla="*/ 1116 w 2188"/>
              <a:gd name="T59" fmla="*/ 12556 h 14034"/>
              <a:gd name="T60" fmla="*/ 1450 w 2188"/>
              <a:gd name="T61" fmla="*/ 13318 h 14034"/>
              <a:gd name="T62" fmla="*/ 1628 w 2188"/>
              <a:gd name="T63" fmla="*/ 13676 h 14034"/>
              <a:gd name="T64" fmla="*/ 913 w 2188"/>
              <a:gd name="T65" fmla="*/ 14034 h 140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188" h="14034">
                <a:moveTo>
                  <a:pt x="913" y="14034"/>
                </a:moveTo>
                <a:cubicBezTo>
                  <a:pt x="734" y="13676"/>
                  <a:pt x="734" y="13676"/>
                  <a:pt x="734" y="13676"/>
                </a:cubicBezTo>
                <a:cubicBezTo>
                  <a:pt x="727" y="13661"/>
                  <a:pt x="551" y="13308"/>
                  <a:pt x="373" y="12854"/>
                </a:cubicBezTo>
                <a:cubicBezTo>
                  <a:pt x="126" y="12219"/>
                  <a:pt x="0" y="11709"/>
                  <a:pt x="0" y="11337"/>
                </a:cubicBezTo>
                <a:cubicBezTo>
                  <a:pt x="0" y="10965"/>
                  <a:pt x="126" y="10454"/>
                  <a:pt x="376" y="9820"/>
                </a:cubicBezTo>
                <a:cubicBezTo>
                  <a:pt x="553" y="9368"/>
                  <a:pt x="729" y="9017"/>
                  <a:pt x="738" y="8998"/>
                </a:cubicBezTo>
                <a:cubicBezTo>
                  <a:pt x="745" y="8984"/>
                  <a:pt x="910" y="8651"/>
                  <a:pt x="1072" y="8236"/>
                </a:cubicBezTo>
                <a:cubicBezTo>
                  <a:pt x="1276" y="7713"/>
                  <a:pt x="1388" y="7280"/>
                  <a:pt x="1388" y="7017"/>
                </a:cubicBezTo>
                <a:cubicBezTo>
                  <a:pt x="1388" y="6753"/>
                  <a:pt x="1274" y="6318"/>
                  <a:pt x="1068" y="5792"/>
                </a:cubicBezTo>
                <a:cubicBezTo>
                  <a:pt x="902" y="5371"/>
                  <a:pt x="736" y="5040"/>
                  <a:pt x="735" y="5037"/>
                </a:cubicBezTo>
                <a:cubicBezTo>
                  <a:pt x="734" y="5036"/>
                  <a:pt x="734" y="5036"/>
                  <a:pt x="734" y="5036"/>
                </a:cubicBezTo>
                <a:cubicBezTo>
                  <a:pt x="727" y="5021"/>
                  <a:pt x="551" y="4668"/>
                  <a:pt x="373" y="4214"/>
                </a:cubicBezTo>
                <a:cubicBezTo>
                  <a:pt x="126" y="3579"/>
                  <a:pt x="0" y="3069"/>
                  <a:pt x="0" y="2697"/>
                </a:cubicBezTo>
                <a:cubicBezTo>
                  <a:pt x="0" y="2325"/>
                  <a:pt x="126" y="1814"/>
                  <a:pt x="376" y="1180"/>
                </a:cubicBezTo>
                <a:cubicBezTo>
                  <a:pt x="554" y="725"/>
                  <a:pt x="731" y="372"/>
                  <a:pt x="739" y="357"/>
                </a:cubicBezTo>
                <a:cubicBezTo>
                  <a:pt x="918" y="0"/>
                  <a:pt x="918" y="0"/>
                  <a:pt x="918" y="0"/>
                </a:cubicBezTo>
                <a:cubicBezTo>
                  <a:pt x="1633" y="359"/>
                  <a:pt x="1633" y="359"/>
                  <a:pt x="1633" y="359"/>
                </a:cubicBezTo>
                <a:cubicBezTo>
                  <a:pt x="1453" y="717"/>
                  <a:pt x="1453" y="717"/>
                  <a:pt x="1453" y="717"/>
                </a:cubicBezTo>
                <a:cubicBezTo>
                  <a:pt x="1450" y="724"/>
                  <a:pt x="1282" y="1059"/>
                  <a:pt x="1118" y="1478"/>
                </a:cubicBezTo>
                <a:cubicBezTo>
                  <a:pt x="913" y="2001"/>
                  <a:pt x="800" y="2434"/>
                  <a:pt x="800" y="2697"/>
                </a:cubicBezTo>
                <a:cubicBezTo>
                  <a:pt x="800" y="2960"/>
                  <a:pt x="912" y="3393"/>
                  <a:pt x="1116" y="3916"/>
                </a:cubicBezTo>
                <a:cubicBezTo>
                  <a:pt x="1277" y="4329"/>
                  <a:pt x="1441" y="4660"/>
                  <a:pt x="1449" y="4677"/>
                </a:cubicBezTo>
                <a:cubicBezTo>
                  <a:pt x="1458" y="4695"/>
                  <a:pt x="1634" y="5047"/>
                  <a:pt x="1812" y="5500"/>
                </a:cubicBezTo>
                <a:cubicBezTo>
                  <a:pt x="2062" y="6134"/>
                  <a:pt x="2188" y="6645"/>
                  <a:pt x="2188" y="7017"/>
                </a:cubicBezTo>
                <a:cubicBezTo>
                  <a:pt x="2188" y="7389"/>
                  <a:pt x="2062" y="7899"/>
                  <a:pt x="1815" y="8534"/>
                </a:cubicBezTo>
                <a:cubicBezTo>
                  <a:pt x="1637" y="8988"/>
                  <a:pt x="1461" y="9341"/>
                  <a:pt x="1454" y="9356"/>
                </a:cubicBezTo>
                <a:cubicBezTo>
                  <a:pt x="1453" y="9357"/>
                  <a:pt x="1453" y="9357"/>
                  <a:pt x="1453" y="9357"/>
                </a:cubicBezTo>
                <a:cubicBezTo>
                  <a:pt x="1452" y="9360"/>
                  <a:pt x="1283" y="9697"/>
                  <a:pt x="1118" y="10118"/>
                </a:cubicBezTo>
                <a:cubicBezTo>
                  <a:pt x="913" y="10641"/>
                  <a:pt x="800" y="11074"/>
                  <a:pt x="800" y="11337"/>
                </a:cubicBezTo>
                <a:cubicBezTo>
                  <a:pt x="800" y="11600"/>
                  <a:pt x="912" y="12033"/>
                  <a:pt x="1116" y="12556"/>
                </a:cubicBezTo>
                <a:cubicBezTo>
                  <a:pt x="1281" y="12978"/>
                  <a:pt x="1448" y="13315"/>
                  <a:pt x="1450" y="13318"/>
                </a:cubicBezTo>
                <a:cubicBezTo>
                  <a:pt x="1628" y="13676"/>
                  <a:pt x="1628" y="13676"/>
                  <a:pt x="1628" y="13676"/>
                </a:cubicBezTo>
                <a:lnTo>
                  <a:pt x="913" y="14034"/>
                </a:lnTo>
                <a:close/>
              </a:path>
            </a:pathLst>
          </a:custGeom>
          <a:solidFill>
            <a:schemeClr val="accent2">
              <a:alpha val="88000"/>
            </a:schemeClr>
          </a:solidFill>
          <a:ln>
            <a:noFill/>
          </a:ln>
          <a:effectLst>
            <a:outerShdw blurRad="1003300" dist="38100" dir="10800000" algn="r" rotWithShape="0">
              <a:schemeClr val="accent2">
                <a:lumMod val="75000"/>
                <a:alpha val="46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Freeform 11">
            <a:extLst>
              <a:ext uri="{FF2B5EF4-FFF2-40B4-BE49-F238E27FC236}">
                <a16:creationId xmlns:a16="http://schemas.microsoft.com/office/drawing/2014/main" id="{5913C281-FCC0-48CD-995D-6723946377FC}"/>
              </a:ext>
            </a:extLst>
          </p:cNvPr>
          <p:cNvSpPr>
            <a:spLocks/>
          </p:cNvSpPr>
          <p:nvPr/>
        </p:nvSpPr>
        <p:spPr bwMode="auto">
          <a:xfrm rot="2757414">
            <a:off x="16036318" y="-16128760"/>
            <a:ext cx="6481764" cy="41148000"/>
          </a:xfrm>
          <a:custGeom>
            <a:avLst/>
            <a:gdLst>
              <a:gd name="T0" fmla="*/ 913 w 2188"/>
              <a:gd name="T1" fmla="*/ 14034 h 14034"/>
              <a:gd name="T2" fmla="*/ 734 w 2188"/>
              <a:gd name="T3" fmla="*/ 13676 h 14034"/>
              <a:gd name="T4" fmla="*/ 373 w 2188"/>
              <a:gd name="T5" fmla="*/ 12854 h 14034"/>
              <a:gd name="T6" fmla="*/ 0 w 2188"/>
              <a:gd name="T7" fmla="*/ 11337 h 14034"/>
              <a:gd name="T8" fmla="*/ 376 w 2188"/>
              <a:gd name="T9" fmla="*/ 9820 h 14034"/>
              <a:gd name="T10" fmla="*/ 738 w 2188"/>
              <a:gd name="T11" fmla="*/ 8998 h 14034"/>
              <a:gd name="T12" fmla="*/ 1072 w 2188"/>
              <a:gd name="T13" fmla="*/ 8236 h 14034"/>
              <a:gd name="T14" fmla="*/ 1388 w 2188"/>
              <a:gd name="T15" fmla="*/ 7017 h 14034"/>
              <a:gd name="T16" fmla="*/ 1068 w 2188"/>
              <a:gd name="T17" fmla="*/ 5792 h 14034"/>
              <a:gd name="T18" fmla="*/ 735 w 2188"/>
              <a:gd name="T19" fmla="*/ 5037 h 14034"/>
              <a:gd name="T20" fmla="*/ 734 w 2188"/>
              <a:gd name="T21" fmla="*/ 5036 h 14034"/>
              <a:gd name="T22" fmla="*/ 373 w 2188"/>
              <a:gd name="T23" fmla="*/ 4214 h 14034"/>
              <a:gd name="T24" fmla="*/ 0 w 2188"/>
              <a:gd name="T25" fmla="*/ 2697 h 14034"/>
              <a:gd name="T26" fmla="*/ 376 w 2188"/>
              <a:gd name="T27" fmla="*/ 1180 h 14034"/>
              <a:gd name="T28" fmla="*/ 739 w 2188"/>
              <a:gd name="T29" fmla="*/ 357 h 14034"/>
              <a:gd name="T30" fmla="*/ 918 w 2188"/>
              <a:gd name="T31" fmla="*/ 0 h 14034"/>
              <a:gd name="T32" fmla="*/ 1633 w 2188"/>
              <a:gd name="T33" fmla="*/ 359 h 14034"/>
              <a:gd name="T34" fmla="*/ 1453 w 2188"/>
              <a:gd name="T35" fmla="*/ 717 h 14034"/>
              <a:gd name="T36" fmla="*/ 1118 w 2188"/>
              <a:gd name="T37" fmla="*/ 1478 h 14034"/>
              <a:gd name="T38" fmla="*/ 800 w 2188"/>
              <a:gd name="T39" fmla="*/ 2697 h 14034"/>
              <a:gd name="T40" fmla="*/ 1116 w 2188"/>
              <a:gd name="T41" fmla="*/ 3916 h 14034"/>
              <a:gd name="T42" fmla="*/ 1449 w 2188"/>
              <a:gd name="T43" fmla="*/ 4677 h 14034"/>
              <a:gd name="T44" fmla="*/ 1812 w 2188"/>
              <a:gd name="T45" fmla="*/ 5500 h 14034"/>
              <a:gd name="T46" fmla="*/ 2188 w 2188"/>
              <a:gd name="T47" fmla="*/ 7017 h 14034"/>
              <a:gd name="T48" fmla="*/ 1815 w 2188"/>
              <a:gd name="T49" fmla="*/ 8534 h 14034"/>
              <a:gd name="T50" fmla="*/ 1454 w 2188"/>
              <a:gd name="T51" fmla="*/ 9356 h 14034"/>
              <a:gd name="T52" fmla="*/ 1453 w 2188"/>
              <a:gd name="T53" fmla="*/ 9357 h 14034"/>
              <a:gd name="T54" fmla="*/ 1118 w 2188"/>
              <a:gd name="T55" fmla="*/ 10118 h 14034"/>
              <a:gd name="T56" fmla="*/ 800 w 2188"/>
              <a:gd name="T57" fmla="*/ 11337 h 14034"/>
              <a:gd name="T58" fmla="*/ 1116 w 2188"/>
              <a:gd name="T59" fmla="*/ 12556 h 14034"/>
              <a:gd name="T60" fmla="*/ 1450 w 2188"/>
              <a:gd name="T61" fmla="*/ 13318 h 14034"/>
              <a:gd name="T62" fmla="*/ 1628 w 2188"/>
              <a:gd name="T63" fmla="*/ 13676 h 14034"/>
              <a:gd name="T64" fmla="*/ 913 w 2188"/>
              <a:gd name="T65" fmla="*/ 14034 h 140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188" h="14034">
                <a:moveTo>
                  <a:pt x="913" y="14034"/>
                </a:moveTo>
                <a:cubicBezTo>
                  <a:pt x="734" y="13676"/>
                  <a:pt x="734" y="13676"/>
                  <a:pt x="734" y="13676"/>
                </a:cubicBezTo>
                <a:cubicBezTo>
                  <a:pt x="727" y="13661"/>
                  <a:pt x="551" y="13308"/>
                  <a:pt x="373" y="12854"/>
                </a:cubicBezTo>
                <a:cubicBezTo>
                  <a:pt x="126" y="12219"/>
                  <a:pt x="0" y="11709"/>
                  <a:pt x="0" y="11337"/>
                </a:cubicBezTo>
                <a:cubicBezTo>
                  <a:pt x="0" y="10965"/>
                  <a:pt x="126" y="10454"/>
                  <a:pt x="376" y="9820"/>
                </a:cubicBezTo>
                <a:cubicBezTo>
                  <a:pt x="553" y="9368"/>
                  <a:pt x="729" y="9017"/>
                  <a:pt x="738" y="8998"/>
                </a:cubicBezTo>
                <a:cubicBezTo>
                  <a:pt x="745" y="8984"/>
                  <a:pt x="910" y="8651"/>
                  <a:pt x="1072" y="8236"/>
                </a:cubicBezTo>
                <a:cubicBezTo>
                  <a:pt x="1276" y="7713"/>
                  <a:pt x="1388" y="7280"/>
                  <a:pt x="1388" y="7017"/>
                </a:cubicBezTo>
                <a:cubicBezTo>
                  <a:pt x="1388" y="6753"/>
                  <a:pt x="1274" y="6318"/>
                  <a:pt x="1068" y="5792"/>
                </a:cubicBezTo>
                <a:cubicBezTo>
                  <a:pt x="902" y="5371"/>
                  <a:pt x="736" y="5040"/>
                  <a:pt x="735" y="5037"/>
                </a:cubicBezTo>
                <a:cubicBezTo>
                  <a:pt x="734" y="5036"/>
                  <a:pt x="734" y="5036"/>
                  <a:pt x="734" y="5036"/>
                </a:cubicBezTo>
                <a:cubicBezTo>
                  <a:pt x="727" y="5021"/>
                  <a:pt x="551" y="4668"/>
                  <a:pt x="373" y="4214"/>
                </a:cubicBezTo>
                <a:cubicBezTo>
                  <a:pt x="126" y="3579"/>
                  <a:pt x="0" y="3069"/>
                  <a:pt x="0" y="2697"/>
                </a:cubicBezTo>
                <a:cubicBezTo>
                  <a:pt x="0" y="2325"/>
                  <a:pt x="126" y="1814"/>
                  <a:pt x="376" y="1180"/>
                </a:cubicBezTo>
                <a:cubicBezTo>
                  <a:pt x="554" y="725"/>
                  <a:pt x="731" y="372"/>
                  <a:pt x="739" y="357"/>
                </a:cubicBezTo>
                <a:cubicBezTo>
                  <a:pt x="918" y="0"/>
                  <a:pt x="918" y="0"/>
                  <a:pt x="918" y="0"/>
                </a:cubicBezTo>
                <a:cubicBezTo>
                  <a:pt x="1633" y="359"/>
                  <a:pt x="1633" y="359"/>
                  <a:pt x="1633" y="359"/>
                </a:cubicBezTo>
                <a:cubicBezTo>
                  <a:pt x="1453" y="717"/>
                  <a:pt x="1453" y="717"/>
                  <a:pt x="1453" y="717"/>
                </a:cubicBezTo>
                <a:cubicBezTo>
                  <a:pt x="1450" y="724"/>
                  <a:pt x="1282" y="1059"/>
                  <a:pt x="1118" y="1478"/>
                </a:cubicBezTo>
                <a:cubicBezTo>
                  <a:pt x="913" y="2001"/>
                  <a:pt x="800" y="2434"/>
                  <a:pt x="800" y="2697"/>
                </a:cubicBezTo>
                <a:cubicBezTo>
                  <a:pt x="800" y="2960"/>
                  <a:pt x="912" y="3393"/>
                  <a:pt x="1116" y="3916"/>
                </a:cubicBezTo>
                <a:cubicBezTo>
                  <a:pt x="1277" y="4329"/>
                  <a:pt x="1441" y="4660"/>
                  <a:pt x="1449" y="4677"/>
                </a:cubicBezTo>
                <a:cubicBezTo>
                  <a:pt x="1458" y="4695"/>
                  <a:pt x="1634" y="5047"/>
                  <a:pt x="1812" y="5500"/>
                </a:cubicBezTo>
                <a:cubicBezTo>
                  <a:pt x="2062" y="6134"/>
                  <a:pt x="2188" y="6645"/>
                  <a:pt x="2188" y="7017"/>
                </a:cubicBezTo>
                <a:cubicBezTo>
                  <a:pt x="2188" y="7389"/>
                  <a:pt x="2062" y="7899"/>
                  <a:pt x="1815" y="8534"/>
                </a:cubicBezTo>
                <a:cubicBezTo>
                  <a:pt x="1637" y="8988"/>
                  <a:pt x="1461" y="9341"/>
                  <a:pt x="1454" y="9356"/>
                </a:cubicBezTo>
                <a:cubicBezTo>
                  <a:pt x="1453" y="9357"/>
                  <a:pt x="1453" y="9357"/>
                  <a:pt x="1453" y="9357"/>
                </a:cubicBezTo>
                <a:cubicBezTo>
                  <a:pt x="1452" y="9360"/>
                  <a:pt x="1283" y="9697"/>
                  <a:pt x="1118" y="10118"/>
                </a:cubicBezTo>
                <a:cubicBezTo>
                  <a:pt x="913" y="10641"/>
                  <a:pt x="800" y="11074"/>
                  <a:pt x="800" y="11337"/>
                </a:cubicBezTo>
                <a:cubicBezTo>
                  <a:pt x="800" y="11600"/>
                  <a:pt x="912" y="12033"/>
                  <a:pt x="1116" y="12556"/>
                </a:cubicBezTo>
                <a:cubicBezTo>
                  <a:pt x="1281" y="12978"/>
                  <a:pt x="1448" y="13315"/>
                  <a:pt x="1450" y="13318"/>
                </a:cubicBezTo>
                <a:cubicBezTo>
                  <a:pt x="1628" y="13676"/>
                  <a:pt x="1628" y="13676"/>
                  <a:pt x="1628" y="13676"/>
                </a:cubicBezTo>
                <a:lnTo>
                  <a:pt x="913" y="14034"/>
                </a:lnTo>
                <a:close/>
              </a:path>
            </a:pathLst>
          </a:custGeom>
          <a:solidFill>
            <a:schemeClr val="tx1">
              <a:alpha val="88000"/>
            </a:schemeClr>
          </a:solidFill>
          <a:ln>
            <a:noFill/>
          </a:ln>
          <a:effectLst>
            <a:outerShdw blurRad="1003300" dist="38100" dir="10800000" algn="r" rotWithShape="0">
              <a:prstClr val="black">
                <a:alpha val="46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10">
            <a:extLst>
              <a:ext uri="{FF2B5EF4-FFF2-40B4-BE49-F238E27FC236}">
                <a16:creationId xmlns:a16="http://schemas.microsoft.com/office/drawing/2014/main" id="{55D0FD1F-60C6-437B-818C-8543DBCEFCC5}"/>
              </a:ext>
            </a:extLst>
          </p:cNvPr>
          <p:cNvSpPr>
            <a:spLocks/>
          </p:cNvSpPr>
          <p:nvPr/>
        </p:nvSpPr>
        <p:spPr bwMode="auto">
          <a:xfrm rot="2757414">
            <a:off x="17469931" y="-14646443"/>
            <a:ext cx="6481764" cy="41148000"/>
          </a:xfrm>
          <a:custGeom>
            <a:avLst/>
            <a:gdLst>
              <a:gd name="T0" fmla="*/ 913 w 2188"/>
              <a:gd name="T1" fmla="*/ 14034 h 14034"/>
              <a:gd name="T2" fmla="*/ 734 w 2188"/>
              <a:gd name="T3" fmla="*/ 13676 h 14034"/>
              <a:gd name="T4" fmla="*/ 373 w 2188"/>
              <a:gd name="T5" fmla="*/ 12854 h 14034"/>
              <a:gd name="T6" fmla="*/ 0 w 2188"/>
              <a:gd name="T7" fmla="*/ 11337 h 14034"/>
              <a:gd name="T8" fmla="*/ 376 w 2188"/>
              <a:gd name="T9" fmla="*/ 9820 h 14034"/>
              <a:gd name="T10" fmla="*/ 738 w 2188"/>
              <a:gd name="T11" fmla="*/ 8998 h 14034"/>
              <a:gd name="T12" fmla="*/ 1072 w 2188"/>
              <a:gd name="T13" fmla="*/ 8236 h 14034"/>
              <a:gd name="T14" fmla="*/ 1388 w 2188"/>
              <a:gd name="T15" fmla="*/ 7017 h 14034"/>
              <a:gd name="T16" fmla="*/ 1068 w 2188"/>
              <a:gd name="T17" fmla="*/ 5792 h 14034"/>
              <a:gd name="T18" fmla="*/ 735 w 2188"/>
              <a:gd name="T19" fmla="*/ 5037 h 14034"/>
              <a:gd name="T20" fmla="*/ 734 w 2188"/>
              <a:gd name="T21" fmla="*/ 5036 h 14034"/>
              <a:gd name="T22" fmla="*/ 373 w 2188"/>
              <a:gd name="T23" fmla="*/ 4214 h 14034"/>
              <a:gd name="T24" fmla="*/ 0 w 2188"/>
              <a:gd name="T25" fmla="*/ 2697 h 14034"/>
              <a:gd name="T26" fmla="*/ 376 w 2188"/>
              <a:gd name="T27" fmla="*/ 1180 h 14034"/>
              <a:gd name="T28" fmla="*/ 739 w 2188"/>
              <a:gd name="T29" fmla="*/ 357 h 14034"/>
              <a:gd name="T30" fmla="*/ 918 w 2188"/>
              <a:gd name="T31" fmla="*/ 0 h 14034"/>
              <a:gd name="T32" fmla="*/ 1633 w 2188"/>
              <a:gd name="T33" fmla="*/ 359 h 14034"/>
              <a:gd name="T34" fmla="*/ 1453 w 2188"/>
              <a:gd name="T35" fmla="*/ 717 h 14034"/>
              <a:gd name="T36" fmla="*/ 1118 w 2188"/>
              <a:gd name="T37" fmla="*/ 1478 h 14034"/>
              <a:gd name="T38" fmla="*/ 800 w 2188"/>
              <a:gd name="T39" fmla="*/ 2697 h 14034"/>
              <a:gd name="T40" fmla="*/ 1116 w 2188"/>
              <a:gd name="T41" fmla="*/ 3916 h 14034"/>
              <a:gd name="T42" fmla="*/ 1449 w 2188"/>
              <a:gd name="T43" fmla="*/ 4677 h 14034"/>
              <a:gd name="T44" fmla="*/ 1812 w 2188"/>
              <a:gd name="T45" fmla="*/ 5500 h 14034"/>
              <a:gd name="T46" fmla="*/ 2188 w 2188"/>
              <a:gd name="T47" fmla="*/ 7017 h 14034"/>
              <a:gd name="T48" fmla="*/ 1815 w 2188"/>
              <a:gd name="T49" fmla="*/ 8534 h 14034"/>
              <a:gd name="T50" fmla="*/ 1454 w 2188"/>
              <a:gd name="T51" fmla="*/ 9356 h 14034"/>
              <a:gd name="T52" fmla="*/ 1453 w 2188"/>
              <a:gd name="T53" fmla="*/ 9357 h 14034"/>
              <a:gd name="T54" fmla="*/ 1118 w 2188"/>
              <a:gd name="T55" fmla="*/ 10118 h 14034"/>
              <a:gd name="T56" fmla="*/ 800 w 2188"/>
              <a:gd name="T57" fmla="*/ 11337 h 14034"/>
              <a:gd name="T58" fmla="*/ 1116 w 2188"/>
              <a:gd name="T59" fmla="*/ 12556 h 14034"/>
              <a:gd name="T60" fmla="*/ 1450 w 2188"/>
              <a:gd name="T61" fmla="*/ 13318 h 14034"/>
              <a:gd name="T62" fmla="*/ 1628 w 2188"/>
              <a:gd name="T63" fmla="*/ 13676 h 14034"/>
              <a:gd name="T64" fmla="*/ 913 w 2188"/>
              <a:gd name="T65" fmla="*/ 14034 h 140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188" h="14034">
                <a:moveTo>
                  <a:pt x="913" y="14034"/>
                </a:moveTo>
                <a:cubicBezTo>
                  <a:pt x="734" y="13676"/>
                  <a:pt x="734" y="13676"/>
                  <a:pt x="734" y="13676"/>
                </a:cubicBezTo>
                <a:cubicBezTo>
                  <a:pt x="727" y="13661"/>
                  <a:pt x="551" y="13308"/>
                  <a:pt x="373" y="12854"/>
                </a:cubicBezTo>
                <a:cubicBezTo>
                  <a:pt x="126" y="12219"/>
                  <a:pt x="0" y="11709"/>
                  <a:pt x="0" y="11337"/>
                </a:cubicBezTo>
                <a:cubicBezTo>
                  <a:pt x="0" y="10965"/>
                  <a:pt x="126" y="10454"/>
                  <a:pt x="376" y="9820"/>
                </a:cubicBezTo>
                <a:cubicBezTo>
                  <a:pt x="553" y="9368"/>
                  <a:pt x="729" y="9017"/>
                  <a:pt x="738" y="8998"/>
                </a:cubicBezTo>
                <a:cubicBezTo>
                  <a:pt x="745" y="8984"/>
                  <a:pt x="910" y="8651"/>
                  <a:pt x="1072" y="8236"/>
                </a:cubicBezTo>
                <a:cubicBezTo>
                  <a:pt x="1276" y="7713"/>
                  <a:pt x="1388" y="7280"/>
                  <a:pt x="1388" y="7017"/>
                </a:cubicBezTo>
                <a:cubicBezTo>
                  <a:pt x="1388" y="6753"/>
                  <a:pt x="1274" y="6318"/>
                  <a:pt x="1068" y="5792"/>
                </a:cubicBezTo>
                <a:cubicBezTo>
                  <a:pt x="902" y="5371"/>
                  <a:pt x="736" y="5040"/>
                  <a:pt x="735" y="5037"/>
                </a:cubicBezTo>
                <a:cubicBezTo>
                  <a:pt x="734" y="5036"/>
                  <a:pt x="734" y="5036"/>
                  <a:pt x="734" y="5036"/>
                </a:cubicBezTo>
                <a:cubicBezTo>
                  <a:pt x="727" y="5021"/>
                  <a:pt x="551" y="4668"/>
                  <a:pt x="373" y="4214"/>
                </a:cubicBezTo>
                <a:cubicBezTo>
                  <a:pt x="126" y="3579"/>
                  <a:pt x="0" y="3069"/>
                  <a:pt x="0" y="2697"/>
                </a:cubicBezTo>
                <a:cubicBezTo>
                  <a:pt x="0" y="2325"/>
                  <a:pt x="126" y="1814"/>
                  <a:pt x="376" y="1180"/>
                </a:cubicBezTo>
                <a:cubicBezTo>
                  <a:pt x="554" y="725"/>
                  <a:pt x="731" y="372"/>
                  <a:pt x="739" y="357"/>
                </a:cubicBezTo>
                <a:cubicBezTo>
                  <a:pt x="918" y="0"/>
                  <a:pt x="918" y="0"/>
                  <a:pt x="918" y="0"/>
                </a:cubicBezTo>
                <a:cubicBezTo>
                  <a:pt x="1633" y="359"/>
                  <a:pt x="1633" y="359"/>
                  <a:pt x="1633" y="359"/>
                </a:cubicBezTo>
                <a:cubicBezTo>
                  <a:pt x="1453" y="717"/>
                  <a:pt x="1453" y="717"/>
                  <a:pt x="1453" y="717"/>
                </a:cubicBezTo>
                <a:cubicBezTo>
                  <a:pt x="1450" y="724"/>
                  <a:pt x="1282" y="1059"/>
                  <a:pt x="1118" y="1478"/>
                </a:cubicBezTo>
                <a:cubicBezTo>
                  <a:pt x="913" y="2001"/>
                  <a:pt x="800" y="2434"/>
                  <a:pt x="800" y="2697"/>
                </a:cubicBezTo>
                <a:cubicBezTo>
                  <a:pt x="800" y="2960"/>
                  <a:pt x="912" y="3393"/>
                  <a:pt x="1116" y="3916"/>
                </a:cubicBezTo>
                <a:cubicBezTo>
                  <a:pt x="1277" y="4329"/>
                  <a:pt x="1441" y="4660"/>
                  <a:pt x="1449" y="4677"/>
                </a:cubicBezTo>
                <a:cubicBezTo>
                  <a:pt x="1458" y="4695"/>
                  <a:pt x="1634" y="5047"/>
                  <a:pt x="1812" y="5500"/>
                </a:cubicBezTo>
                <a:cubicBezTo>
                  <a:pt x="2062" y="6134"/>
                  <a:pt x="2188" y="6645"/>
                  <a:pt x="2188" y="7017"/>
                </a:cubicBezTo>
                <a:cubicBezTo>
                  <a:pt x="2188" y="7389"/>
                  <a:pt x="2062" y="7899"/>
                  <a:pt x="1815" y="8534"/>
                </a:cubicBezTo>
                <a:cubicBezTo>
                  <a:pt x="1637" y="8988"/>
                  <a:pt x="1461" y="9341"/>
                  <a:pt x="1454" y="9356"/>
                </a:cubicBezTo>
                <a:cubicBezTo>
                  <a:pt x="1453" y="9357"/>
                  <a:pt x="1453" y="9357"/>
                  <a:pt x="1453" y="9357"/>
                </a:cubicBezTo>
                <a:cubicBezTo>
                  <a:pt x="1452" y="9360"/>
                  <a:pt x="1283" y="9697"/>
                  <a:pt x="1118" y="10118"/>
                </a:cubicBezTo>
                <a:cubicBezTo>
                  <a:pt x="913" y="10641"/>
                  <a:pt x="800" y="11074"/>
                  <a:pt x="800" y="11337"/>
                </a:cubicBezTo>
                <a:cubicBezTo>
                  <a:pt x="800" y="11600"/>
                  <a:pt x="912" y="12033"/>
                  <a:pt x="1116" y="12556"/>
                </a:cubicBezTo>
                <a:cubicBezTo>
                  <a:pt x="1281" y="12978"/>
                  <a:pt x="1448" y="13315"/>
                  <a:pt x="1450" y="13318"/>
                </a:cubicBezTo>
                <a:cubicBezTo>
                  <a:pt x="1628" y="13676"/>
                  <a:pt x="1628" y="13676"/>
                  <a:pt x="1628" y="13676"/>
                </a:cubicBezTo>
                <a:lnTo>
                  <a:pt x="913" y="14034"/>
                </a:lnTo>
                <a:close/>
              </a:path>
            </a:pathLst>
          </a:custGeom>
          <a:solidFill>
            <a:schemeClr val="accent2">
              <a:alpha val="88000"/>
            </a:schemeClr>
          </a:solidFill>
          <a:ln>
            <a:noFill/>
          </a:ln>
          <a:effectLst>
            <a:outerShdw blurRad="1003300" dist="38100" dir="10800000" algn="r" rotWithShape="0">
              <a:schemeClr val="accent2">
                <a:lumMod val="75000"/>
                <a:alpha val="46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BCB2333-85D5-4531-9522-EA42451A374A}"/>
              </a:ext>
            </a:extLst>
          </p:cNvPr>
          <p:cNvSpPr>
            <a:spLocks/>
          </p:cNvSpPr>
          <p:nvPr/>
        </p:nvSpPr>
        <p:spPr bwMode="auto">
          <a:xfrm rot="2757414">
            <a:off x="18900234" y="-13167549"/>
            <a:ext cx="6481764" cy="41148000"/>
          </a:xfrm>
          <a:custGeom>
            <a:avLst/>
            <a:gdLst>
              <a:gd name="T0" fmla="*/ 913 w 2188"/>
              <a:gd name="T1" fmla="*/ 14034 h 14034"/>
              <a:gd name="T2" fmla="*/ 734 w 2188"/>
              <a:gd name="T3" fmla="*/ 13676 h 14034"/>
              <a:gd name="T4" fmla="*/ 373 w 2188"/>
              <a:gd name="T5" fmla="*/ 12854 h 14034"/>
              <a:gd name="T6" fmla="*/ 0 w 2188"/>
              <a:gd name="T7" fmla="*/ 11337 h 14034"/>
              <a:gd name="T8" fmla="*/ 376 w 2188"/>
              <a:gd name="T9" fmla="*/ 9820 h 14034"/>
              <a:gd name="T10" fmla="*/ 738 w 2188"/>
              <a:gd name="T11" fmla="*/ 8998 h 14034"/>
              <a:gd name="T12" fmla="*/ 1072 w 2188"/>
              <a:gd name="T13" fmla="*/ 8236 h 14034"/>
              <a:gd name="T14" fmla="*/ 1388 w 2188"/>
              <a:gd name="T15" fmla="*/ 7017 h 14034"/>
              <a:gd name="T16" fmla="*/ 1068 w 2188"/>
              <a:gd name="T17" fmla="*/ 5792 h 14034"/>
              <a:gd name="T18" fmla="*/ 735 w 2188"/>
              <a:gd name="T19" fmla="*/ 5037 h 14034"/>
              <a:gd name="T20" fmla="*/ 734 w 2188"/>
              <a:gd name="T21" fmla="*/ 5036 h 14034"/>
              <a:gd name="T22" fmla="*/ 373 w 2188"/>
              <a:gd name="T23" fmla="*/ 4214 h 14034"/>
              <a:gd name="T24" fmla="*/ 0 w 2188"/>
              <a:gd name="T25" fmla="*/ 2697 h 14034"/>
              <a:gd name="T26" fmla="*/ 376 w 2188"/>
              <a:gd name="T27" fmla="*/ 1180 h 14034"/>
              <a:gd name="T28" fmla="*/ 739 w 2188"/>
              <a:gd name="T29" fmla="*/ 357 h 14034"/>
              <a:gd name="T30" fmla="*/ 918 w 2188"/>
              <a:gd name="T31" fmla="*/ 0 h 14034"/>
              <a:gd name="T32" fmla="*/ 1633 w 2188"/>
              <a:gd name="T33" fmla="*/ 359 h 14034"/>
              <a:gd name="T34" fmla="*/ 1453 w 2188"/>
              <a:gd name="T35" fmla="*/ 717 h 14034"/>
              <a:gd name="T36" fmla="*/ 1118 w 2188"/>
              <a:gd name="T37" fmla="*/ 1478 h 14034"/>
              <a:gd name="T38" fmla="*/ 800 w 2188"/>
              <a:gd name="T39" fmla="*/ 2697 h 14034"/>
              <a:gd name="T40" fmla="*/ 1116 w 2188"/>
              <a:gd name="T41" fmla="*/ 3916 h 14034"/>
              <a:gd name="T42" fmla="*/ 1449 w 2188"/>
              <a:gd name="T43" fmla="*/ 4677 h 14034"/>
              <a:gd name="T44" fmla="*/ 1812 w 2188"/>
              <a:gd name="T45" fmla="*/ 5500 h 14034"/>
              <a:gd name="T46" fmla="*/ 2188 w 2188"/>
              <a:gd name="T47" fmla="*/ 7017 h 14034"/>
              <a:gd name="T48" fmla="*/ 1815 w 2188"/>
              <a:gd name="T49" fmla="*/ 8534 h 14034"/>
              <a:gd name="T50" fmla="*/ 1454 w 2188"/>
              <a:gd name="T51" fmla="*/ 9356 h 14034"/>
              <a:gd name="T52" fmla="*/ 1453 w 2188"/>
              <a:gd name="T53" fmla="*/ 9357 h 14034"/>
              <a:gd name="T54" fmla="*/ 1118 w 2188"/>
              <a:gd name="T55" fmla="*/ 10118 h 14034"/>
              <a:gd name="T56" fmla="*/ 800 w 2188"/>
              <a:gd name="T57" fmla="*/ 11337 h 14034"/>
              <a:gd name="T58" fmla="*/ 1116 w 2188"/>
              <a:gd name="T59" fmla="*/ 12556 h 14034"/>
              <a:gd name="T60" fmla="*/ 1450 w 2188"/>
              <a:gd name="T61" fmla="*/ 13318 h 14034"/>
              <a:gd name="T62" fmla="*/ 1628 w 2188"/>
              <a:gd name="T63" fmla="*/ 13676 h 14034"/>
              <a:gd name="T64" fmla="*/ 913 w 2188"/>
              <a:gd name="T65" fmla="*/ 14034 h 140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188" h="14034">
                <a:moveTo>
                  <a:pt x="913" y="14034"/>
                </a:moveTo>
                <a:cubicBezTo>
                  <a:pt x="734" y="13676"/>
                  <a:pt x="734" y="13676"/>
                  <a:pt x="734" y="13676"/>
                </a:cubicBezTo>
                <a:cubicBezTo>
                  <a:pt x="727" y="13661"/>
                  <a:pt x="551" y="13308"/>
                  <a:pt x="373" y="12854"/>
                </a:cubicBezTo>
                <a:cubicBezTo>
                  <a:pt x="126" y="12219"/>
                  <a:pt x="0" y="11709"/>
                  <a:pt x="0" y="11337"/>
                </a:cubicBezTo>
                <a:cubicBezTo>
                  <a:pt x="0" y="10965"/>
                  <a:pt x="126" y="10454"/>
                  <a:pt x="376" y="9820"/>
                </a:cubicBezTo>
                <a:cubicBezTo>
                  <a:pt x="553" y="9368"/>
                  <a:pt x="729" y="9017"/>
                  <a:pt x="738" y="8998"/>
                </a:cubicBezTo>
                <a:cubicBezTo>
                  <a:pt x="745" y="8984"/>
                  <a:pt x="910" y="8651"/>
                  <a:pt x="1072" y="8236"/>
                </a:cubicBezTo>
                <a:cubicBezTo>
                  <a:pt x="1276" y="7713"/>
                  <a:pt x="1388" y="7280"/>
                  <a:pt x="1388" y="7017"/>
                </a:cubicBezTo>
                <a:cubicBezTo>
                  <a:pt x="1388" y="6753"/>
                  <a:pt x="1274" y="6318"/>
                  <a:pt x="1068" y="5792"/>
                </a:cubicBezTo>
                <a:cubicBezTo>
                  <a:pt x="902" y="5371"/>
                  <a:pt x="736" y="5040"/>
                  <a:pt x="735" y="5037"/>
                </a:cubicBezTo>
                <a:cubicBezTo>
                  <a:pt x="734" y="5036"/>
                  <a:pt x="734" y="5036"/>
                  <a:pt x="734" y="5036"/>
                </a:cubicBezTo>
                <a:cubicBezTo>
                  <a:pt x="727" y="5021"/>
                  <a:pt x="551" y="4668"/>
                  <a:pt x="373" y="4214"/>
                </a:cubicBezTo>
                <a:cubicBezTo>
                  <a:pt x="126" y="3579"/>
                  <a:pt x="0" y="3069"/>
                  <a:pt x="0" y="2697"/>
                </a:cubicBezTo>
                <a:cubicBezTo>
                  <a:pt x="0" y="2325"/>
                  <a:pt x="126" y="1814"/>
                  <a:pt x="376" y="1180"/>
                </a:cubicBezTo>
                <a:cubicBezTo>
                  <a:pt x="554" y="725"/>
                  <a:pt x="731" y="372"/>
                  <a:pt x="739" y="357"/>
                </a:cubicBezTo>
                <a:cubicBezTo>
                  <a:pt x="918" y="0"/>
                  <a:pt x="918" y="0"/>
                  <a:pt x="918" y="0"/>
                </a:cubicBezTo>
                <a:cubicBezTo>
                  <a:pt x="1633" y="359"/>
                  <a:pt x="1633" y="359"/>
                  <a:pt x="1633" y="359"/>
                </a:cubicBezTo>
                <a:cubicBezTo>
                  <a:pt x="1453" y="717"/>
                  <a:pt x="1453" y="717"/>
                  <a:pt x="1453" y="717"/>
                </a:cubicBezTo>
                <a:cubicBezTo>
                  <a:pt x="1450" y="724"/>
                  <a:pt x="1282" y="1059"/>
                  <a:pt x="1118" y="1478"/>
                </a:cubicBezTo>
                <a:cubicBezTo>
                  <a:pt x="913" y="2001"/>
                  <a:pt x="800" y="2434"/>
                  <a:pt x="800" y="2697"/>
                </a:cubicBezTo>
                <a:cubicBezTo>
                  <a:pt x="800" y="2960"/>
                  <a:pt x="912" y="3393"/>
                  <a:pt x="1116" y="3916"/>
                </a:cubicBezTo>
                <a:cubicBezTo>
                  <a:pt x="1277" y="4329"/>
                  <a:pt x="1441" y="4660"/>
                  <a:pt x="1449" y="4677"/>
                </a:cubicBezTo>
                <a:cubicBezTo>
                  <a:pt x="1458" y="4695"/>
                  <a:pt x="1634" y="5047"/>
                  <a:pt x="1812" y="5500"/>
                </a:cubicBezTo>
                <a:cubicBezTo>
                  <a:pt x="2062" y="6134"/>
                  <a:pt x="2188" y="6645"/>
                  <a:pt x="2188" y="7017"/>
                </a:cubicBezTo>
                <a:cubicBezTo>
                  <a:pt x="2188" y="7389"/>
                  <a:pt x="2062" y="7899"/>
                  <a:pt x="1815" y="8534"/>
                </a:cubicBezTo>
                <a:cubicBezTo>
                  <a:pt x="1637" y="8988"/>
                  <a:pt x="1461" y="9341"/>
                  <a:pt x="1454" y="9356"/>
                </a:cubicBezTo>
                <a:cubicBezTo>
                  <a:pt x="1453" y="9357"/>
                  <a:pt x="1453" y="9357"/>
                  <a:pt x="1453" y="9357"/>
                </a:cubicBezTo>
                <a:cubicBezTo>
                  <a:pt x="1452" y="9360"/>
                  <a:pt x="1283" y="9697"/>
                  <a:pt x="1118" y="10118"/>
                </a:cubicBezTo>
                <a:cubicBezTo>
                  <a:pt x="913" y="10641"/>
                  <a:pt x="800" y="11074"/>
                  <a:pt x="800" y="11337"/>
                </a:cubicBezTo>
                <a:cubicBezTo>
                  <a:pt x="800" y="11600"/>
                  <a:pt x="912" y="12033"/>
                  <a:pt x="1116" y="12556"/>
                </a:cubicBezTo>
                <a:cubicBezTo>
                  <a:pt x="1281" y="12978"/>
                  <a:pt x="1448" y="13315"/>
                  <a:pt x="1450" y="13318"/>
                </a:cubicBezTo>
                <a:cubicBezTo>
                  <a:pt x="1628" y="13676"/>
                  <a:pt x="1628" y="13676"/>
                  <a:pt x="1628" y="13676"/>
                </a:cubicBezTo>
                <a:lnTo>
                  <a:pt x="913" y="14034"/>
                </a:lnTo>
                <a:close/>
              </a:path>
            </a:pathLst>
          </a:custGeom>
          <a:solidFill>
            <a:schemeClr val="accent5">
              <a:alpha val="88000"/>
            </a:schemeClr>
          </a:solidFill>
          <a:ln>
            <a:noFill/>
          </a:ln>
          <a:effectLst>
            <a:outerShdw blurRad="1003300" dist="38100" dir="10800000" algn="r" rotWithShape="0">
              <a:schemeClr val="accent5">
                <a:lumMod val="75000"/>
                <a:alpha val="46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8">
            <a:extLst>
              <a:ext uri="{FF2B5EF4-FFF2-40B4-BE49-F238E27FC236}">
                <a16:creationId xmlns:a16="http://schemas.microsoft.com/office/drawing/2014/main" id="{BAD4E249-F500-4D10-ADBA-4F8DC3E5BFB2}"/>
              </a:ext>
            </a:extLst>
          </p:cNvPr>
          <p:cNvSpPr>
            <a:spLocks/>
          </p:cNvSpPr>
          <p:nvPr/>
        </p:nvSpPr>
        <p:spPr bwMode="auto">
          <a:xfrm rot="2757414">
            <a:off x="20333123" y="-11683519"/>
            <a:ext cx="6486525" cy="41148000"/>
          </a:xfrm>
          <a:custGeom>
            <a:avLst/>
            <a:gdLst>
              <a:gd name="T0" fmla="*/ 913 w 2188"/>
              <a:gd name="T1" fmla="*/ 14034 h 14034"/>
              <a:gd name="T2" fmla="*/ 734 w 2188"/>
              <a:gd name="T3" fmla="*/ 13676 h 14034"/>
              <a:gd name="T4" fmla="*/ 373 w 2188"/>
              <a:gd name="T5" fmla="*/ 12854 h 14034"/>
              <a:gd name="T6" fmla="*/ 0 w 2188"/>
              <a:gd name="T7" fmla="*/ 11337 h 14034"/>
              <a:gd name="T8" fmla="*/ 376 w 2188"/>
              <a:gd name="T9" fmla="*/ 9820 h 14034"/>
              <a:gd name="T10" fmla="*/ 738 w 2188"/>
              <a:gd name="T11" fmla="*/ 8998 h 14034"/>
              <a:gd name="T12" fmla="*/ 1072 w 2188"/>
              <a:gd name="T13" fmla="*/ 8236 h 14034"/>
              <a:gd name="T14" fmla="*/ 1388 w 2188"/>
              <a:gd name="T15" fmla="*/ 7017 h 14034"/>
              <a:gd name="T16" fmla="*/ 1068 w 2188"/>
              <a:gd name="T17" fmla="*/ 5792 h 14034"/>
              <a:gd name="T18" fmla="*/ 735 w 2188"/>
              <a:gd name="T19" fmla="*/ 5037 h 14034"/>
              <a:gd name="T20" fmla="*/ 734 w 2188"/>
              <a:gd name="T21" fmla="*/ 5036 h 14034"/>
              <a:gd name="T22" fmla="*/ 373 w 2188"/>
              <a:gd name="T23" fmla="*/ 4214 h 14034"/>
              <a:gd name="T24" fmla="*/ 0 w 2188"/>
              <a:gd name="T25" fmla="*/ 2697 h 14034"/>
              <a:gd name="T26" fmla="*/ 376 w 2188"/>
              <a:gd name="T27" fmla="*/ 1180 h 14034"/>
              <a:gd name="T28" fmla="*/ 739 w 2188"/>
              <a:gd name="T29" fmla="*/ 357 h 14034"/>
              <a:gd name="T30" fmla="*/ 918 w 2188"/>
              <a:gd name="T31" fmla="*/ 0 h 14034"/>
              <a:gd name="T32" fmla="*/ 1633 w 2188"/>
              <a:gd name="T33" fmla="*/ 359 h 14034"/>
              <a:gd name="T34" fmla="*/ 1453 w 2188"/>
              <a:gd name="T35" fmla="*/ 717 h 14034"/>
              <a:gd name="T36" fmla="*/ 1118 w 2188"/>
              <a:gd name="T37" fmla="*/ 1478 h 14034"/>
              <a:gd name="T38" fmla="*/ 800 w 2188"/>
              <a:gd name="T39" fmla="*/ 2697 h 14034"/>
              <a:gd name="T40" fmla="*/ 1116 w 2188"/>
              <a:gd name="T41" fmla="*/ 3916 h 14034"/>
              <a:gd name="T42" fmla="*/ 1449 w 2188"/>
              <a:gd name="T43" fmla="*/ 4677 h 14034"/>
              <a:gd name="T44" fmla="*/ 1812 w 2188"/>
              <a:gd name="T45" fmla="*/ 5500 h 14034"/>
              <a:gd name="T46" fmla="*/ 2188 w 2188"/>
              <a:gd name="T47" fmla="*/ 7017 h 14034"/>
              <a:gd name="T48" fmla="*/ 1815 w 2188"/>
              <a:gd name="T49" fmla="*/ 8534 h 14034"/>
              <a:gd name="T50" fmla="*/ 1454 w 2188"/>
              <a:gd name="T51" fmla="*/ 9356 h 14034"/>
              <a:gd name="T52" fmla="*/ 1453 w 2188"/>
              <a:gd name="T53" fmla="*/ 9357 h 14034"/>
              <a:gd name="T54" fmla="*/ 1118 w 2188"/>
              <a:gd name="T55" fmla="*/ 10118 h 14034"/>
              <a:gd name="T56" fmla="*/ 800 w 2188"/>
              <a:gd name="T57" fmla="*/ 11337 h 14034"/>
              <a:gd name="T58" fmla="*/ 1116 w 2188"/>
              <a:gd name="T59" fmla="*/ 12556 h 14034"/>
              <a:gd name="T60" fmla="*/ 1450 w 2188"/>
              <a:gd name="T61" fmla="*/ 13318 h 14034"/>
              <a:gd name="T62" fmla="*/ 1628 w 2188"/>
              <a:gd name="T63" fmla="*/ 13676 h 14034"/>
              <a:gd name="T64" fmla="*/ 913 w 2188"/>
              <a:gd name="T65" fmla="*/ 14034 h 140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188" h="14034">
                <a:moveTo>
                  <a:pt x="913" y="14034"/>
                </a:moveTo>
                <a:cubicBezTo>
                  <a:pt x="734" y="13676"/>
                  <a:pt x="734" y="13676"/>
                  <a:pt x="734" y="13676"/>
                </a:cubicBezTo>
                <a:cubicBezTo>
                  <a:pt x="727" y="13661"/>
                  <a:pt x="551" y="13308"/>
                  <a:pt x="373" y="12854"/>
                </a:cubicBezTo>
                <a:cubicBezTo>
                  <a:pt x="126" y="12219"/>
                  <a:pt x="0" y="11709"/>
                  <a:pt x="0" y="11337"/>
                </a:cubicBezTo>
                <a:cubicBezTo>
                  <a:pt x="0" y="10965"/>
                  <a:pt x="126" y="10454"/>
                  <a:pt x="376" y="9820"/>
                </a:cubicBezTo>
                <a:cubicBezTo>
                  <a:pt x="553" y="9368"/>
                  <a:pt x="729" y="9017"/>
                  <a:pt x="738" y="8998"/>
                </a:cubicBezTo>
                <a:cubicBezTo>
                  <a:pt x="745" y="8984"/>
                  <a:pt x="910" y="8651"/>
                  <a:pt x="1072" y="8236"/>
                </a:cubicBezTo>
                <a:cubicBezTo>
                  <a:pt x="1276" y="7713"/>
                  <a:pt x="1388" y="7280"/>
                  <a:pt x="1388" y="7017"/>
                </a:cubicBezTo>
                <a:cubicBezTo>
                  <a:pt x="1388" y="6753"/>
                  <a:pt x="1274" y="6318"/>
                  <a:pt x="1068" y="5792"/>
                </a:cubicBezTo>
                <a:cubicBezTo>
                  <a:pt x="902" y="5371"/>
                  <a:pt x="736" y="5040"/>
                  <a:pt x="735" y="5037"/>
                </a:cubicBezTo>
                <a:cubicBezTo>
                  <a:pt x="734" y="5036"/>
                  <a:pt x="734" y="5036"/>
                  <a:pt x="734" y="5036"/>
                </a:cubicBezTo>
                <a:cubicBezTo>
                  <a:pt x="727" y="5021"/>
                  <a:pt x="551" y="4668"/>
                  <a:pt x="373" y="4214"/>
                </a:cubicBezTo>
                <a:cubicBezTo>
                  <a:pt x="126" y="3579"/>
                  <a:pt x="0" y="3069"/>
                  <a:pt x="0" y="2697"/>
                </a:cubicBezTo>
                <a:cubicBezTo>
                  <a:pt x="0" y="2325"/>
                  <a:pt x="126" y="1814"/>
                  <a:pt x="376" y="1180"/>
                </a:cubicBezTo>
                <a:cubicBezTo>
                  <a:pt x="554" y="725"/>
                  <a:pt x="731" y="372"/>
                  <a:pt x="739" y="357"/>
                </a:cubicBezTo>
                <a:cubicBezTo>
                  <a:pt x="918" y="0"/>
                  <a:pt x="918" y="0"/>
                  <a:pt x="918" y="0"/>
                </a:cubicBezTo>
                <a:cubicBezTo>
                  <a:pt x="1633" y="359"/>
                  <a:pt x="1633" y="359"/>
                  <a:pt x="1633" y="359"/>
                </a:cubicBezTo>
                <a:cubicBezTo>
                  <a:pt x="1453" y="717"/>
                  <a:pt x="1453" y="717"/>
                  <a:pt x="1453" y="717"/>
                </a:cubicBezTo>
                <a:cubicBezTo>
                  <a:pt x="1450" y="724"/>
                  <a:pt x="1282" y="1059"/>
                  <a:pt x="1118" y="1478"/>
                </a:cubicBezTo>
                <a:cubicBezTo>
                  <a:pt x="913" y="2001"/>
                  <a:pt x="800" y="2434"/>
                  <a:pt x="800" y="2697"/>
                </a:cubicBezTo>
                <a:cubicBezTo>
                  <a:pt x="800" y="2960"/>
                  <a:pt x="912" y="3393"/>
                  <a:pt x="1116" y="3916"/>
                </a:cubicBezTo>
                <a:cubicBezTo>
                  <a:pt x="1277" y="4329"/>
                  <a:pt x="1441" y="4660"/>
                  <a:pt x="1449" y="4677"/>
                </a:cubicBezTo>
                <a:cubicBezTo>
                  <a:pt x="1458" y="4695"/>
                  <a:pt x="1634" y="5047"/>
                  <a:pt x="1812" y="5500"/>
                </a:cubicBezTo>
                <a:cubicBezTo>
                  <a:pt x="2062" y="6134"/>
                  <a:pt x="2188" y="6645"/>
                  <a:pt x="2188" y="7017"/>
                </a:cubicBezTo>
                <a:cubicBezTo>
                  <a:pt x="2188" y="7389"/>
                  <a:pt x="2062" y="7899"/>
                  <a:pt x="1815" y="8534"/>
                </a:cubicBezTo>
                <a:cubicBezTo>
                  <a:pt x="1637" y="8988"/>
                  <a:pt x="1461" y="9341"/>
                  <a:pt x="1454" y="9356"/>
                </a:cubicBezTo>
                <a:cubicBezTo>
                  <a:pt x="1453" y="9357"/>
                  <a:pt x="1453" y="9357"/>
                  <a:pt x="1453" y="9357"/>
                </a:cubicBezTo>
                <a:cubicBezTo>
                  <a:pt x="1452" y="9360"/>
                  <a:pt x="1283" y="9697"/>
                  <a:pt x="1118" y="10118"/>
                </a:cubicBezTo>
                <a:cubicBezTo>
                  <a:pt x="913" y="10641"/>
                  <a:pt x="800" y="11074"/>
                  <a:pt x="800" y="11337"/>
                </a:cubicBezTo>
                <a:cubicBezTo>
                  <a:pt x="800" y="11600"/>
                  <a:pt x="912" y="12033"/>
                  <a:pt x="1116" y="12556"/>
                </a:cubicBezTo>
                <a:cubicBezTo>
                  <a:pt x="1281" y="12978"/>
                  <a:pt x="1448" y="13315"/>
                  <a:pt x="1450" y="13318"/>
                </a:cubicBezTo>
                <a:cubicBezTo>
                  <a:pt x="1628" y="13676"/>
                  <a:pt x="1628" y="13676"/>
                  <a:pt x="1628" y="13676"/>
                </a:cubicBezTo>
                <a:lnTo>
                  <a:pt x="913" y="14034"/>
                </a:lnTo>
                <a:close/>
              </a:path>
            </a:pathLst>
          </a:custGeom>
          <a:solidFill>
            <a:schemeClr val="accent4">
              <a:alpha val="88000"/>
            </a:schemeClr>
          </a:solidFill>
          <a:ln>
            <a:noFill/>
          </a:ln>
          <a:effectLst>
            <a:outerShdw blurRad="1003300" dist="38100" dir="10800000" algn="r" rotWithShape="0">
              <a:schemeClr val="accent4">
                <a:lumMod val="75000"/>
                <a:alpha val="46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7">
            <a:extLst>
              <a:ext uri="{FF2B5EF4-FFF2-40B4-BE49-F238E27FC236}">
                <a16:creationId xmlns:a16="http://schemas.microsoft.com/office/drawing/2014/main" id="{8F6419EE-D874-4707-B2EA-33CE4EB5A2B1}"/>
              </a:ext>
            </a:extLst>
          </p:cNvPr>
          <p:cNvSpPr>
            <a:spLocks/>
          </p:cNvSpPr>
          <p:nvPr/>
        </p:nvSpPr>
        <p:spPr bwMode="auto">
          <a:xfrm rot="2757414">
            <a:off x="21767462" y="-10202914"/>
            <a:ext cx="6481764" cy="41148000"/>
          </a:xfrm>
          <a:custGeom>
            <a:avLst/>
            <a:gdLst>
              <a:gd name="T0" fmla="*/ 913 w 2188"/>
              <a:gd name="T1" fmla="*/ 14034 h 14034"/>
              <a:gd name="T2" fmla="*/ 734 w 2188"/>
              <a:gd name="T3" fmla="*/ 13676 h 14034"/>
              <a:gd name="T4" fmla="*/ 373 w 2188"/>
              <a:gd name="T5" fmla="*/ 12854 h 14034"/>
              <a:gd name="T6" fmla="*/ 0 w 2188"/>
              <a:gd name="T7" fmla="*/ 11337 h 14034"/>
              <a:gd name="T8" fmla="*/ 376 w 2188"/>
              <a:gd name="T9" fmla="*/ 9820 h 14034"/>
              <a:gd name="T10" fmla="*/ 738 w 2188"/>
              <a:gd name="T11" fmla="*/ 8998 h 14034"/>
              <a:gd name="T12" fmla="*/ 1072 w 2188"/>
              <a:gd name="T13" fmla="*/ 8236 h 14034"/>
              <a:gd name="T14" fmla="*/ 1388 w 2188"/>
              <a:gd name="T15" fmla="*/ 7017 h 14034"/>
              <a:gd name="T16" fmla="*/ 1068 w 2188"/>
              <a:gd name="T17" fmla="*/ 5792 h 14034"/>
              <a:gd name="T18" fmla="*/ 735 w 2188"/>
              <a:gd name="T19" fmla="*/ 5037 h 14034"/>
              <a:gd name="T20" fmla="*/ 734 w 2188"/>
              <a:gd name="T21" fmla="*/ 5036 h 14034"/>
              <a:gd name="T22" fmla="*/ 373 w 2188"/>
              <a:gd name="T23" fmla="*/ 4214 h 14034"/>
              <a:gd name="T24" fmla="*/ 0 w 2188"/>
              <a:gd name="T25" fmla="*/ 2697 h 14034"/>
              <a:gd name="T26" fmla="*/ 376 w 2188"/>
              <a:gd name="T27" fmla="*/ 1180 h 14034"/>
              <a:gd name="T28" fmla="*/ 739 w 2188"/>
              <a:gd name="T29" fmla="*/ 357 h 14034"/>
              <a:gd name="T30" fmla="*/ 918 w 2188"/>
              <a:gd name="T31" fmla="*/ 0 h 14034"/>
              <a:gd name="T32" fmla="*/ 1633 w 2188"/>
              <a:gd name="T33" fmla="*/ 359 h 14034"/>
              <a:gd name="T34" fmla="*/ 1453 w 2188"/>
              <a:gd name="T35" fmla="*/ 717 h 14034"/>
              <a:gd name="T36" fmla="*/ 1118 w 2188"/>
              <a:gd name="T37" fmla="*/ 1478 h 14034"/>
              <a:gd name="T38" fmla="*/ 800 w 2188"/>
              <a:gd name="T39" fmla="*/ 2697 h 14034"/>
              <a:gd name="T40" fmla="*/ 1116 w 2188"/>
              <a:gd name="T41" fmla="*/ 3916 h 14034"/>
              <a:gd name="T42" fmla="*/ 1449 w 2188"/>
              <a:gd name="T43" fmla="*/ 4677 h 14034"/>
              <a:gd name="T44" fmla="*/ 1812 w 2188"/>
              <a:gd name="T45" fmla="*/ 5500 h 14034"/>
              <a:gd name="T46" fmla="*/ 2188 w 2188"/>
              <a:gd name="T47" fmla="*/ 7017 h 14034"/>
              <a:gd name="T48" fmla="*/ 1815 w 2188"/>
              <a:gd name="T49" fmla="*/ 8534 h 14034"/>
              <a:gd name="T50" fmla="*/ 1454 w 2188"/>
              <a:gd name="T51" fmla="*/ 9356 h 14034"/>
              <a:gd name="T52" fmla="*/ 1453 w 2188"/>
              <a:gd name="T53" fmla="*/ 9357 h 14034"/>
              <a:gd name="T54" fmla="*/ 1118 w 2188"/>
              <a:gd name="T55" fmla="*/ 10118 h 14034"/>
              <a:gd name="T56" fmla="*/ 800 w 2188"/>
              <a:gd name="T57" fmla="*/ 11337 h 14034"/>
              <a:gd name="T58" fmla="*/ 1116 w 2188"/>
              <a:gd name="T59" fmla="*/ 12556 h 14034"/>
              <a:gd name="T60" fmla="*/ 1450 w 2188"/>
              <a:gd name="T61" fmla="*/ 13318 h 14034"/>
              <a:gd name="T62" fmla="*/ 1628 w 2188"/>
              <a:gd name="T63" fmla="*/ 13676 h 14034"/>
              <a:gd name="T64" fmla="*/ 913 w 2188"/>
              <a:gd name="T65" fmla="*/ 14034 h 140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188" h="14034">
                <a:moveTo>
                  <a:pt x="913" y="14034"/>
                </a:moveTo>
                <a:cubicBezTo>
                  <a:pt x="734" y="13676"/>
                  <a:pt x="734" y="13676"/>
                  <a:pt x="734" y="13676"/>
                </a:cubicBezTo>
                <a:cubicBezTo>
                  <a:pt x="727" y="13661"/>
                  <a:pt x="551" y="13308"/>
                  <a:pt x="373" y="12854"/>
                </a:cubicBezTo>
                <a:cubicBezTo>
                  <a:pt x="126" y="12219"/>
                  <a:pt x="0" y="11709"/>
                  <a:pt x="0" y="11337"/>
                </a:cubicBezTo>
                <a:cubicBezTo>
                  <a:pt x="0" y="10965"/>
                  <a:pt x="126" y="10454"/>
                  <a:pt x="376" y="9820"/>
                </a:cubicBezTo>
                <a:cubicBezTo>
                  <a:pt x="553" y="9368"/>
                  <a:pt x="729" y="9017"/>
                  <a:pt x="738" y="8998"/>
                </a:cubicBezTo>
                <a:cubicBezTo>
                  <a:pt x="745" y="8984"/>
                  <a:pt x="910" y="8651"/>
                  <a:pt x="1072" y="8236"/>
                </a:cubicBezTo>
                <a:cubicBezTo>
                  <a:pt x="1276" y="7713"/>
                  <a:pt x="1388" y="7280"/>
                  <a:pt x="1388" y="7017"/>
                </a:cubicBezTo>
                <a:cubicBezTo>
                  <a:pt x="1388" y="6753"/>
                  <a:pt x="1274" y="6318"/>
                  <a:pt x="1068" y="5792"/>
                </a:cubicBezTo>
                <a:cubicBezTo>
                  <a:pt x="902" y="5371"/>
                  <a:pt x="736" y="5040"/>
                  <a:pt x="735" y="5037"/>
                </a:cubicBezTo>
                <a:cubicBezTo>
                  <a:pt x="734" y="5036"/>
                  <a:pt x="734" y="5036"/>
                  <a:pt x="734" y="5036"/>
                </a:cubicBezTo>
                <a:cubicBezTo>
                  <a:pt x="727" y="5021"/>
                  <a:pt x="551" y="4668"/>
                  <a:pt x="373" y="4214"/>
                </a:cubicBezTo>
                <a:cubicBezTo>
                  <a:pt x="126" y="3579"/>
                  <a:pt x="0" y="3069"/>
                  <a:pt x="0" y="2697"/>
                </a:cubicBezTo>
                <a:cubicBezTo>
                  <a:pt x="0" y="2325"/>
                  <a:pt x="126" y="1814"/>
                  <a:pt x="376" y="1180"/>
                </a:cubicBezTo>
                <a:cubicBezTo>
                  <a:pt x="554" y="725"/>
                  <a:pt x="731" y="372"/>
                  <a:pt x="739" y="357"/>
                </a:cubicBezTo>
                <a:cubicBezTo>
                  <a:pt x="918" y="0"/>
                  <a:pt x="918" y="0"/>
                  <a:pt x="918" y="0"/>
                </a:cubicBezTo>
                <a:cubicBezTo>
                  <a:pt x="1633" y="359"/>
                  <a:pt x="1633" y="359"/>
                  <a:pt x="1633" y="359"/>
                </a:cubicBezTo>
                <a:cubicBezTo>
                  <a:pt x="1453" y="717"/>
                  <a:pt x="1453" y="717"/>
                  <a:pt x="1453" y="717"/>
                </a:cubicBezTo>
                <a:cubicBezTo>
                  <a:pt x="1450" y="724"/>
                  <a:pt x="1282" y="1059"/>
                  <a:pt x="1118" y="1478"/>
                </a:cubicBezTo>
                <a:cubicBezTo>
                  <a:pt x="913" y="2001"/>
                  <a:pt x="800" y="2434"/>
                  <a:pt x="800" y="2697"/>
                </a:cubicBezTo>
                <a:cubicBezTo>
                  <a:pt x="800" y="2960"/>
                  <a:pt x="912" y="3393"/>
                  <a:pt x="1116" y="3916"/>
                </a:cubicBezTo>
                <a:cubicBezTo>
                  <a:pt x="1277" y="4329"/>
                  <a:pt x="1441" y="4660"/>
                  <a:pt x="1449" y="4677"/>
                </a:cubicBezTo>
                <a:cubicBezTo>
                  <a:pt x="1458" y="4695"/>
                  <a:pt x="1634" y="5047"/>
                  <a:pt x="1812" y="5500"/>
                </a:cubicBezTo>
                <a:cubicBezTo>
                  <a:pt x="2062" y="6134"/>
                  <a:pt x="2188" y="6645"/>
                  <a:pt x="2188" y="7017"/>
                </a:cubicBezTo>
                <a:cubicBezTo>
                  <a:pt x="2188" y="7389"/>
                  <a:pt x="2062" y="7899"/>
                  <a:pt x="1815" y="8534"/>
                </a:cubicBezTo>
                <a:cubicBezTo>
                  <a:pt x="1637" y="8988"/>
                  <a:pt x="1461" y="9341"/>
                  <a:pt x="1454" y="9356"/>
                </a:cubicBezTo>
                <a:cubicBezTo>
                  <a:pt x="1453" y="9357"/>
                  <a:pt x="1453" y="9357"/>
                  <a:pt x="1453" y="9357"/>
                </a:cubicBezTo>
                <a:cubicBezTo>
                  <a:pt x="1452" y="9360"/>
                  <a:pt x="1283" y="9697"/>
                  <a:pt x="1118" y="10118"/>
                </a:cubicBezTo>
                <a:cubicBezTo>
                  <a:pt x="913" y="10641"/>
                  <a:pt x="800" y="11074"/>
                  <a:pt x="800" y="11337"/>
                </a:cubicBezTo>
                <a:cubicBezTo>
                  <a:pt x="800" y="11600"/>
                  <a:pt x="912" y="12033"/>
                  <a:pt x="1116" y="12556"/>
                </a:cubicBezTo>
                <a:cubicBezTo>
                  <a:pt x="1281" y="12978"/>
                  <a:pt x="1448" y="13315"/>
                  <a:pt x="1450" y="13318"/>
                </a:cubicBezTo>
                <a:cubicBezTo>
                  <a:pt x="1628" y="13676"/>
                  <a:pt x="1628" y="13676"/>
                  <a:pt x="1628" y="13676"/>
                </a:cubicBezTo>
                <a:lnTo>
                  <a:pt x="913" y="14034"/>
                </a:lnTo>
                <a:close/>
              </a:path>
            </a:pathLst>
          </a:custGeom>
          <a:solidFill>
            <a:schemeClr val="accent3">
              <a:alpha val="88000"/>
            </a:schemeClr>
          </a:solidFill>
          <a:ln>
            <a:noFill/>
          </a:ln>
          <a:effectLst>
            <a:outerShdw blurRad="1003300" dist="38100" dir="10800000" algn="r" rotWithShape="0">
              <a:schemeClr val="accent3">
                <a:lumMod val="75000"/>
                <a:alpha val="46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6">
            <a:extLst>
              <a:ext uri="{FF2B5EF4-FFF2-40B4-BE49-F238E27FC236}">
                <a16:creationId xmlns:a16="http://schemas.microsoft.com/office/drawing/2014/main" id="{AEB13B06-6FB9-4E9C-A4D6-8B0379950871}"/>
              </a:ext>
            </a:extLst>
          </p:cNvPr>
          <p:cNvSpPr>
            <a:spLocks/>
          </p:cNvSpPr>
          <p:nvPr/>
        </p:nvSpPr>
        <p:spPr bwMode="auto">
          <a:xfrm rot="2757414">
            <a:off x="23197763" y="-8724021"/>
            <a:ext cx="6481764" cy="41148000"/>
          </a:xfrm>
          <a:custGeom>
            <a:avLst/>
            <a:gdLst>
              <a:gd name="T0" fmla="*/ 913 w 2188"/>
              <a:gd name="T1" fmla="*/ 14034 h 14034"/>
              <a:gd name="T2" fmla="*/ 734 w 2188"/>
              <a:gd name="T3" fmla="*/ 13676 h 14034"/>
              <a:gd name="T4" fmla="*/ 373 w 2188"/>
              <a:gd name="T5" fmla="*/ 12854 h 14034"/>
              <a:gd name="T6" fmla="*/ 0 w 2188"/>
              <a:gd name="T7" fmla="*/ 11337 h 14034"/>
              <a:gd name="T8" fmla="*/ 376 w 2188"/>
              <a:gd name="T9" fmla="*/ 9820 h 14034"/>
              <a:gd name="T10" fmla="*/ 738 w 2188"/>
              <a:gd name="T11" fmla="*/ 8998 h 14034"/>
              <a:gd name="T12" fmla="*/ 1072 w 2188"/>
              <a:gd name="T13" fmla="*/ 8236 h 14034"/>
              <a:gd name="T14" fmla="*/ 1388 w 2188"/>
              <a:gd name="T15" fmla="*/ 7017 h 14034"/>
              <a:gd name="T16" fmla="*/ 1068 w 2188"/>
              <a:gd name="T17" fmla="*/ 5792 h 14034"/>
              <a:gd name="T18" fmla="*/ 735 w 2188"/>
              <a:gd name="T19" fmla="*/ 5037 h 14034"/>
              <a:gd name="T20" fmla="*/ 734 w 2188"/>
              <a:gd name="T21" fmla="*/ 5036 h 14034"/>
              <a:gd name="T22" fmla="*/ 373 w 2188"/>
              <a:gd name="T23" fmla="*/ 4214 h 14034"/>
              <a:gd name="T24" fmla="*/ 0 w 2188"/>
              <a:gd name="T25" fmla="*/ 2697 h 14034"/>
              <a:gd name="T26" fmla="*/ 376 w 2188"/>
              <a:gd name="T27" fmla="*/ 1180 h 14034"/>
              <a:gd name="T28" fmla="*/ 739 w 2188"/>
              <a:gd name="T29" fmla="*/ 357 h 14034"/>
              <a:gd name="T30" fmla="*/ 918 w 2188"/>
              <a:gd name="T31" fmla="*/ 0 h 14034"/>
              <a:gd name="T32" fmla="*/ 1633 w 2188"/>
              <a:gd name="T33" fmla="*/ 359 h 14034"/>
              <a:gd name="T34" fmla="*/ 1453 w 2188"/>
              <a:gd name="T35" fmla="*/ 717 h 14034"/>
              <a:gd name="T36" fmla="*/ 1118 w 2188"/>
              <a:gd name="T37" fmla="*/ 1478 h 14034"/>
              <a:gd name="T38" fmla="*/ 800 w 2188"/>
              <a:gd name="T39" fmla="*/ 2697 h 14034"/>
              <a:gd name="T40" fmla="*/ 1116 w 2188"/>
              <a:gd name="T41" fmla="*/ 3916 h 14034"/>
              <a:gd name="T42" fmla="*/ 1449 w 2188"/>
              <a:gd name="T43" fmla="*/ 4677 h 14034"/>
              <a:gd name="T44" fmla="*/ 1812 w 2188"/>
              <a:gd name="T45" fmla="*/ 5500 h 14034"/>
              <a:gd name="T46" fmla="*/ 2188 w 2188"/>
              <a:gd name="T47" fmla="*/ 7017 h 14034"/>
              <a:gd name="T48" fmla="*/ 1815 w 2188"/>
              <a:gd name="T49" fmla="*/ 8534 h 14034"/>
              <a:gd name="T50" fmla="*/ 1454 w 2188"/>
              <a:gd name="T51" fmla="*/ 9356 h 14034"/>
              <a:gd name="T52" fmla="*/ 1453 w 2188"/>
              <a:gd name="T53" fmla="*/ 9357 h 14034"/>
              <a:gd name="T54" fmla="*/ 1118 w 2188"/>
              <a:gd name="T55" fmla="*/ 10118 h 14034"/>
              <a:gd name="T56" fmla="*/ 800 w 2188"/>
              <a:gd name="T57" fmla="*/ 11337 h 14034"/>
              <a:gd name="T58" fmla="*/ 1116 w 2188"/>
              <a:gd name="T59" fmla="*/ 12556 h 14034"/>
              <a:gd name="T60" fmla="*/ 1450 w 2188"/>
              <a:gd name="T61" fmla="*/ 13318 h 14034"/>
              <a:gd name="T62" fmla="*/ 1628 w 2188"/>
              <a:gd name="T63" fmla="*/ 13676 h 14034"/>
              <a:gd name="T64" fmla="*/ 913 w 2188"/>
              <a:gd name="T65" fmla="*/ 14034 h 140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188" h="14034">
                <a:moveTo>
                  <a:pt x="913" y="14034"/>
                </a:moveTo>
                <a:cubicBezTo>
                  <a:pt x="734" y="13676"/>
                  <a:pt x="734" y="13676"/>
                  <a:pt x="734" y="13676"/>
                </a:cubicBezTo>
                <a:cubicBezTo>
                  <a:pt x="727" y="13661"/>
                  <a:pt x="551" y="13308"/>
                  <a:pt x="373" y="12854"/>
                </a:cubicBezTo>
                <a:cubicBezTo>
                  <a:pt x="126" y="12219"/>
                  <a:pt x="0" y="11709"/>
                  <a:pt x="0" y="11337"/>
                </a:cubicBezTo>
                <a:cubicBezTo>
                  <a:pt x="0" y="10965"/>
                  <a:pt x="126" y="10454"/>
                  <a:pt x="376" y="9820"/>
                </a:cubicBezTo>
                <a:cubicBezTo>
                  <a:pt x="553" y="9368"/>
                  <a:pt x="729" y="9017"/>
                  <a:pt x="738" y="8998"/>
                </a:cubicBezTo>
                <a:cubicBezTo>
                  <a:pt x="745" y="8984"/>
                  <a:pt x="910" y="8651"/>
                  <a:pt x="1072" y="8236"/>
                </a:cubicBezTo>
                <a:cubicBezTo>
                  <a:pt x="1276" y="7713"/>
                  <a:pt x="1388" y="7280"/>
                  <a:pt x="1388" y="7017"/>
                </a:cubicBezTo>
                <a:cubicBezTo>
                  <a:pt x="1388" y="6753"/>
                  <a:pt x="1274" y="6318"/>
                  <a:pt x="1068" y="5792"/>
                </a:cubicBezTo>
                <a:cubicBezTo>
                  <a:pt x="902" y="5371"/>
                  <a:pt x="736" y="5040"/>
                  <a:pt x="735" y="5037"/>
                </a:cubicBezTo>
                <a:cubicBezTo>
                  <a:pt x="734" y="5036"/>
                  <a:pt x="734" y="5036"/>
                  <a:pt x="734" y="5036"/>
                </a:cubicBezTo>
                <a:cubicBezTo>
                  <a:pt x="727" y="5021"/>
                  <a:pt x="551" y="4668"/>
                  <a:pt x="373" y="4214"/>
                </a:cubicBezTo>
                <a:cubicBezTo>
                  <a:pt x="126" y="3579"/>
                  <a:pt x="0" y="3069"/>
                  <a:pt x="0" y="2697"/>
                </a:cubicBezTo>
                <a:cubicBezTo>
                  <a:pt x="0" y="2325"/>
                  <a:pt x="126" y="1814"/>
                  <a:pt x="376" y="1180"/>
                </a:cubicBezTo>
                <a:cubicBezTo>
                  <a:pt x="554" y="725"/>
                  <a:pt x="731" y="372"/>
                  <a:pt x="739" y="357"/>
                </a:cubicBezTo>
                <a:cubicBezTo>
                  <a:pt x="918" y="0"/>
                  <a:pt x="918" y="0"/>
                  <a:pt x="918" y="0"/>
                </a:cubicBezTo>
                <a:cubicBezTo>
                  <a:pt x="1633" y="359"/>
                  <a:pt x="1633" y="359"/>
                  <a:pt x="1633" y="359"/>
                </a:cubicBezTo>
                <a:cubicBezTo>
                  <a:pt x="1453" y="717"/>
                  <a:pt x="1453" y="717"/>
                  <a:pt x="1453" y="717"/>
                </a:cubicBezTo>
                <a:cubicBezTo>
                  <a:pt x="1450" y="724"/>
                  <a:pt x="1282" y="1059"/>
                  <a:pt x="1118" y="1478"/>
                </a:cubicBezTo>
                <a:cubicBezTo>
                  <a:pt x="913" y="2001"/>
                  <a:pt x="800" y="2434"/>
                  <a:pt x="800" y="2697"/>
                </a:cubicBezTo>
                <a:cubicBezTo>
                  <a:pt x="800" y="2960"/>
                  <a:pt x="912" y="3393"/>
                  <a:pt x="1116" y="3916"/>
                </a:cubicBezTo>
                <a:cubicBezTo>
                  <a:pt x="1277" y="4329"/>
                  <a:pt x="1441" y="4660"/>
                  <a:pt x="1449" y="4677"/>
                </a:cubicBezTo>
                <a:cubicBezTo>
                  <a:pt x="1458" y="4695"/>
                  <a:pt x="1634" y="5047"/>
                  <a:pt x="1812" y="5500"/>
                </a:cubicBezTo>
                <a:cubicBezTo>
                  <a:pt x="2062" y="6134"/>
                  <a:pt x="2188" y="6645"/>
                  <a:pt x="2188" y="7017"/>
                </a:cubicBezTo>
                <a:cubicBezTo>
                  <a:pt x="2188" y="7389"/>
                  <a:pt x="2062" y="7899"/>
                  <a:pt x="1815" y="8534"/>
                </a:cubicBezTo>
                <a:cubicBezTo>
                  <a:pt x="1637" y="8988"/>
                  <a:pt x="1461" y="9341"/>
                  <a:pt x="1454" y="9356"/>
                </a:cubicBezTo>
                <a:cubicBezTo>
                  <a:pt x="1453" y="9357"/>
                  <a:pt x="1453" y="9357"/>
                  <a:pt x="1453" y="9357"/>
                </a:cubicBezTo>
                <a:cubicBezTo>
                  <a:pt x="1452" y="9360"/>
                  <a:pt x="1283" y="9697"/>
                  <a:pt x="1118" y="10118"/>
                </a:cubicBezTo>
                <a:cubicBezTo>
                  <a:pt x="913" y="10641"/>
                  <a:pt x="800" y="11074"/>
                  <a:pt x="800" y="11337"/>
                </a:cubicBezTo>
                <a:cubicBezTo>
                  <a:pt x="800" y="11600"/>
                  <a:pt x="912" y="12033"/>
                  <a:pt x="1116" y="12556"/>
                </a:cubicBezTo>
                <a:cubicBezTo>
                  <a:pt x="1281" y="12978"/>
                  <a:pt x="1448" y="13315"/>
                  <a:pt x="1450" y="13318"/>
                </a:cubicBezTo>
                <a:cubicBezTo>
                  <a:pt x="1628" y="13676"/>
                  <a:pt x="1628" y="13676"/>
                  <a:pt x="1628" y="13676"/>
                </a:cubicBezTo>
                <a:lnTo>
                  <a:pt x="913" y="14034"/>
                </a:lnTo>
                <a:close/>
              </a:path>
            </a:pathLst>
          </a:custGeom>
          <a:solidFill>
            <a:schemeClr val="accent1">
              <a:alpha val="88000"/>
            </a:schemeClr>
          </a:solidFill>
          <a:ln>
            <a:noFill/>
          </a:ln>
          <a:effectLst>
            <a:outerShdw blurRad="1003300" dist="38100" dir="10800000" algn="r" rotWithShape="0">
              <a:schemeClr val="accent6">
                <a:lumMod val="75000"/>
                <a:alpha val="46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7AA106F9-0CD5-4AE1-B53A-28F0E7EAEB35}"/>
              </a:ext>
            </a:extLst>
          </p:cNvPr>
          <p:cNvSpPr>
            <a:spLocks/>
          </p:cNvSpPr>
          <p:nvPr/>
        </p:nvSpPr>
        <p:spPr bwMode="auto">
          <a:xfrm rot="2757414">
            <a:off x="24628066" y="-7245127"/>
            <a:ext cx="6481764" cy="41148000"/>
          </a:xfrm>
          <a:custGeom>
            <a:avLst/>
            <a:gdLst>
              <a:gd name="T0" fmla="*/ 913 w 2188"/>
              <a:gd name="T1" fmla="*/ 14034 h 14034"/>
              <a:gd name="T2" fmla="*/ 734 w 2188"/>
              <a:gd name="T3" fmla="*/ 13676 h 14034"/>
              <a:gd name="T4" fmla="*/ 373 w 2188"/>
              <a:gd name="T5" fmla="*/ 12854 h 14034"/>
              <a:gd name="T6" fmla="*/ 0 w 2188"/>
              <a:gd name="T7" fmla="*/ 11337 h 14034"/>
              <a:gd name="T8" fmla="*/ 376 w 2188"/>
              <a:gd name="T9" fmla="*/ 9820 h 14034"/>
              <a:gd name="T10" fmla="*/ 738 w 2188"/>
              <a:gd name="T11" fmla="*/ 8998 h 14034"/>
              <a:gd name="T12" fmla="*/ 1072 w 2188"/>
              <a:gd name="T13" fmla="*/ 8236 h 14034"/>
              <a:gd name="T14" fmla="*/ 1388 w 2188"/>
              <a:gd name="T15" fmla="*/ 7017 h 14034"/>
              <a:gd name="T16" fmla="*/ 1068 w 2188"/>
              <a:gd name="T17" fmla="*/ 5792 h 14034"/>
              <a:gd name="T18" fmla="*/ 735 w 2188"/>
              <a:gd name="T19" fmla="*/ 5037 h 14034"/>
              <a:gd name="T20" fmla="*/ 734 w 2188"/>
              <a:gd name="T21" fmla="*/ 5036 h 14034"/>
              <a:gd name="T22" fmla="*/ 373 w 2188"/>
              <a:gd name="T23" fmla="*/ 4214 h 14034"/>
              <a:gd name="T24" fmla="*/ 0 w 2188"/>
              <a:gd name="T25" fmla="*/ 2697 h 14034"/>
              <a:gd name="T26" fmla="*/ 376 w 2188"/>
              <a:gd name="T27" fmla="*/ 1180 h 14034"/>
              <a:gd name="T28" fmla="*/ 739 w 2188"/>
              <a:gd name="T29" fmla="*/ 357 h 14034"/>
              <a:gd name="T30" fmla="*/ 918 w 2188"/>
              <a:gd name="T31" fmla="*/ 0 h 14034"/>
              <a:gd name="T32" fmla="*/ 1633 w 2188"/>
              <a:gd name="T33" fmla="*/ 359 h 14034"/>
              <a:gd name="T34" fmla="*/ 1453 w 2188"/>
              <a:gd name="T35" fmla="*/ 717 h 14034"/>
              <a:gd name="T36" fmla="*/ 1118 w 2188"/>
              <a:gd name="T37" fmla="*/ 1478 h 14034"/>
              <a:gd name="T38" fmla="*/ 800 w 2188"/>
              <a:gd name="T39" fmla="*/ 2697 h 14034"/>
              <a:gd name="T40" fmla="*/ 1116 w 2188"/>
              <a:gd name="T41" fmla="*/ 3916 h 14034"/>
              <a:gd name="T42" fmla="*/ 1449 w 2188"/>
              <a:gd name="T43" fmla="*/ 4677 h 14034"/>
              <a:gd name="T44" fmla="*/ 1812 w 2188"/>
              <a:gd name="T45" fmla="*/ 5500 h 14034"/>
              <a:gd name="T46" fmla="*/ 2188 w 2188"/>
              <a:gd name="T47" fmla="*/ 7017 h 14034"/>
              <a:gd name="T48" fmla="*/ 1815 w 2188"/>
              <a:gd name="T49" fmla="*/ 8534 h 14034"/>
              <a:gd name="T50" fmla="*/ 1454 w 2188"/>
              <a:gd name="T51" fmla="*/ 9356 h 14034"/>
              <a:gd name="T52" fmla="*/ 1453 w 2188"/>
              <a:gd name="T53" fmla="*/ 9357 h 14034"/>
              <a:gd name="T54" fmla="*/ 1118 w 2188"/>
              <a:gd name="T55" fmla="*/ 10118 h 14034"/>
              <a:gd name="T56" fmla="*/ 800 w 2188"/>
              <a:gd name="T57" fmla="*/ 11337 h 14034"/>
              <a:gd name="T58" fmla="*/ 1116 w 2188"/>
              <a:gd name="T59" fmla="*/ 12556 h 14034"/>
              <a:gd name="T60" fmla="*/ 1450 w 2188"/>
              <a:gd name="T61" fmla="*/ 13318 h 14034"/>
              <a:gd name="T62" fmla="*/ 1628 w 2188"/>
              <a:gd name="T63" fmla="*/ 13676 h 14034"/>
              <a:gd name="T64" fmla="*/ 913 w 2188"/>
              <a:gd name="T65" fmla="*/ 14034 h 140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188" h="14034">
                <a:moveTo>
                  <a:pt x="913" y="14034"/>
                </a:moveTo>
                <a:cubicBezTo>
                  <a:pt x="734" y="13676"/>
                  <a:pt x="734" y="13676"/>
                  <a:pt x="734" y="13676"/>
                </a:cubicBezTo>
                <a:cubicBezTo>
                  <a:pt x="727" y="13661"/>
                  <a:pt x="551" y="13308"/>
                  <a:pt x="373" y="12854"/>
                </a:cubicBezTo>
                <a:cubicBezTo>
                  <a:pt x="126" y="12219"/>
                  <a:pt x="0" y="11709"/>
                  <a:pt x="0" y="11337"/>
                </a:cubicBezTo>
                <a:cubicBezTo>
                  <a:pt x="0" y="10965"/>
                  <a:pt x="126" y="10454"/>
                  <a:pt x="376" y="9820"/>
                </a:cubicBezTo>
                <a:cubicBezTo>
                  <a:pt x="553" y="9368"/>
                  <a:pt x="729" y="9017"/>
                  <a:pt x="738" y="8998"/>
                </a:cubicBezTo>
                <a:cubicBezTo>
                  <a:pt x="745" y="8984"/>
                  <a:pt x="910" y="8651"/>
                  <a:pt x="1072" y="8236"/>
                </a:cubicBezTo>
                <a:cubicBezTo>
                  <a:pt x="1276" y="7713"/>
                  <a:pt x="1388" y="7280"/>
                  <a:pt x="1388" y="7017"/>
                </a:cubicBezTo>
                <a:cubicBezTo>
                  <a:pt x="1388" y="6753"/>
                  <a:pt x="1274" y="6318"/>
                  <a:pt x="1068" y="5792"/>
                </a:cubicBezTo>
                <a:cubicBezTo>
                  <a:pt x="902" y="5371"/>
                  <a:pt x="736" y="5040"/>
                  <a:pt x="735" y="5037"/>
                </a:cubicBezTo>
                <a:cubicBezTo>
                  <a:pt x="734" y="5036"/>
                  <a:pt x="734" y="5036"/>
                  <a:pt x="734" y="5036"/>
                </a:cubicBezTo>
                <a:cubicBezTo>
                  <a:pt x="727" y="5021"/>
                  <a:pt x="551" y="4668"/>
                  <a:pt x="373" y="4214"/>
                </a:cubicBezTo>
                <a:cubicBezTo>
                  <a:pt x="126" y="3579"/>
                  <a:pt x="0" y="3069"/>
                  <a:pt x="0" y="2697"/>
                </a:cubicBezTo>
                <a:cubicBezTo>
                  <a:pt x="0" y="2325"/>
                  <a:pt x="126" y="1814"/>
                  <a:pt x="376" y="1180"/>
                </a:cubicBezTo>
                <a:cubicBezTo>
                  <a:pt x="554" y="725"/>
                  <a:pt x="731" y="372"/>
                  <a:pt x="739" y="357"/>
                </a:cubicBezTo>
                <a:cubicBezTo>
                  <a:pt x="918" y="0"/>
                  <a:pt x="918" y="0"/>
                  <a:pt x="918" y="0"/>
                </a:cubicBezTo>
                <a:cubicBezTo>
                  <a:pt x="1633" y="359"/>
                  <a:pt x="1633" y="359"/>
                  <a:pt x="1633" y="359"/>
                </a:cubicBezTo>
                <a:cubicBezTo>
                  <a:pt x="1453" y="717"/>
                  <a:pt x="1453" y="717"/>
                  <a:pt x="1453" y="717"/>
                </a:cubicBezTo>
                <a:cubicBezTo>
                  <a:pt x="1450" y="724"/>
                  <a:pt x="1282" y="1059"/>
                  <a:pt x="1118" y="1478"/>
                </a:cubicBezTo>
                <a:cubicBezTo>
                  <a:pt x="913" y="2001"/>
                  <a:pt x="800" y="2434"/>
                  <a:pt x="800" y="2697"/>
                </a:cubicBezTo>
                <a:cubicBezTo>
                  <a:pt x="800" y="2960"/>
                  <a:pt x="912" y="3393"/>
                  <a:pt x="1116" y="3916"/>
                </a:cubicBezTo>
                <a:cubicBezTo>
                  <a:pt x="1277" y="4329"/>
                  <a:pt x="1441" y="4660"/>
                  <a:pt x="1449" y="4677"/>
                </a:cubicBezTo>
                <a:cubicBezTo>
                  <a:pt x="1458" y="4695"/>
                  <a:pt x="1634" y="5047"/>
                  <a:pt x="1812" y="5500"/>
                </a:cubicBezTo>
                <a:cubicBezTo>
                  <a:pt x="2062" y="6134"/>
                  <a:pt x="2188" y="6645"/>
                  <a:pt x="2188" y="7017"/>
                </a:cubicBezTo>
                <a:cubicBezTo>
                  <a:pt x="2188" y="7389"/>
                  <a:pt x="2062" y="7899"/>
                  <a:pt x="1815" y="8534"/>
                </a:cubicBezTo>
                <a:cubicBezTo>
                  <a:pt x="1637" y="8988"/>
                  <a:pt x="1461" y="9341"/>
                  <a:pt x="1454" y="9356"/>
                </a:cubicBezTo>
                <a:cubicBezTo>
                  <a:pt x="1453" y="9357"/>
                  <a:pt x="1453" y="9357"/>
                  <a:pt x="1453" y="9357"/>
                </a:cubicBezTo>
                <a:cubicBezTo>
                  <a:pt x="1452" y="9360"/>
                  <a:pt x="1283" y="9697"/>
                  <a:pt x="1118" y="10118"/>
                </a:cubicBezTo>
                <a:cubicBezTo>
                  <a:pt x="913" y="10641"/>
                  <a:pt x="800" y="11074"/>
                  <a:pt x="800" y="11337"/>
                </a:cubicBezTo>
                <a:cubicBezTo>
                  <a:pt x="800" y="11600"/>
                  <a:pt x="912" y="12033"/>
                  <a:pt x="1116" y="12556"/>
                </a:cubicBezTo>
                <a:cubicBezTo>
                  <a:pt x="1281" y="12978"/>
                  <a:pt x="1448" y="13315"/>
                  <a:pt x="1450" y="13318"/>
                </a:cubicBezTo>
                <a:cubicBezTo>
                  <a:pt x="1628" y="13676"/>
                  <a:pt x="1628" y="13676"/>
                  <a:pt x="1628" y="13676"/>
                </a:cubicBezTo>
                <a:lnTo>
                  <a:pt x="913" y="14034"/>
                </a:lnTo>
                <a:close/>
              </a:path>
            </a:pathLst>
          </a:custGeom>
          <a:solidFill>
            <a:schemeClr val="accent6">
              <a:alpha val="88000"/>
            </a:schemeClr>
          </a:solidFill>
          <a:ln>
            <a:noFill/>
          </a:ln>
          <a:effectLst>
            <a:outerShdw blurRad="1003300" dist="38100" dir="10800000" algn="r" rotWithShape="0">
              <a:schemeClr val="accent1">
                <a:lumMod val="75000"/>
                <a:alpha val="46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Flowchart: Process 16">
            <a:extLst>
              <a:ext uri="{FF2B5EF4-FFF2-40B4-BE49-F238E27FC236}">
                <a16:creationId xmlns:a16="http://schemas.microsoft.com/office/drawing/2014/main" id="{409CB482-82E0-487A-B73A-83A96AB99161}"/>
              </a:ext>
            </a:extLst>
          </p:cNvPr>
          <p:cNvSpPr/>
          <p:nvPr/>
        </p:nvSpPr>
        <p:spPr>
          <a:xfrm>
            <a:off x="12193588" y="0"/>
            <a:ext cx="12193587" cy="13716000"/>
          </a:xfrm>
          <a:prstGeom prst="flowChartProcess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reeform 5">
            <a:extLst>
              <a:ext uri="{FF2B5EF4-FFF2-40B4-BE49-F238E27FC236}">
                <a16:creationId xmlns:a16="http://schemas.microsoft.com/office/drawing/2014/main" id="{876DACEA-6CD0-4256-BE79-A626A78468CE}"/>
              </a:ext>
            </a:extLst>
          </p:cNvPr>
          <p:cNvSpPr>
            <a:spLocks noEditPoints="1"/>
          </p:cNvSpPr>
          <p:nvPr/>
        </p:nvSpPr>
        <p:spPr bwMode="auto">
          <a:xfrm>
            <a:off x="0" y="3175"/>
            <a:ext cx="12312650" cy="13716000"/>
          </a:xfrm>
          <a:custGeom>
            <a:avLst/>
            <a:gdLst>
              <a:gd name="T0" fmla="*/ 0 w 3840"/>
              <a:gd name="T1" fmla="*/ 0 h 4320"/>
              <a:gd name="T2" fmla="*/ 0 w 3840"/>
              <a:gd name="T3" fmla="*/ 4320 h 4320"/>
              <a:gd name="T4" fmla="*/ 3840 w 3840"/>
              <a:gd name="T5" fmla="*/ 4320 h 4320"/>
              <a:gd name="T6" fmla="*/ 3840 w 3840"/>
              <a:gd name="T7" fmla="*/ 0 h 4320"/>
              <a:gd name="T8" fmla="*/ 0 w 3840"/>
              <a:gd name="T9" fmla="*/ 0 h 4320"/>
              <a:gd name="T10" fmla="*/ 2636 w 3840"/>
              <a:gd name="T11" fmla="*/ 3353 h 4320"/>
              <a:gd name="T12" fmla="*/ 1892 w 3840"/>
              <a:gd name="T13" fmla="*/ 3574 h 4320"/>
              <a:gd name="T14" fmla="*/ 1391 w 3840"/>
              <a:gd name="T15" fmla="*/ 3471 h 4320"/>
              <a:gd name="T16" fmla="*/ 1041 w 3840"/>
              <a:gd name="T17" fmla="*/ 3186 h 4320"/>
              <a:gd name="T18" fmla="*/ 922 w 3840"/>
              <a:gd name="T19" fmla="*/ 2771 h 4320"/>
              <a:gd name="T20" fmla="*/ 1562 w 3840"/>
              <a:gd name="T21" fmla="*/ 2771 h 4320"/>
              <a:gd name="T22" fmla="*/ 1664 w 3840"/>
              <a:gd name="T23" fmla="*/ 2990 h 4320"/>
              <a:gd name="T24" fmla="*/ 1915 w 3840"/>
              <a:gd name="T25" fmla="*/ 3083 h 4320"/>
              <a:gd name="T26" fmla="*/ 2183 w 3840"/>
              <a:gd name="T27" fmla="*/ 2989 h 4320"/>
              <a:gd name="T28" fmla="*/ 2283 w 3840"/>
              <a:gd name="T29" fmla="*/ 2750 h 4320"/>
              <a:gd name="T30" fmla="*/ 2179 w 3840"/>
              <a:gd name="T31" fmla="*/ 2456 h 4320"/>
              <a:gd name="T32" fmla="*/ 1892 w 3840"/>
              <a:gd name="T33" fmla="*/ 2369 h 4320"/>
              <a:gd name="T34" fmla="*/ 1582 w 3840"/>
              <a:gd name="T35" fmla="*/ 2369 h 4320"/>
              <a:gd name="T36" fmla="*/ 1582 w 3840"/>
              <a:gd name="T37" fmla="*/ 1895 h 4320"/>
              <a:gd name="T38" fmla="*/ 1883 w 3840"/>
              <a:gd name="T39" fmla="*/ 1895 h 4320"/>
              <a:gd name="T40" fmla="*/ 2239 w 3840"/>
              <a:gd name="T41" fmla="*/ 1546 h 4320"/>
              <a:gd name="T42" fmla="*/ 2155 w 3840"/>
              <a:gd name="T43" fmla="*/ 1324 h 4320"/>
              <a:gd name="T44" fmla="*/ 1915 w 3840"/>
              <a:gd name="T45" fmla="*/ 1238 h 4320"/>
              <a:gd name="T46" fmla="*/ 1695 w 3840"/>
              <a:gd name="T47" fmla="*/ 1312 h 4320"/>
              <a:gd name="T48" fmla="*/ 1601 w 3840"/>
              <a:gd name="T49" fmla="*/ 1495 h 4320"/>
              <a:gd name="T50" fmla="*/ 965 w 3840"/>
              <a:gd name="T51" fmla="*/ 1495 h 4320"/>
              <a:gd name="T52" fmla="*/ 1086 w 3840"/>
              <a:gd name="T53" fmla="*/ 1108 h 4320"/>
              <a:gd name="T54" fmla="*/ 1421 w 3840"/>
              <a:gd name="T55" fmla="*/ 842 h 4320"/>
              <a:gd name="T56" fmla="*/ 1892 w 3840"/>
              <a:gd name="T57" fmla="*/ 747 h 4320"/>
              <a:gd name="T58" fmla="*/ 2613 w 3840"/>
              <a:gd name="T59" fmla="*/ 957 h 4320"/>
              <a:gd name="T60" fmla="*/ 2876 w 3840"/>
              <a:gd name="T61" fmla="*/ 1533 h 4320"/>
              <a:gd name="T62" fmla="*/ 2767 w 3840"/>
              <a:gd name="T63" fmla="*/ 1868 h 4320"/>
              <a:gd name="T64" fmla="*/ 2451 w 3840"/>
              <a:gd name="T65" fmla="*/ 2124 h 4320"/>
              <a:gd name="T66" fmla="*/ 2795 w 3840"/>
              <a:gd name="T67" fmla="*/ 2364 h 4320"/>
              <a:gd name="T68" fmla="*/ 2919 w 3840"/>
              <a:gd name="T69" fmla="*/ 2764 h 4320"/>
              <a:gd name="T70" fmla="*/ 2636 w 3840"/>
              <a:gd name="T71" fmla="*/ 3353 h 4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3840" h="4320">
                <a:moveTo>
                  <a:pt x="0" y="0"/>
                </a:moveTo>
                <a:cubicBezTo>
                  <a:pt x="0" y="4320"/>
                  <a:pt x="0" y="4320"/>
                  <a:pt x="0" y="4320"/>
                </a:cubicBezTo>
                <a:cubicBezTo>
                  <a:pt x="3840" y="4320"/>
                  <a:pt x="3840" y="4320"/>
                  <a:pt x="3840" y="4320"/>
                </a:cubicBezTo>
                <a:cubicBezTo>
                  <a:pt x="3840" y="0"/>
                  <a:pt x="3840" y="0"/>
                  <a:pt x="3840" y="0"/>
                </a:cubicBezTo>
                <a:lnTo>
                  <a:pt x="0" y="0"/>
                </a:lnTo>
                <a:close/>
                <a:moveTo>
                  <a:pt x="2636" y="3353"/>
                </a:moveTo>
                <a:cubicBezTo>
                  <a:pt x="2447" y="3500"/>
                  <a:pt x="2199" y="3574"/>
                  <a:pt x="1892" y="3574"/>
                </a:cubicBezTo>
                <a:cubicBezTo>
                  <a:pt x="1712" y="3574"/>
                  <a:pt x="1545" y="3539"/>
                  <a:pt x="1391" y="3471"/>
                </a:cubicBezTo>
                <a:cubicBezTo>
                  <a:pt x="1237" y="3402"/>
                  <a:pt x="1120" y="3307"/>
                  <a:pt x="1041" y="3186"/>
                </a:cubicBezTo>
                <a:cubicBezTo>
                  <a:pt x="961" y="3064"/>
                  <a:pt x="922" y="2926"/>
                  <a:pt x="922" y="2771"/>
                </a:cubicBezTo>
                <a:cubicBezTo>
                  <a:pt x="1562" y="2771"/>
                  <a:pt x="1562" y="2771"/>
                  <a:pt x="1562" y="2771"/>
                </a:cubicBezTo>
                <a:cubicBezTo>
                  <a:pt x="1562" y="2855"/>
                  <a:pt x="1596" y="2929"/>
                  <a:pt x="1664" y="2990"/>
                </a:cubicBezTo>
                <a:cubicBezTo>
                  <a:pt x="1732" y="3052"/>
                  <a:pt x="1815" y="3083"/>
                  <a:pt x="1915" y="3083"/>
                </a:cubicBezTo>
                <a:cubicBezTo>
                  <a:pt x="2027" y="3083"/>
                  <a:pt x="2116" y="3052"/>
                  <a:pt x="2183" y="2989"/>
                </a:cubicBezTo>
                <a:cubicBezTo>
                  <a:pt x="2250" y="2927"/>
                  <a:pt x="2283" y="2847"/>
                  <a:pt x="2283" y="2750"/>
                </a:cubicBezTo>
                <a:cubicBezTo>
                  <a:pt x="2283" y="2612"/>
                  <a:pt x="2248" y="2514"/>
                  <a:pt x="2179" y="2456"/>
                </a:cubicBezTo>
                <a:cubicBezTo>
                  <a:pt x="2110" y="2398"/>
                  <a:pt x="2014" y="2369"/>
                  <a:pt x="1892" y="2369"/>
                </a:cubicBezTo>
                <a:cubicBezTo>
                  <a:pt x="1582" y="2369"/>
                  <a:pt x="1582" y="2369"/>
                  <a:pt x="1582" y="2369"/>
                </a:cubicBezTo>
                <a:cubicBezTo>
                  <a:pt x="1582" y="1895"/>
                  <a:pt x="1582" y="1895"/>
                  <a:pt x="1582" y="1895"/>
                </a:cubicBezTo>
                <a:cubicBezTo>
                  <a:pt x="1883" y="1895"/>
                  <a:pt x="1883" y="1895"/>
                  <a:pt x="1883" y="1895"/>
                </a:cubicBezTo>
                <a:cubicBezTo>
                  <a:pt x="2121" y="1895"/>
                  <a:pt x="2239" y="1779"/>
                  <a:pt x="2239" y="1546"/>
                </a:cubicBezTo>
                <a:cubicBezTo>
                  <a:pt x="2239" y="1455"/>
                  <a:pt x="2211" y="1381"/>
                  <a:pt x="2155" y="1324"/>
                </a:cubicBezTo>
                <a:cubicBezTo>
                  <a:pt x="2098" y="1267"/>
                  <a:pt x="2018" y="1238"/>
                  <a:pt x="1915" y="1238"/>
                </a:cubicBezTo>
                <a:cubicBezTo>
                  <a:pt x="1830" y="1238"/>
                  <a:pt x="1757" y="1263"/>
                  <a:pt x="1695" y="1312"/>
                </a:cubicBezTo>
                <a:cubicBezTo>
                  <a:pt x="1632" y="1361"/>
                  <a:pt x="1601" y="1422"/>
                  <a:pt x="1601" y="1495"/>
                </a:cubicBezTo>
                <a:cubicBezTo>
                  <a:pt x="965" y="1495"/>
                  <a:pt x="965" y="1495"/>
                  <a:pt x="965" y="1495"/>
                </a:cubicBezTo>
                <a:cubicBezTo>
                  <a:pt x="965" y="1350"/>
                  <a:pt x="1005" y="1221"/>
                  <a:pt x="1086" y="1108"/>
                </a:cubicBezTo>
                <a:cubicBezTo>
                  <a:pt x="1166" y="994"/>
                  <a:pt x="1278" y="906"/>
                  <a:pt x="1421" y="842"/>
                </a:cubicBezTo>
                <a:cubicBezTo>
                  <a:pt x="1564" y="779"/>
                  <a:pt x="1721" y="747"/>
                  <a:pt x="1892" y="747"/>
                </a:cubicBezTo>
                <a:cubicBezTo>
                  <a:pt x="2198" y="747"/>
                  <a:pt x="2438" y="817"/>
                  <a:pt x="2613" y="957"/>
                </a:cubicBezTo>
                <a:cubicBezTo>
                  <a:pt x="2788" y="1096"/>
                  <a:pt x="2876" y="1288"/>
                  <a:pt x="2876" y="1533"/>
                </a:cubicBezTo>
                <a:cubicBezTo>
                  <a:pt x="2876" y="1651"/>
                  <a:pt x="2840" y="1763"/>
                  <a:pt x="2767" y="1868"/>
                </a:cubicBezTo>
                <a:cubicBezTo>
                  <a:pt x="2695" y="1973"/>
                  <a:pt x="2589" y="2058"/>
                  <a:pt x="2451" y="2124"/>
                </a:cubicBezTo>
                <a:cubicBezTo>
                  <a:pt x="2597" y="2176"/>
                  <a:pt x="2711" y="2257"/>
                  <a:pt x="2795" y="2364"/>
                </a:cubicBezTo>
                <a:cubicBezTo>
                  <a:pt x="2878" y="2472"/>
                  <a:pt x="2919" y="2605"/>
                  <a:pt x="2919" y="2764"/>
                </a:cubicBezTo>
                <a:cubicBezTo>
                  <a:pt x="2919" y="3009"/>
                  <a:pt x="2825" y="3205"/>
                  <a:pt x="2636" y="335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C65F98C-6E73-D415-5DF8-EAF241C066DB}"/>
              </a:ext>
            </a:extLst>
          </p:cNvPr>
          <p:cNvSpPr txBox="1"/>
          <p:nvPr/>
        </p:nvSpPr>
        <p:spPr>
          <a:xfrm>
            <a:off x="13975893" y="5334506"/>
            <a:ext cx="6742470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dirty="0">
                <a:latin typeface="FUTURA MEDIUM BT" panose="020B0602020204020303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We also offer data removal services right in our core paid package, which is cheaper than competitors’ offerings.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A7B10D0-F7A7-4E42-D0DC-30465FCE81B9}"/>
              </a:ext>
            </a:extLst>
          </p:cNvPr>
          <p:cNvSpPr/>
          <p:nvPr/>
        </p:nvSpPr>
        <p:spPr>
          <a:xfrm>
            <a:off x="16883339" y="3492396"/>
            <a:ext cx="1684714" cy="21454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046A041-5906-3F67-F7FF-E666D157CB97}"/>
              </a:ext>
            </a:extLst>
          </p:cNvPr>
          <p:cNvSpPr txBox="1"/>
          <p:nvPr/>
        </p:nvSpPr>
        <p:spPr>
          <a:xfrm>
            <a:off x="15485008" y="2747863"/>
            <a:ext cx="64817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>
                <a:effectLst/>
                <a:latin typeface="FUTURA MEDIUM BT" panose="020B0602020204020303" pitchFamily="34" charset="0"/>
              </a:rPr>
              <a:t>Why We Beat The Competition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DD3A8A85-EDDE-0530-ECB6-C687BE73F3F8}"/>
              </a:ext>
            </a:extLst>
          </p:cNvPr>
          <p:cNvSpPr txBox="1">
            <a:spLocks/>
          </p:cNvSpPr>
          <p:nvPr/>
        </p:nvSpPr>
        <p:spPr>
          <a:xfrm>
            <a:off x="23408916" y="8877743"/>
            <a:ext cx="324565" cy="582761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2400" b="1" smtClean="0">
                <a:solidFill>
                  <a:schemeClr val="tx1"/>
                </a:solidFill>
                <a:latin typeface="+mj-lt"/>
              </a:rPr>
              <a:pPr algn="ctr"/>
              <a:t>18</a:t>
            </a:fld>
            <a:endParaRPr lang="en-US" sz="1400" b="1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F173984-D15A-105C-FD9E-E95B83DB47BC}"/>
              </a:ext>
            </a:extLst>
          </p:cNvPr>
          <p:cNvGrpSpPr/>
          <p:nvPr/>
        </p:nvGrpSpPr>
        <p:grpSpPr>
          <a:xfrm>
            <a:off x="23332870" y="446240"/>
            <a:ext cx="476655" cy="337457"/>
            <a:chOff x="6167336" y="2130357"/>
            <a:chExt cx="476655" cy="337457"/>
          </a:xfrm>
        </p:grpSpPr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7F9B40ED-F5CD-0CBB-E28D-D1282F28000F}"/>
                </a:ext>
              </a:extLst>
            </p:cNvPr>
            <p:cNvCxnSpPr/>
            <p:nvPr userDrawn="1"/>
          </p:nvCxnSpPr>
          <p:spPr>
            <a:xfrm>
              <a:off x="6167336" y="2130357"/>
              <a:ext cx="476655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D41F779A-E33B-2375-8E85-123F5B7366B1}"/>
                </a:ext>
              </a:extLst>
            </p:cNvPr>
            <p:cNvCxnSpPr/>
            <p:nvPr userDrawn="1"/>
          </p:nvCxnSpPr>
          <p:spPr>
            <a:xfrm>
              <a:off x="6167336" y="2299086"/>
              <a:ext cx="476655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806A1513-6C87-69DC-0C47-1B7D880B9A88}"/>
                </a:ext>
              </a:extLst>
            </p:cNvPr>
            <p:cNvCxnSpPr/>
            <p:nvPr userDrawn="1"/>
          </p:nvCxnSpPr>
          <p:spPr>
            <a:xfrm>
              <a:off x="6167336" y="2467814"/>
              <a:ext cx="476655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76CC023B-787A-F69D-4C31-D47EC574DC24}"/>
              </a:ext>
            </a:extLst>
          </p:cNvPr>
          <p:cNvGrpSpPr/>
          <p:nvPr/>
        </p:nvGrpSpPr>
        <p:grpSpPr>
          <a:xfrm>
            <a:off x="23519785" y="12234167"/>
            <a:ext cx="102824" cy="698136"/>
            <a:chOff x="729638" y="739163"/>
            <a:chExt cx="102824" cy="698136"/>
          </a:xfrm>
        </p:grpSpPr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0993800A-3EF8-AEE4-B571-AE638D5A431B}"/>
                </a:ext>
              </a:extLst>
            </p:cNvPr>
            <p:cNvSpPr/>
            <p:nvPr userDrawn="1"/>
          </p:nvSpPr>
          <p:spPr>
            <a:xfrm>
              <a:off x="729638" y="739163"/>
              <a:ext cx="102824" cy="10282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88DC5574-E3B8-D531-0811-5FAA5EAFC2CE}"/>
                </a:ext>
              </a:extLst>
            </p:cNvPr>
            <p:cNvSpPr/>
            <p:nvPr userDrawn="1"/>
          </p:nvSpPr>
          <p:spPr>
            <a:xfrm>
              <a:off x="729638" y="1036819"/>
              <a:ext cx="102824" cy="10282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16F4D41B-036B-1D05-4353-5E9924165FB7}"/>
                </a:ext>
              </a:extLst>
            </p:cNvPr>
            <p:cNvSpPr/>
            <p:nvPr userDrawn="1"/>
          </p:nvSpPr>
          <p:spPr>
            <a:xfrm>
              <a:off x="729638" y="1334475"/>
              <a:ext cx="102824" cy="10282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4" name="Graphic 29">
            <a:extLst>
              <a:ext uri="{FF2B5EF4-FFF2-40B4-BE49-F238E27FC236}">
                <a16:creationId xmlns:a16="http://schemas.microsoft.com/office/drawing/2014/main" id="{F5F92C2C-CEBC-7CE6-97C4-279B10A29925}"/>
              </a:ext>
            </a:extLst>
          </p:cNvPr>
          <p:cNvGrpSpPr/>
          <p:nvPr/>
        </p:nvGrpSpPr>
        <p:grpSpPr>
          <a:xfrm>
            <a:off x="631422" y="446240"/>
            <a:ext cx="589131" cy="1104816"/>
            <a:chOff x="1502100" y="653619"/>
            <a:chExt cx="2035484" cy="3817207"/>
          </a:xfrm>
          <a:solidFill>
            <a:schemeClr val="tx1"/>
          </a:solidFill>
        </p:grpSpPr>
        <p:sp>
          <p:nvSpPr>
            <p:cNvPr id="45" name="Freeform 44">
              <a:extLst>
                <a:ext uri="{FF2B5EF4-FFF2-40B4-BE49-F238E27FC236}">
                  <a16:creationId xmlns:a16="http://schemas.microsoft.com/office/drawing/2014/main" id="{3EFF4F3C-260E-6A21-8769-E34548273933}"/>
                </a:ext>
              </a:extLst>
            </p:cNvPr>
            <p:cNvSpPr/>
            <p:nvPr/>
          </p:nvSpPr>
          <p:spPr>
            <a:xfrm>
              <a:off x="1502100" y="653619"/>
              <a:ext cx="2035484" cy="3817207"/>
            </a:xfrm>
            <a:custGeom>
              <a:avLst/>
              <a:gdLst>
                <a:gd name="connsiteX0" fmla="*/ 1775452 w 2035484"/>
                <a:gd name="connsiteY0" fmla="*/ 2695942 h 3817207"/>
                <a:gd name="connsiteX1" fmla="*/ 1556377 w 2035484"/>
                <a:gd name="connsiteY1" fmla="*/ 2695942 h 3817207"/>
                <a:gd name="connsiteX2" fmla="*/ 1516372 w 2035484"/>
                <a:gd name="connsiteY2" fmla="*/ 2664509 h 3817207"/>
                <a:gd name="connsiteX3" fmla="*/ 1423027 w 2035484"/>
                <a:gd name="connsiteY3" fmla="*/ 2477819 h 3817207"/>
                <a:gd name="connsiteX4" fmla="*/ 1031549 w 2035484"/>
                <a:gd name="connsiteY4" fmla="*/ 2283509 h 3817207"/>
                <a:gd name="connsiteX5" fmla="*/ 508627 w 2035484"/>
                <a:gd name="connsiteY5" fmla="*/ 2785477 h 3817207"/>
                <a:gd name="connsiteX6" fmla="*/ 1010594 w 2035484"/>
                <a:gd name="connsiteY6" fmla="*/ 3308399 h 3817207"/>
                <a:gd name="connsiteX7" fmla="*/ 1515419 w 2035484"/>
                <a:gd name="connsiteY7" fmla="*/ 2931209 h 3817207"/>
                <a:gd name="connsiteX8" fmla="*/ 1518277 w 2035484"/>
                <a:gd name="connsiteY8" fmla="*/ 2917874 h 3817207"/>
                <a:gd name="connsiteX9" fmla="*/ 1546852 w 2035484"/>
                <a:gd name="connsiteY9" fmla="*/ 2895967 h 3817207"/>
                <a:gd name="connsiteX10" fmla="*/ 1985955 w 2035484"/>
                <a:gd name="connsiteY10" fmla="*/ 2895967 h 3817207"/>
                <a:gd name="connsiteX11" fmla="*/ 2022149 w 2035484"/>
                <a:gd name="connsiteY11" fmla="*/ 2895967 h 3817207"/>
                <a:gd name="connsiteX12" fmla="*/ 2035484 w 2035484"/>
                <a:gd name="connsiteY12" fmla="*/ 2909302 h 3817207"/>
                <a:gd name="connsiteX13" fmla="*/ 2035484 w 2035484"/>
                <a:gd name="connsiteY13" fmla="*/ 2912159 h 3817207"/>
                <a:gd name="connsiteX14" fmla="*/ 2033580 w 2035484"/>
                <a:gd name="connsiteY14" fmla="*/ 2935019 h 3817207"/>
                <a:gd name="connsiteX15" fmla="*/ 1294440 w 2035484"/>
                <a:gd name="connsiteY15" fmla="*/ 3779887 h 3817207"/>
                <a:gd name="connsiteX16" fmla="*/ 37139 w 2035484"/>
                <a:gd name="connsiteY16" fmla="*/ 3068369 h 3817207"/>
                <a:gd name="connsiteX17" fmla="*/ 65714 w 2035484"/>
                <a:gd name="connsiteY17" fmla="*/ 2434004 h 3817207"/>
                <a:gd name="connsiteX18" fmla="*/ 315269 w 2035484"/>
                <a:gd name="connsiteY18" fmla="*/ 1756777 h 3817207"/>
                <a:gd name="connsiteX19" fmla="*/ 944872 w 2035484"/>
                <a:gd name="connsiteY19" fmla="*/ 42277 h 3817207"/>
                <a:gd name="connsiteX20" fmla="*/ 1009642 w 2035484"/>
                <a:gd name="connsiteY20" fmla="*/ 20369 h 3817207"/>
                <a:gd name="connsiteX21" fmla="*/ 1340159 w 2035484"/>
                <a:gd name="connsiteY21" fmla="*/ 531862 h 3817207"/>
                <a:gd name="connsiteX22" fmla="*/ 1266817 w 2035484"/>
                <a:gd name="connsiteY22" fmla="*/ 1033829 h 3817207"/>
                <a:gd name="connsiteX23" fmla="*/ 929632 w 2035484"/>
                <a:gd name="connsiteY23" fmla="*/ 1708199 h 3817207"/>
                <a:gd name="connsiteX24" fmla="*/ 906772 w 2035484"/>
                <a:gd name="connsiteY24" fmla="*/ 1752967 h 3817207"/>
                <a:gd name="connsiteX25" fmla="*/ 923917 w 2035484"/>
                <a:gd name="connsiteY25" fmla="*/ 1779637 h 3817207"/>
                <a:gd name="connsiteX26" fmla="*/ 1038217 w 2035484"/>
                <a:gd name="connsiteY26" fmla="*/ 1776779 h 3817207"/>
                <a:gd name="connsiteX27" fmla="*/ 1658294 w 2035484"/>
                <a:gd name="connsiteY27" fmla="*/ 1999664 h 3817207"/>
                <a:gd name="connsiteX28" fmla="*/ 2023102 w 2035484"/>
                <a:gd name="connsiteY28" fmla="*/ 2599739 h 3817207"/>
                <a:gd name="connsiteX29" fmla="*/ 2034532 w 2035484"/>
                <a:gd name="connsiteY29" fmla="*/ 2672129 h 3817207"/>
                <a:gd name="connsiteX30" fmla="*/ 2013577 w 2035484"/>
                <a:gd name="connsiteY30" fmla="*/ 2697847 h 3817207"/>
                <a:gd name="connsiteX31" fmla="*/ 1774499 w 2035484"/>
                <a:gd name="connsiteY31" fmla="*/ 2697847 h 3817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035484" h="3817207">
                  <a:moveTo>
                    <a:pt x="1775452" y="2695942"/>
                  </a:moveTo>
                  <a:lnTo>
                    <a:pt x="1556377" y="2695942"/>
                  </a:lnTo>
                  <a:cubicBezTo>
                    <a:pt x="1525897" y="2695942"/>
                    <a:pt x="1524944" y="2695942"/>
                    <a:pt x="1516372" y="2664509"/>
                  </a:cubicBezTo>
                  <a:cubicBezTo>
                    <a:pt x="1499227" y="2595929"/>
                    <a:pt x="1466842" y="2533064"/>
                    <a:pt x="1423027" y="2477819"/>
                  </a:cubicBezTo>
                  <a:cubicBezTo>
                    <a:pt x="1322062" y="2353994"/>
                    <a:pt x="1191569" y="2287319"/>
                    <a:pt x="1031549" y="2283509"/>
                  </a:cubicBezTo>
                  <a:cubicBezTo>
                    <a:pt x="748657" y="2277794"/>
                    <a:pt x="514342" y="2502584"/>
                    <a:pt x="508627" y="2785477"/>
                  </a:cubicBezTo>
                  <a:cubicBezTo>
                    <a:pt x="502912" y="3068369"/>
                    <a:pt x="727702" y="3302684"/>
                    <a:pt x="1010594" y="3308399"/>
                  </a:cubicBezTo>
                  <a:cubicBezTo>
                    <a:pt x="1244909" y="3313162"/>
                    <a:pt x="1453507" y="3157904"/>
                    <a:pt x="1515419" y="2931209"/>
                  </a:cubicBezTo>
                  <a:cubicBezTo>
                    <a:pt x="1516372" y="2926447"/>
                    <a:pt x="1517324" y="2922637"/>
                    <a:pt x="1518277" y="2917874"/>
                  </a:cubicBezTo>
                  <a:cubicBezTo>
                    <a:pt x="1523992" y="2897872"/>
                    <a:pt x="1525897" y="2895967"/>
                    <a:pt x="1546852" y="2895967"/>
                  </a:cubicBezTo>
                  <a:lnTo>
                    <a:pt x="1985955" y="2895967"/>
                  </a:lnTo>
                  <a:cubicBezTo>
                    <a:pt x="1998337" y="2895967"/>
                    <a:pt x="2009767" y="2895967"/>
                    <a:pt x="2022149" y="2895967"/>
                  </a:cubicBezTo>
                  <a:cubicBezTo>
                    <a:pt x="2029769" y="2895967"/>
                    <a:pt x="2035484" y="2901682"/>
                    <a:pt x="2035484" y="2909302"/>
                  </a:cubicBezTo>
                  <a:cubicBezTo>
                    <a:pt x="2035484" y="2909302"/>
                    <a:pt x="2035484" y="2911207"/>
                    <a:pt x="2035484" y="2912159"/>
                  </a:cubicBezTo>
                  <a:cubicBezTo>
                    <a:pt x="2035484" y="2919779"/>
                    <a:pt x="2035484" y="2927399"/>
                    <a:pt x="2033580" y="2935019"/>
                  </a:cubicBezTo>
                  <a:cubicBezTo>
                    <a:pt x="1976430" y="3339832"/>
                    <a:pt x="1688774" y="3672254"/>
                    <a:pt x="1294440" y="3779887"/>
                  </a:cubicBezTo>
                  <a:cubicBezTo>
                    <a:pt x="750562" y="3930382"/>
                    <a:pt x="187634" y="3612247"/>
                    <a:pt x="37139" y="3068369"/>
                  </a:cubicBezTo>
                  <a:cubicBezTo>
                    <a:pt x="-20963" y="2858819"/>
                    <a:pt x="-10486" y="2636887"/>
                    <a:pt x="65714" y="2434004"/>
                  </a:cubicBezTo>
                  <a:cubicBezTo>
                    <a:pt x="148582" y="2208262"/>
                    <a:pt x="232402" y="1982519"/>
                    <a:pt x="315269" y="1756777"/>
                  </a:cubicBezTo>
                  <a:cubicBezTo>
                    <a:pt x="524819" y="1185277"/>
                    <a:pt x="735322" y="613777"/>
                    <a:pt x="944872" y="42277"/>
                  </a:cubicBezTo>
                  <a:cubicBezTo>
                    <a:pt x="963922" y="-9158"/>
                    <a:pt x="965827" y="-10111"/>
                    <a:pt x="1009642" y="20369"/>
                  </a:cubicBezTo>
                  <a:cubicBezTo>
                    <a:pt x="1189665" y="146099"/>
                    <a:pt x="1301107" y="316597"/>
                    <a:pt x="1340159" y="531862"/>
                  </a:cubicBezTo>
                  <a:cubicBezTo>
                    <a:pt x="1372544" y="702359"/>
                    <a:pt x="1346827" y="879524"/>
                    <a:pt x="1266817" y="1033829"/>
                  </a:cubicBezTo>
                  <a:cubicBezTo>
                    <a:pt x="1154422" y="1258619"/>
                    <a:pt x="1041074" y="1483409"/>
                    <a:pt x="929632" y="1708199"/>
                  </a:cubicBezTo>
                  <a:cubicBezTo>
                    <a:pt x="922012" y="1723439"/>
                    <a:pt x="914392" y="1737727"/>
                    <a:pt x="906772" y="1752967"/>
                  </a:cubicBezTo>
                  <a:cubicBezTo>
                    <a:pt x="897247" y="1774874"/>
                    <a:pt x="901057" y="1780589"/>
                    <a:pt x="923917" y="1779637"/>
                  </a:cubicBezTo>
                  <a:cubicBezTo>
                    <a:pt x="962017" y="1778684"/>
                    <a:pt x="1000117" y="1775827"/>
                    <a:pt x="1038217" y="1776779"/>
                  </a:cubicBezTo>
                  <a:cubicBezTo>
                    <a:pt x="1263959" y="1778684"/>
                    <a:pt x="1483034" y="1856789"/>
                    <a:pt x="1658294" y="1999664"/>
                  </a:cubicBezTo>
                  <a:cubicBezTo>
                    <a:pt x="1852605" y="2154922"/>
                    <a:pt x="1972619" y="2356852"/>
                    <a:pt x="2023102" y="2599739"/>
                  </a:cubicBezTo>
                  <a:cubicBezTo>
                    <a:pt x="2027865" y="2623552"/>
                    <a:pt x="2031674" y="2647364"/>
                    <a:pt x="2034532" y="2672129"/>
                  </a:cubicBezTo>
                  <a:cubicBezTo>
                    <a:pt x="2037390" y="2692132"/>
                    <a:pt x="2032627" y="2696894"/>
                    <a:pt x="2013577" y="2697847"/>
                  </a:cubicBezTo>
                  <a:lnTo>
                    <a:pt x="1774499" y="269784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 45">
              <a:extLst>
                <a:ext uri="{FF2B5EF4-FFF2-40B4-BE49-F238E27FC236}">
                  <a16:creationId xmlns:a16="http://schemas.microsoft.com/office/drawing/2014/main" id="{79B5D388-BA19-2D5A-CFB8-79D72F7E4AE8}"/>
                </a:ext>
              </a:extLst>
            </p:cNvPr>
            <p:cNvSpPr/>
            <p:nvPr/>
          </p:nvSpPr>
          <p:spPr>
            <a:xfrm>
              <a:off x="1503045" y="1064002"/>
              <a:ext cx="291914" cy="1722631"/>
            </a:xfrm>
            <a:custGeom>
              <a:avLst/>
              <a:gdLst>
                <a:gd name="connsiteX0" fmla="*/ 952 w 291914"/>
                <a:gd name="connsiteY0" fmla="*/ 1722632 h 1722631"/>
                <a:gd name="connsiteX1" fmla="*/ 952 w 291914"/>
                <a:gd name="connsiteY1" fmla="*/ 1374969 h 1722631"/>
                <a:gd name="connsiteX2" fmla="*/ 952 w 291914"/>
                <a:gd name="connsiteY2" fmla="*/ 1342584 h 1722631"/>
                <a:gd name="connsiteX3" fmla="*/ 3810 w 291914"/>
                <a:gd name="connsiteY3" fmla="*/ 465331 h 1722631"/>
                <a:gd name="connsiteX4" fmla="*/ 3810 w 291914"/>
                <a:gd name="connsiteY4" fmla="*/ 40516 h 1722631"/>
                <a:gd name="connsiteX5" fmla="*/ 48577 w 291914"/>
                <a:gd name="connsiteY5" fmla="*/ 4321 h 1722631"/>
                <a:gd name="connsiteX6" fmla="*/ 271463 w 291914"/>
                <a:gd name="connsiteY6" fmla="*/ 96714 h 1722631"/>
                <a:gd name="connsiteX7" fmla="*/ 290513 w 291914"/>
                <a:gd name="connsiteY7" fmla="*/ 136719 h 1722631"/>
                <a:gd name="connsiteX8" fmla="*/ 211455 w 291914"/>
                <a:gd name="connsiteY8" fmla="*/ 576774 h 1722631"/>
                <a:gd name="connsiteX9" fmla="*/ 122872 w 291914"/>
                <a:gd name="connsiteY9" fmla="*/ 1071122 h 1722631"/>
                <a:gd name="connsiteX10" fmla="*/ 16192 w 291914"/>
                <a:gd name="connsiteY10" fmla="*/ 1664529 h 1722631"/>
                <a:gd name="connsiteX11" fmla="*/ 0 w 291914"/>
                <a:gd name="connsiteY11" fmla="*/ 1720726 h 1722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1914" h="1722631">
                  <a:moveTo>
                    <a:pt x="952" y="1722632"/>
                  </a:moveTo>
                  <a:lnTo>
                    <a:pt x="952" y="1374969"/>
                  </a:lnTo>
                  <a:cubicBezTo>
                    <a:pt x="952" y="1364491"/>
                    <a:pt x="952" y="1354014"/>
                    <a:pt x="952" y="1342584"/>
                  </a:cubicBezTo>
                  <a:cubicBezTo>
                    <a:pt x="1905" y="1050166"/>
                    <a:pt x="2858" y="757749"/>
                    <a:pt x="3810" y="465331"/>
                  </a:cubicBezTo>
                  <a:cubicBezTo>
                    <a:pt x="3810" y="323409"/>
                    <a:pt x="3810" y="182439"/>
                    <a:pt x="3810" y="40516"/>
                  </a:cubicBezTo>
                  <a:cubicBezTo>
                    <a:pt x="3810" y="-1394"/>
                    <a:pt x="8572" y="-5204"/>
                    <a:pt x="48577" y="4321"/>
                  </a:cubicBezTo>
                  <a:cubicBezTo>
                    <a:pt x="126683" y="24324"/>
                    <a:pt x="201930" y="54804"/>
                    <a:pt x="271463" y="96714"/>
                  </a:cubicBezTo>
                  <a:cubicBezTo>
                    <a:pt x="287655" y="103381"/>
                    <a:pt x="295275" y="120527"/>
                    <a:pt x="290513" y="136719"/>
                  </a:cubicBezTo>
                  <a:cubicBezTo>
                    <a:pt x="262890" y="283404"/>
                    <a:pt x="238125" y="430089"/>
                    <a:pt x="211455" y="576774"/>
                  </a:cubicBezTo>
                  <a:cubicBezTo>
                    <a:pt x="181927" y="741557"/>
                    <a:pt x="152400" y="906339"/>
                    <a:pt x="122872" y="1071122"/>
                  </a:cubicBezTo>
                  <a:cubicBezTo>
                    <a:pt x="87630" y="1269241"/>
                    <a:pt x="51435" y="1466409"/>
                    <a:pt x="16192" y="1664529"/>
                  </a:cubicBezTo>
                  <a:cubicBezTo>
                    <a:pt x="12383" y="1681674"/>
                    <a:pt x="10477" y="1692151"/>
                    <a:pt x="0" y="17207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BB3C39DF-A44A-1EF1-E32F-D954B04B8E4D}"/>
                </a:ext>
              </a:extLst>
            </p:cNvPr>
            <p:cNvSpPr/>
            <p:nvPr/>
          </p:nvSpPr>
          <p:spPr>
            <a:xfrm>
              <a:off x="1683067" y="817105"/>
              <a:ext cx="541936" cy="1609483"/>
            </a:xfrm>
            <a:custGeom>
              <a:avLst/>
              <a:gdLst>
                <a:gd name="connsiteX0" fmla="*/ 953 w 541936"/>
                <a:gd name="connsiteY0" fmla="*/ 1608531 h 1609483"/>
                <a:gd name="connsiteX1" fmla="*/ 89535 w 541936"/>
                <a:gd name="connsiteY1" fmla="*/ 1138949 h 1609483"/>
                <a:gd name="connsiteX2" fmla="*/ 224790 w 541936"/>
                <a:gd name="connsiteY2" fmla="*/ 384568 h 1609483"/>
                <a:gd name="connsiteX3" fmla="*/ 285750 w 541936"/>
                <a:gd name="connsiteY3" fmla="*/ 43573 h 1609483"/>
                <a:gd name="connsiteX4" fmla="*/ 342900 w 541936"/>
                <a:gd name="connsiteY4" fmla="*/ 13093 h 1609483"/>
                <a:gd name="connsiteX5" fmla="*/ 521017 w 541936"/>
                <a:gd name="connsiteY5" fmla="*/ 123583 h 1609483"/>
                <a:gd name="connsiteX6" fmla="*/ 535305 w 541936"/>
                <a:gd name="connsiteY6" fmla="*/ 173113 h 1609483"/>
                <a:gd name="connsiteX7" fmla="*/ 456248 w 541936"/>
                <a:gd name="connsiteY7" fmla="*/ 387426 h 1609483"/>
                <a:gd name="connsiteX8" fmla="*/ 200025 w 541936"/>
                <a:gd name="connsiteY8" fmla="*/ 1085608 h 1609483"/>
                <a:gd name="connsiteX9" fmla="*/ 35242 w 541936"/>
                <a:gd name="connsiteY9" fmla="*/ 1530426 h 1609483"/>
                <a:gd name="connsiteX10" fmla="*/ 0 w 541936"/>
                <a:gd name="connsiteY10" fmla="*/ 1609483 h 1609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1936" h="1609483">
                  <a:moveTo>
                    <a:pt x="953" y="1608531"/>
                  </a:moveTo>
                  <a:cubicBezTo>
                    <a:pt x="24765" y="1478038"/>
                    <a:pt x="66675" y="1268488"/>
                    <a:pt x="89535" y="1138949"/>
                  </a:cubicBezTo>
                  <a:cubicBezTo>
                    <a:pt x="134303" y="887488"/>
                    <a:pt x="180023" y="636028"/>
                    <a:pt x="224790" y="384568"/>
                  </a:cubicBezTo>
                  <a:cubicBezTo>
                    <a:pt x="244792" y="270268"/>
                    <a:pt x="264795" y="156921"/>
                    <a:pt x="285750" y="43573"/>
                  </a:cubicBezTo>
                  <a:cubicBezTo>
                    <a:pt x="294323" y="-1194"/>
                    <a:pt x="289560" y="-11672"/>
                    <a:pt x="342900" y="13093"/>
                  </a:cubicBezTo>
                  <a:cubicBezTo>
                    <a:pt x="406717" y="41668"/>
                    <a:pt x="466725" y="78816"/>
                    <a:pt x="521017" y="123583"/>
                  </a:cubicBezTo>
                  <a:cubicBezTo>
                    <a:pt x="545783" y="143586"/>
                    <a:pt x="545783" y="144538"/>
                    <a:pt x="535305" y="173113"/>
                  </a:cubicBezTo>
                  <a:cubicBezTo>
                    <a:pt x="509588" y="244551"/>
                    <a:pt x="482917" y="315988"/>
                    <a:pt x="456248" y="387426"/>
                  </a:cubicBezTo>
                  <a:cubicBezTo>
                    <a:pt x="370523" y="619836"/>
                    <a:pt x="284798" y="853199"/>
                    <a:pt x="200025" y="1085608"/>
                  </a:cubicBezTo>
                  <a:cubicBezTo>
                    <a:pt x="145733" y="1234199"/>
                    <a:pt x="90488" y="1382788"/>
                    <a:pt x="35242" y="1530426"/>
                  </a:cubicBezTo>
                  <a:lnTo>
                    <a:pt x="0" y="16094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8" name="TextBox 47">
            <a:extLst>
              <a:ext uri="{FF2B5EF4-FFF2-40B4-BE49-F238E27FC236}">
                <a16:creationId xmlns:a16="http://schemas.microsoft.com/office/drawing/2014/main" id="{35B617A4-FEC1-EAC4-025F-59AE15BB473E}"/>
              </a:ext>
            </a:extLst>
          </p:cNvPr>
          <p:cNvSpPr txBox="1"/>
          <p:nvPr/>
        </p:nvSpPr>
        <p:spPr>
          <a:xfrm rot="16200000">
            <a:off x="-3194635" y="4189140"/>
            <a:ext cx="80705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3200" b="1" dirty="0" err="1">
                <a:solidFill>
                  <a:schemeClr val="tx1"/>
                </a:solidFill>
              </a:rPr>
              <a:t>breadcrumbsdata.com</a:t>
            </a:r>
            <a:endParaRPr lang="en-US" sz="3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79339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97591E-6 2.22222E-6 L -0.7447 1.28287 " pathEditMode="relative" rAng="0" ptsTypes="AA">
                                      <p:cBhvr>
                                        <p:cTn id="6" dur="5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235" y="64144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97591E-6 2.22222E-6 L -0.7447 1.28287 " pathEditMode="relative" rAng="0" ptsTypes="AA">
                                      <p:cBhvr>
                                        <p:cTn id="8" dur="5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235" y="64144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6724E-6 -3.88889E-6 L -0.7447 1.28287 " pathEditMode="relative" rAng="0" ptsTypes="AA">
                                      <p:cBhvr>
                                        <p:cTn id="10" dur="5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235" y="64144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15857E-6 0 L -0.7447 1.28287 " pathEditMode="relative" rAng="0" ptsTypes="AA">
                                      <p:cBhvr>
                                        <p:cTn id="12" dur="5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235" y="64144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9.41284E-7 3.88889E-6 L -0.7447 1.28287 " pathEditMode="relative" rAng="0" ptsTypes="AA">
                                      <p:cBhvr>
                                        <p:cTn id="14" dur="5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235" y="6414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3692E-6 -2.22222E-6 L -0.7447 1.28287 " pathEditMode="relative" rAng="0" ptsTypes="AA">
                                      <p:cBhvr>
                                        <p:cTn id="16" dur="5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235" y="64144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42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02825E-6 -4.07407E-6 L -0.7447 1.28287 " pathEditMode="relative" rAng="0" ptsTypes="AA">
                                      <p:cBhvr>
                                        <p:cTn id="18" dur="5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235" y="64144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42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61958E-6 4.07407E-6 L -0.7447 1.28287 " pathEditMode="relative" rAng="0" ptsTypes="AA">
                                      <p:cBhvr>
                                        <p:cTn id="20" dur="5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235" y="64144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42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02291E-7 -5.55556E-7 L -0.7447 1.28287 " pathEditMode="relative" rAng="0" ptsTypes="AA">
                                      <p:cBhvr>
                                        <p:cTn id="22" dur="5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235" y="64144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42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89793E-6 1.85185E-6 L -0.7447 1.28287 " pathEditMode="relative" rAng="0" ptsTypes="AA">
                                      <p:cBhvr>
                                        <p:cTn id="24" dur="5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235" y="64144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42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41505E-6 -4.25926E-6 L -0.74469 1.28287 " pathEditMode="relative" rAng="0" ptsTypes="AA">
                                      <p:cBhvr>
                                        <p:cTn id="26" dur="5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235" y="64144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42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63234E-6 -4.62963E-6 L -0.74469 1.28288 " pathEditMode="relative" rAng="0" ptsTypes="AA">
                                      <p:cBhvr>
                                        <p:cTn id="28" dur="5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235" y="64144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42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84963E-6 7.40741E-7 L -0.74469 1.28287 " pathEditMode="relative" rAng="0" ptsTypes="AA">
                                      <p:cBhvr>
                                        <p:cTn id="30" dur="5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235" y="64144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2" presetClass="entr" presetSubtype="2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1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1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eform 5">
            <a:extLst>
              <a:ext uri="{FF2B5EF4-FFF2-40B4-BE49-F238E27FC236}">
                <a16:creationId xmlns:a16="http://schemas.microsoft.com/office/drawing/2014/main" id="{AB491FB6-D96A-4E01-8F67-1F0F38AEA3C0}"/>
              </a:ext>
            </a:extLst>
          </p:cNvPr>
          <p:cNvSpPr>
            <a:spLocks/>
          </p:cNvSpPr>
          <p:nvPr/>
        </p:nvSpPr>
        <p:spPr bwMode="auto">
          <a:xfrm>
            <a:off x="-2051845" y="-23953788"/>
            <a:ext cx="6481764" cy="41148000"/>
          </a:xfrm>
          <a:custGeom>
            <a:avLst/>
            <a:gdLst>
              <a:gd name="T0" fmla="*/ 913 w 2188"/>
              <a:gd name="T1" fmla="*/ 14034 h 14034"/>
              <a:gd name="T2" fmla="*/ 734 w 2188"/>
              <a:gd name="T3" fmla="*/ 13676 h 14034"/>
              <a:gd name="T4" fmla="*/ 373 w 2188"/>
              <a:gd name="T5" fmla="*/ 12854 h 14034"/>
              <a:gd name="T6" fmla="*/ 0 w 2188"/>
              <a:gd name="T7" fmla="*/ 11337 h 14034"/>
              <a:gd name="T8" fmla="*/ 376 w 2188"/>
              <a:gd name="T9" fmla="*/ 9820 h 14034"/>
              <a:gd name="T10" fmla="*/ 738 w 2188"/>
              <a:gd name="T11" fmla="*/ 8998 h 14034"/>
              <a:gd name="T12" fmla="*/ 1072 w 2188"/>
              <a:gd name="T13" fmla="*/ 8236 h 14034"/>
              <a:gd name="T14" fmla="*/ 1388 w 2188"/>
              <a:gd name="T15" fmla="*/ 7017 h 14034"/>
              <a:gd name="T16" fmla="*/ 1068 w 2188"/>
              <a:gd name="T17" fmla="*/ 5792 h 14034"/>
              <a:gd name="T18" fmla="*/ 735 w 2188"/>
              <a:gd name="T19" fmla="*/ 5037 h 14034"/>
              <a:gd name="T20" fmla="*/ 734 w 2188"/>
              <a:gd name="T21" fmla="*/ 5036 h 14034"/>
              <a:gd name="T22" fmla="*/ 373 w 2188"/>
              <a:gd name="T23" fmla="*/ 4214 h 14034"/>
              <a:gd name="T24" fmla="*/ 0 w 2188"/>
              <a:gd name="T25" fmla="*/ 2697 h 14034"/>
              <a:gd name="T26" fmla="*/ 376 w 2188"/>
              <a:gd name="T27" fmla="*/ 1180 h 14034"/>
              <a:gd name="T28" fmla="*/ 739 w 2188"/>
              <a:gd name="T29" fmla="*/ 357 h 14034"/>
              <a:gd name="T30" fmla="*/ 918 w 2188"/>
              <a:gd name="T31" fmla="*/ 0 h 14034"/>
              <a:gd name="T32" fmla="*/ 1633 w 2188"/>
              <a:gd name="T33" fmla="*/ 359 h 14034"/>
              <a:gd name="T34" fmla="*/ 1453 w 2188"/>
              <a:gd name="T35" fmla="*/ 717 h 14034"/>
              <a:gd name="T36" fmla="*/ 1118 w 2188"/>
              <a:gd name="T37" fmla="*/ 1478 h 14034"/>
              <a:gd name="T38" fmla="*/ 800 w 2188"/>
              <a:gd name="T39" fmla="*/ 2697 h 14034"/>
              <a:gd name="T40" fmla="*/ 1116 w 2188"/>
              <a:gd name="T41" fmla="*/ 3916 h 14034"/>
              <a:gd name="T42" fmla="*/ 1449 w 2188"/>
              <a:gd name="T43" fmla="*/ 4677 h 14034"/>
              <a:gd name="T44" fmla="*/ 1812 w 2188"/>
              <a:gd name="T45" fmla="*/ 5500 h 14034"/>
              <a:gd name="T46" fmla="*/ 2188 w 2188"/>
              <a:gd name="T47" fmla="*/ 7017 h 14034"/>
              <a:gd name="T48" fmla="*/ 1815 w 2188"/>
              <a:gd name="T49" fmla="*/ 8534 h 14034"/>
              <a:gd name="T50" fmla="*/ 1454 w 2188"/>
              <a:gd name="T51" fmla="*/ 9356 h 14034"/>
              <a:gd name="T52" fmla="*/ 1453 w 2188"/>
              <a:gd name="T53" fmla="*/ 9357 h 14034"/>
              <a:gd name="T54" fmla="*/ 1118 w 2188"/>
              <a:gd name="T55" fmla="*/ 10118 h 14034"/>
              <a:gd name="T56" fmla="*/ 800 w 2188"/>
              <a:gd name="T57" fmla="*/ 11337 h 14034"/>
              <a:gd name="T58" fmla="*/ 1116 w 2188"/>
              <a:gd name="T59" fmla="*/ 12556 h 14034"/>
              <a:gd name="T60" fmla="*/ 1450 w 2188"/>
              <a:gd name="T61" fmla="*/ 13318 h 14034"/>
              <a:gd name="T62" fmla="*/ 1628 w 2188"/>
              <a:gd name="T63" fmla="*/ 13676 h 14034"/>
              <a:gd name="T64" fmla="*/ 913 w 2188"/>
              <a:gd name="T65" fmla="*/ 14034 h 140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188" h="14034">
                <a:moveTo>
                  <a:pt x="913" y="14034"/>
                </a:moveTo>
                <a:cubicBezTo>
                  <a:pt x="734" y="13676"/>
                  <a:pt x="734" y="13676"/>
                  <a:pt x="734" y="13676"/>
                </a:cubicBezTo>
                <a:cubicBezTo>
                  <a:pt x="727" y="13661"/>
                  <a:pt x="551" y="13308"/>
                  <a:pt x="373" y="12854"/>
                </a:cubicBezTo>
                <a:cubicBezTo>
                  <a:pt x="126" y="12219"/>
                  <a:pt x="0" y="11709"/>
                  <a:pt x="0" y="11337"/>
                </a:cubicBezTo>
                <a:cubicBezTo>
                  <a:pt x="0" y="10965"/>
                  <a:pt x="126" y="10454"/>
                  <a:pt x="376" y="9820"/>
                </a:cubicBezTo>
                <a:cubicBezTo>
                  <a:pt x="553" y="9368"/>
                  <a:pt x="729" y="9017"/>
                  <a:pt x="738" y="8998"/>
                </a:cubicBezTo>
                <a:cubicBezTo>
                  <a:pt x="745" y="8984"/>
                  <a:pt x="910" y="8651"/>
                  <a:pt x="1072" y="8236"/>
                </a:cubicBezTo>
                <a:cubicBezTo>
                  <a:pt x="1276" y="7713"/>
                  <a:pt x="1388" y="7280"/>
                  <a:pt x="1388" y="7017"/>
                </a:cubicBezTo>
                <a:cubicBezTo>
                  <a:pt x="1388" y="6753"/>
                  <a:pt x="1274" y="6318"/>
                  <a:pt x="1068" y="5792"/>
                </a:cubicBezTo>
                <a:cubicBezTo>
                  <a:pt x="902" y="5371"/>
                  <a:pt x="736" y="5040"/>
                  <a:pt x="735" y="5037"/>
                </a:cubicBezTo>
                <a:cubicBezTo>
                  <a:pt x="734" y="5036"/>
                  <a:pt x="734" y="5036"/>
                  <a:pt x="734" y="5036"/>
                </a:cubicBezTo>
                <a:cubicBezTo>
                  <a:pt x="727" y="5021"/>
                  <a:pt x="551" y="4668"/>
                  <a:pt x="373" y="4214"/>
                </a:cubicBezTo>
                <a:cubicBezTo>
                  <a:pt x="126" y="3579"/>
                  <a:pt x="0" y="3069"/>
                  <a:pt x="0" y="2697"/>
                </a:cubicBezTo>
                <a:cubicBezTo>
                  <a:pt x="0" y="2325"/>
                  <a:pt x="126" y="1814"/>
                  <a:pt x="376" y="1180"/>
                </a:cubicBezTo>
                <a:cubicBezTo>
                  <a:pt x="554" y="725"/>
                  <a:pt x="731" y="372"/>
                  <a:pt x="739" y="357"/>
                </a:cubicBezTo>
                <a:cubicBezTo>
                  <a:pt x="918" y="0"/>
                  <a:pt x="918" y="0"/>
                  <a:pt x="918" y="0"/>
                </a:cubicBezTo>
                <a:cubicBezTo>
                  <a:pt x="1633" y="359"/>
                  <a:pt x="1633" y="359"/>
                  <a:pt x="1633" y="359"/>
                </a:cubicBezTo>
                <a:cubicBezTo>
                  <a:pt x="1453" y="717"/>
                  <a:pt x="1453" y="717"/>
                  <a:pt x="1453" y="717"/>
                </a:cubicBezTo>
                <a:cubicBezTo>
                  <a:pt x="1450" y="724"/>
                  <a:pt x="1282" y="1059"/>
                  <a:pt x="1118" y="1478"/>
                </a:cubicBezTo>
                <a:cubicBezTo>
                  <a:pt x="913" y="2001"/>
                  <a:pt x="800" y="2434"/>
                  <a:pt x="800" y="2697"/>
                </a:cubicBezTo>
                <a:cubicBezTo>
                  <a:pt x="800" y="2960"/>
                  <a:pt x="912" y="3393"/>
                  <a:pt x="1116" y="3916"/>
                </a:cubicBezTo>
                <a:cubicBezTo>
                  <a:pt x="1277" y="4329"/>
                  <a:pt x="1441" y="4660"/>
                  <a:pt x="1449" y="4677"/>
                </a:cubicBezTo>
                <a:cubicBezTo>
                  <a:pt x="1458" y="4695"/>
                  <a:pt x="1634" y="5047"/>
                  <a:pt x="1812" y="5500"/>
                </a:cubicBezTo>
                <a:cubicBezTo>
                  <a:pt x="2062" y="6134"/>
                  <a:pt x="2188" y="6645"/>
                  <a:pt x="2188" y="7017"/>
                </a:cubicBezTo>
                <a:cubicBezTo>
                  <a:pt x="2188" y="7389"/>
                  <a:pt x="2062" y="7899"/>
                  <a:pt x="1815" y="8534"/>
                </a:cubicBezTo>
                <a:cubicBezTo>
                  <a:pt x="1637" y="8988"/>
                  <a:pt x="1461" y="9341"/>
                  <a:pt x="1454" y="9356"/>
                </a:cubicBezTo>
                <a:cubicBezTo>
                  <a:pt x="1453" y="9357"/>
                  <a:pt x="1453" y="9357"/>
                  <a:pt x="1453" y="9357"/>
                </a:cubicBezTo>
                <a:cubicBezTo>
                  <a:pt x="1452" y="9360"/>
                  <a:pt x="1283" y="9697"/>
                  <a:pt x="1118" y="10118"/>
                </a:cubicBezTo>
                <a:cubicBezTo>
                  <a:pt x="913" y="10641"/>
                  <a:pt x="800" y="11074"/>
                  <a:pt x="800" y="11337"/>
                </a:cubicBezTo>
                <a:cubicBezTo>
                  <a:pt x="800" y="11600"/>
                  <a:pt x="912" y="12033"/>
                  <a:pt x="1116" y="12556"/>
                </a:cubicBezTo>
                <a:cubicBezTo>
                  <a:pt x="1281" y="12978"/>
                  <a:pt x="1448" y="13315"/>
                  <a:pt x="1450" y="13318"/>
                </a:cubicBezTo>
                <a:cubicBezTo>
                  <a:pt x="1628" y="13676"/>
                  <a:pt x="1628" y="13676"/>
                  <a:pt x="1628" y="13676"/>
                </a:cubicBezTo>
                <a:lnTo>
                  <a:pt x="913" y="14034"/>
                </a:lnTo>
                <a:close/>
              </a:path>
            </a:pathLst>
          </a:custGeom>
          <a:solidFill>
            <a:schemeClr val="accent4">
              <a:alpha val="88000"/>
            </a:schemeClr>
          </a:solidFill>
          <a:ln>
            <a:noFill/>
          </a:ln>
          <a:effectLst>
            <a:outerShdw blurRad="1003300" dist="38100" dir="10800000" algn="r" rotWithShape="0">
              <a:schemeClr val="accent1">
                <a:lumMod val="75000"/>
                <a:alpha val="46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Freeform 6">
            <a:extLst>
              <a:ext uri="{FF2B5EF4-FFF2-40B4-BE49-F238E27FC236}">
                <a16:creationId xmlns:a16="http://schemas.microsoft.com/office/drawing/2014/main" id="{7BA3199C-0882-4A19-A57A-231D288CF5DA}"/>
              </a:ext>
            </a:extLst>
          </p:cNvPr>
          <p:cNvSpPr>
            <a:spLocks/>
          </p:cNvSpPr>
          <p:nvPr/>
        </p:nvSpPr>
        <p:spPr bwMode="auto">
          <a:xfrm>
            <a:off x="10316" y="-23953788"/>
            <a:ext cx="6481764" cy="41148000"/>
          </a:xfrm>
          <a:custGeom>
            <a:avLst/>
            <a:gdLst>
              <a:gd name="T0" fmla="*/ 913 w 2188"/>
              <a:gd name="T1" fmla="*/ 14034 h 14034"/>
              <a:gd name="T2" fmla="*/ 734 w 2188"/>
              <a:gd name="T3" fmla="*/ 13676 h 14034"/>
              <a:gd name="T4" fmla="*/ 373 w 2188"/>
              <a:gd name="T5" fmla="*/ 12854 h 14034"/>
              <a:gd name="T6" fmla="*/ 0 w 2188"/>
              <a:gd name="T7" fmla="*/ 11337 h 14034"/>
              <a:gd name="T8" fmla="*/ 376 w 2188"/>
              <a:gd name="T9" fmla="*/ 9820 h 14034"/>
              <a:gd name="T10" fmla="*/ 738 w 2188"/>
              <a:gd name="T11" fmla="*/ 8998 h 14034"/>
              <a:gd name="T12" fmla="*/ 1072 w 2188"/>
              <a:gd name="T13" fmla="*/ 8236 h 14034"/>
              <a:gd name="T14" fmla="*/ 1388 w 2188"/>
              <a:gd name="T15" fmla="*/ 7017 h 14034"/>
              <a:gd name="T16" fmla="*/ 1068 w 2188"/>
              <a:gd name="T17" fmla="*/ 5792 h 14034"/>
              <a:gd name="T18" fmla="*/ 735 w 2188"/>
              <a:gd name="T19" fmla="*/ 5037 h 14034"/>
              <a:gd name="T20" fmla="*/ 734 w 2188"/>
              <a:gd name="T21" fmla="*/ 5036 h 14034"/>
              <a:gd name="T22" fmla="*/ 373 w 2188"/>
              <a:gd name="T23" fmla="*/ 4214 h 14034"/>
              <a:gd name="T24" fmla="*/ 0 w 2188"/>
              <a:gd name="T25" fmla="*/ 2697 h 14034"/>
              <a:gd name="T26" fmla="*/ 376 w 2188"/>
              <a:gd name="T27" fmla="*/ 1180 h 14034"/>
              <a:gd name="T28" fmla="*/ 739 w 2188"/>
              <a:gd name="T29" fmla="*/ 357 h 14034"/>
              <a:gd name="T30" fmla="*/ 918 w 2188"/>
              <a:gd name="T31" fmla="*/ 0 h 14034"/>
              <a:gd name="T32" fmla="*/ 1633 w 2188"/>
              <a:gd name="T33" fmla="*/ 359 h 14034"/>
              <a:gd name="T34" fmla="*/ 1453 w 2188"/>
              <a:gd name="T35" fmla="*/ 717 h 14034"/>
              <a:gd name="T36" fmla="*/ 1118 w 2188"/>
              <a:gd name="T37" fmla="*/ 1478 h 14034"/>
              <a:gd name="T38" fmla="*/ 800 w 2188"/>
              <a:gd name="T39" fmla="*/ 2697 h 14034"/>
              <a:gd name="T40" fmla="*/ 1116 w 2188"/>
              <a:gd name="T41" fmla="*/ 3916 h 14034"/>
              <a:gd name="T42" fmla="*/ 1449 w 2188"/>
              <a:gd name="T43" fmla="*/ 4677 h 14034"/>
              <a:gd name="T44" fmla="*/ 1812 w 2188"/>
              <a:gd name="T45" fmla="*/ 5500 h 14034"/>
              <a:gd name="T46" fmla="*/ 2188 w 2188"/>
              <a:gd name="T47" fmla="*/ 7017 h 14034"/>
              <a:gd name="T48" fmla="*/ 1815 w 2188"/>
              <a:gd name="T49" fmla="*/ 8534 h 14034"/>
              <a:gd name="T50" fmla="*/ 1454 w 2188"/>
              <a:gd name="T51" fmla="*/ 9356 h 14034"/>
              <a:gd name="T52" fmla="*/ 1453 w 2188"/>
              <a:gd name="T53" fmla="*/ 9357 h 14034"/>
              <a:gd name="T54" fmla="*/ 1118 w 2188"/>
              <a:gd name="T55" fmla="*/ 10118 h 14034"/>
              <a:gd name="T56" fmla="*/ 800 w 2188"/>
              <a:gd name="T57" fmla="*/ 11337 h 14034"/>
              <a:gd name="T58" fmla="*/ 1116 w 2188"/>
              <a:gd name="T59" fmla="*/ 12556 h 14034"/>
              <a:gd name="T60" fmla="*/ 1450 w 2188"/>
              <a:gd name="T61" fmla="*/ 13318 h 14034"/>
              <a:gd name="T62" fmla="*/ 1628 w 2188"/>
              <a:gd name="T63" fmla="*/ 13676 h 14034"/>
              <a:gd name="T64" fmla="*/ 913 w 2188"/>
              <a:gd name="T65" fmla="*/ 14034 h 140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188" h="14034">
                <a:moveTo>
                  <a:pt x="913" y="14034"/>
                </a:moveTo>
                <a:cubicBezTo>
                  <a:pt x="734" y="13676"/>
                  <a:pt x="734" y="13676"/>
                  <a:pt x="734" y="13676"/>
                </a:cubicBezTo>
                <a:cubicBezTo>
                  <a:pt x="727" y="13661"/>
                  <a:pt x="551" y="13308"/>
                  <a:pt x="373" y="12854"/>
                </a:cubicBezTo>
                <a:cubicBezTo>
                  <a:pt x="126" y="12219"/>
                  <a:pt x="0" y="11709"/>
                  <a:pt x="0" y="11337"/>
                </a:cubicBezTo>
                <a:cubicBezTo>
                  <a:pt x="0" y="10965"/>
                  <a:pt x="126" y="10454"/>
                  <a:pt x="376" y="9820"/>
                </a:cubicBezTo>
                <a:cubicBezTo>
                  <a:pt x="553" y="9368"/>
                  <a:pt x="729" y="9017"/>
                  <a:pt x="738" y="8998"/>
                </a:cubicBezTo>
                <a:cubicBezTo>
                  <a:pt x="745" y="8984"/>
                  <a:pt x="910" y="8651"/>
                  <a:pt x="1072" y="8236"/>
                </a:cubicBezTo>
                <a:cubicBezTo>
                  <a:pt x="1276" y="7713"/>
                  <a:pt x="1388" y="7280"/>
                  <a:pt x="1388" y="7017"/>
                </a:cubicBezTo>
                <a:cubicBezTo>
                  <a:pt x="1388" y="6753"/>
                  <a:pt x="1274" y="6318"/>
                  <a:pt x="1068" y="5792"/>
                </a:cubicBezTo>
                <a:cubicBezTo>
                  <a:pt x="902" y="5371"/>
                  <a:pt x="736" y="5040"/>
                  <a:pt x="735" y="5037"/>
                </a:cubicBezTo>
                <a:cubicBezTo>
                  <a:pt x="734" y="5036"/>
                  <a:pt x="734" y="5036"/>
                  <a:pt x="734" y="5036"/>
                </a:cubicBezTo>
                <a:cubicBezTo>
                  <a:pt x="727" y="5021"/>
                  <a:pt x="551" y="4668"/>
                  <a:pt x="373" y="4214"/>
                </a:cubicBezTo>
                <a:cubicBezTo>
                  <a:pt x="126" y="3579"/>
                  <a:pt x="0" y="3069"/>
                  <a:pt x="0" y="2697"/>
                </a:cubicBezTo>
                <a:cubicBezTo>
                  <a:pt x="0" y="2325"/>
                  <a:pt x="126" y="1814"/>
                  <a:pt x="376" y="1180"/>
                </a:cubicBezTo>
                <a:cubicBezTo>
                  <a:pt x="554" y="725"/>
                  <a:pt x="731" y="372"/>
                  <a:pt x="739" y="357"/>
                </a:cubicBezTo>
                <a:cubicBezTo>
                  <a:pt x="918" y="0"/>
                  <a:pt x="918" y="0"/>
                  <a:pt x="918" y="0"/>
                </a:cubicBezTo>
                <a:cubicBezTo>
                  <a:pt x="1633" y="359"/>
                  <a:pt x="1633" y="359"/>
                  <a:pt x="1633" y="359"/>
                </a:cubicBezTo>
                <a:cubicBezTo>
                  <a:pt x="1453" y="717"/>
                  <a:pt x="1453" y="717"/>
                  <a:pt x="1453" y="717"/>
                </a:cubicBezTo>
                <a:cubicBezTo>
                  <a:pt x="1450" y="724"/>
                  <a:pt x="1282" y="1059"/>
                  <a:pt x="1118" y="1478"/>
                </a:cubicBezTo>
                <a:cubicBezTo>
                  <a:pt x="913" y="2001"/>
                  <a:pt x="800" y="2434"/>
                  <a:pt x="800" y="2697"/>
                </a:cubicBezTo>
                <a:cubicBezTo>
                  <a:pt x="800" y="2960"/>
                  <a:pt x="912" y="3393"/>
                  <a:pt x="1116" y="3916"/>
                </a:cubicBezTo>
                <a:cubicBezTo>
                  <a:pt x="1277" y="4329"/>
                  <a:pt x="1441" y="4660"/>
                  <a:pt x="1449" y="4677"/>
                </a:cubicBezTo>
                <a:cubicBezTo>
                  <a:pt x="1458" y="4695"/>
                  <a:pt x="1634" y="5047"/>
                  <a:pt x="1812" y="5500"/>
                </a:cubicBezTo>
                <a:cubicBezTo>
                  <a:pt x="2062" y="6134"/>
                  <a:pt x="2188" y="6645"/>
                  <a:pt x="2188" y="7017"/>
                </a:cubicBezTo>
                <a:cubicBezTo>
                  <a:pt x="2188" y="7389"/>
                  <a:pt x="2062" y="7899"/>
                  <a:pt x="1815" y="8534"/>
                </a:cubicBezTo>
                <a:cubicBezTo>
                  <a:pt x="1637" y="8988"/>
                  <a:pt x="1461" y="9341"/>
                  <a:pt x="1454" y="9356"/>
                </a:cubicBezTo>
                <a:cubicBezTo>
                  <a:pt x="1453" y="9357"/>
                  <a:pt x="1453" y="9357"/>
                  <a:pt x="1453" y="9357"/>
                </a:cubicBezTo>
                <a:cubicBezTo>
                  <a:pt x="1452" y="9360"/>
                  <a:pt x="1283" y="9697"/>
                  <a:pt x="1118" y="10118"/>
                </a:cubicBezTo>
                <a:cubicBezTo>
                  <a:pt x="913" y="10641"/>
                  <a:pt x="800" y="11074"/>
                  <a:pt x="800" y="11337"/>
                </a:cubicBezTo>
                <a:cubicBezTo>
                  <a:pt x="800" y="11600"/>
                  <a:pt x="912" y="12033"/>
                  <a:pt x="1116" y="12556"/>
                </a:cubicBezTo>
                <a:cubicBezTo>
                  <a:pt x="1281" y="12978"/>
                  <a:pt x="1448" y="13315"/>
                  <a:pt x="1450" y="13318"/>
                </a:cubicBezTo>
                <a:cubicBezTo>
                  <a:pt x="1628" y="13676"/>
                  <a:pt x="1628" y="13676"/>
                  <a:pt x="1628" y="13676"/>
                </a:cubicBezTo>
                <a:lnTo>
                  <a:pt x="913" y="14034"/>
                </a:lnTo>
                <a:close/>
              </a:path>
            </a:pathLst>
          </a:custGeom>
          <a:solidFill>
            <a:schemeClr val="accent3">
              <a:alpha val="88000"/>
            </a:schemeClr>
          </a:solidFill>
          <a:ln>
            <a:noFill/>
          </a:ln>
          <a:effectLst>
            <a:outerShdw blurRad="1003300" dist="38100" dir="10800000" algn="r" rotWithShape="0">
              <a:schemeClr val="accent6">
                <a:lumMod val="75000"/>
                <a:alpha val="46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Freeform 7">
            <a:extLst>
              <a:ext uri="{FF2B5EF4-FFF2-40B4-BE49-F238E27FC236}">
                <a16:creationId xmlns:a16="http://schemas.microsoft.com/office/drawing/2014/main" id="{C8C855F6-195A-465B-9AFB-9136F9DDF878}"/>
              </a:ext>
            </a:extLst>
          </p:cNvPr>
          <p:cNvSpPr>
            <a:spLocks/>
          </p:cNvSpPr>
          <p:nvPr/>
        </p:nvSpPr>
        <p:spPr bwMode="auto">
          <a:xfrm>
            <a:off x="2072480" y="-23953788"/>
            <a:ext cx="6481764" cy="41148000"/>
          </a:xfrm>
          <a:custGeom>
            <a:avLst/>
            <a:gdLst>
              <a:gd name="T0" fmla="*/ 913 w 2188"/>
              <a:gd name="T1" fmla="*/ 14034 h 14034"/>
              <a:gd name="T2" fmla="*/ 734 w 2188"/>
              <a:gd name="T3" fmla="*/ 13676 h 14034"/>
              <a:gd name="T4" fmla="*/ 373 w 2188"/>
              <a:gd name="T5" fmla="*/ 12854 h 14034"/>
              <a:gd name="T6" fmla="*/ 0 w 2188"/>
              <a:gd name="T7" fmla="*/ 11337 h 14034"/>
              <a:gd name="T8" fmla="*/ 376 w 2188"/>
              <a:gd name="T9" fmla="*/ 9820 h 14034"/>
              <a:gd name="T10" fmla="*/ 738 w 2188"/>
              <a:gd name="T11" fmla="*/ 8998 h 14034"/>
              <a:gd name="T12" fmla="*/ 1072 w 2188"/>
              <a:gd name="T13" fmla="*/ 8236 h 14034"/>
              <a:gd name="T14" fmla="*/ 1388 w 2188"/>
              <a:gd name="T15" fmla="*/ 7017 h 14034"/>
              <a:gd name="T16" fmla="*/ 1068 w 2188"/>
              <a:gd name="T17" fmla="*/ 5792 h 14034"/>
              <a:gd name="T18" fmla="*/ 735 w 2188"/>
              <a:gd name="T19" fmla="*/ 5037 h 14034"/>
              <a:gd name="T20" fmla="*/ 734 w 2188"/>
              <a:gd name="T21" fmla="*/ 5036 h 14034"/>
              <a:gd name="T22" fmla="*/ 373 w 2188"/>
              <a:gd name="T23" fmla="*/ 4214 h 14034"/>
              <a:gd name="T24" fmla="*/ 0 w 2188"/>
              <a:gd name="T25" fmla="*/ 2697 h 14034"/>
              <a:gd name="T26" fmla="*/ 376 w 2188"/>
              <a:gd name="T27" fmla="*/ 1180 h 14034"/>
              <a:gd name="T28" fmla="*/ 739 w 2188"/>
              <a:gd name="T29" fmla="*/ 357 h 14034"/>
              <a:gd name="T30" fmla="*/ 918 w 2188"/>
              <a:gd name="T31" fmla="*/ 0 h 14034"/>
              <a:gd name="T32" fmla="*/ 1633 w 2188"/>
              <a:gd name="T33" fmla="*/ 359 h 14034"/>
              <a:gd name="T34" fmla="*/ 1453 w 2188"/>
              <a:gd name="T35" fmla="*/ 717 h 14034"/>
              <a:gd name="T36" fmla="*/ 1118 w 2188"/>
              <a:gd name="T37" fmla="*/ 1478 h 14034"/>
              <a:gd name="T38" fmla="*/ 800 w 2188"/>
              <a:gd name="T39" fmla="*/ 2697 h 14034"/>
              <a:gd name="T40" fmla="*/ 1116 w 2188"/>
              <a:gd name="T41" fmla="*/ 3916 h 14034"/>
              <a:gd name="T42" fmla="*/ 1449 w 2188"/>
              <a:gd name="T43" fmla="*/ 4677 h 14034"/>
              <a:gd name="T44" fmla="*/ 1812 w 2188"/>
              <a:gd name="T45" fmla="*/ 5500 h 14034"/>
              <a:gd name="T46" fmla="*/ 2188 w 2188"/>
              <a:gd name="T47" fmla="*/ 7017 h 14034"/>
              <a:gd name="T48" fmla="*/ 1815 w 2188"/>
              <a:gd name="T49" fmla="*/ 8534 h 14034"/>
              <a:gd name="T50" fmla="*/ 1454 w 2188"/>
              <a:gd name="T51" fmla="*/ 9356 h 14034"/>
              <a:gd name="T52" fmla="*/ 1453 w 2188"/>
              <a:gd name="T53" fmla="*/ 9357 h 14034"/>
              <a:gd name="T54" fmla="*/ 1118 w 2188"/>
              <a:gd name="T55" fmla="*/ 10118 h 14034"/>
              <a:gd name="T56" fmla="*/ 800 w 2188"/>
              <a:gd name="T57" fmla="*/ 11337 h 14034"/>
              <a:gd name="T58" fmla="*/ 1116 w 2188"/>
              <a:gd name="T59" fmla="*/ 12556 h 14034"/>
              <a:gd name="T60" fmla="*/ 1450 w 2188"/>
              <a:gd name="T61" fmla="*/ 13318 h 14034"/>
              <a:gd name="T62" fmla="*/ 1628 w 2188"/>
              <a:gd name="T63" fmla="*/ 13676 h 14034"/>
              <a:gd name="T64" fmla="*/ 913 w 2188"/>
              <a:gd name="T65" fmla="*/ 14034 h 140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188" h="14034">
                <a:moveTo>
                  <a:pt x="913" y="14034"/>
                </a:moveTo>
                <a:cubicBezTo>
                  <a:pt x="734" y="13676"/>
                  <a:pt x="734" y="13676"/>
                  <a:pt x="734" y="13676"/>
                </a:cubicBezTo>
                <a:cubicBezTo>
                  <a:pt x="727" y="13661"/>
                  <a:pt x="551" y="13308"/>
                  <a:pt x="373" y="12854"/>
                </a:cubicBezTo>
                <a:cubicBezTo>
                  <a:pt x="126" y="12219"/>
                  <a:pt x="0" y="11709"/>
                  <a:pt x="0" y="11337"/>
                </a:cubicBezTo>
                <a:cubicBezTo>
                  <a:pt x="0" y="10965"/>
                  <a:pt x="126" y="10454"/>
                  <a:pt x="376" y="9820"/>
                </a:cubicBezTo>
                <a:cubicBezTo>
                  <a:pt x="553" y="9368"/>
                  <a:pt x="729" y="9017"/>
                  <a:pt x="738" y="8998"/>
                </a:cubicBezTo>
                <a:cubicBezTo>
                  <a:pt x="745" y="8984"/>
                  <a:pt x="910" y="8651"/>
                  <a:pt x="1072" y="8236"/>
                </a:cubicBezTo>
                <a:cubicBezTo>
                  <a:pt x="1276" y="7713"/>
                  <a:pt x="1388" y="7280"/>
                  <a:pt x="1388" y="7017"/>
                </a:cubicBezTo>
                <a:cubicBezTo>
                  <a:pt x="1388" y="6753"/>
                  <a:pt x="1274" y="6318"/>
                  <a:pt x="1068" y="5792"/>
                </a:cubicBezTo>
                <a:cubicBezTo>
                  <a:pt x="902" y="5371"/>
                  <a:pt x="736" y="5040"/>
                  <a:pt x="735" y="5037"/>
                </a:cubicBezTo>
                <a:cubicBezTo>
                  <a:pt x="734" y="5036"/>
                  <a:pt x="734" y="5036"/>
                  <a:pt x="734" y="5036"/>
                </a:cubicBezTo>
                <a:cubicBezTo>
                  <a:pt x="727" y="5021"/>
                  <a:pt x="551" y="4668"/>
                  <a:pt x="373" y="4214"/>
                </a:cubicBezTo>
                <a:cubicBezTo>
                  <a:pt x="126" y="3579"/>
                  <a:pt x="0" y="3069"/>
                  <a:pt x="0" y="2697"/>
                </a:cubicBezTo>
                <a:cubicBezTo>
                  <a:pt x="0" y="2325"/>
                  <a:pt x="126" y="1814"/>
                  <a:pt x="376" y="1180"/>
                </a:cubicBezTo>
                <a:cubicBezTo>
                  <a:pt x="554" y="725"/>
                  <a:pt x="731" y="372"/>
                  <a:pt x="739" y="357"/>
                </a:cubicBezTo>
                <a:cubicBezTo>
                  <a:pt x="918" y="0"/>
                  <a:pt x="918" y="0"/>
                  <a:pt x="918" y="0"/>
                </a:cubicBezTo>
                <a:cubicBezTo>
                  <a:pt x="1633" y="359"/>
                  <a:pt x="1633" y="359"/>
                  <a:pt x="1633" y="359"/>
                </a:cubicBezTo>
                <a:cubicBezTo>
                  <a:pt x="1453" y="717"/>
                  <a:pt x="1453" y="717"/>
                  <a:pt x="1453" y="717"/>
                </a:cubicBezTo>
                <a:cubicBezTo>
                  <a:pt x="1450" y="724"/>
                  <a:pt x="1282" y="1059"/>
                  <a:pt x="1118" y="1478"/>
                </a:cubicBezTo>
                <a:cubicBezTo>
                  <a:pt x="913" y="2001"/>
                  <a:pt x="800" y="2434"/>
                  <a:pt x="800" y="2697"/>
                </a:cubicBezTo>
                <a:cubicBezTo>
                  <a:pt x="800" y="2960"/>
                  <a:pt x="912" y="3393"/>
                  <a:pt x="1116" y="3916"/>
                </a:cubicBezTo>
                <a:cubicBezTo>
                  <a:pt x="1277" y="4329"/>
                  <a:pt x="1441" y="4660"/>
                  <a:pt x="1449" y="4677"/>
                </a:cubicBezTo>
                <a:cubicBezTo>
                  <a:pt x="1458" y="4695"/>
                  <a:pt x="1634" y="5047"/>
                  <a:pt x="1812" y="5500"/>
                </a:cubicBezTo>
                <a:cubicBezTo>
                  <a:pt x="2062" y="6134"/>
                  <a:pt x="2188" y="6645"/>
                  <a:pt x="2188" y="7017"/>
                </a:cubicBezTo>
                <a:cubicBezTo>
                  <a:pt x="2188" y="7389"/>
                  <a:pt x="2062" y="7899"/>
                  <a:pt x="1815" y="8534"/>
                </a:cubicBezTo>
                <a:cubicBezTo>
                  <a:pt x="1637" y="8988"/>
                  <a:pt x="1461" y="9341"/>
                  <a:pt x="1454" y="9356"/>
                </a:cubicBezTo>
                <a:cubicBezTo>
                  <a:pt x="1453" y="9357"/>
                  <a:pt x="1453" y="9357"/>
                  <a:pt x="1453" y="9357"/>
                </a:cubicBezTo>
                <a:cubicBezTo>
                  <a:pt x="1452" y="9360"/>
                  <a:pt x="1283" y="9697"/>
                  <a:pt x="1118" y="10118"/>
                </a:cubicBezTo>
                <a:cubicBezTo>
                  <a:pt x="913" y="10641"/>
                  <a:pt x="800" y="11074"/>
                  <a:pt x="800" y="11337"/>
                </a:cubicBezTo>
                <a:cubicBezTo>
                  <a:pt x="800" y="11600"/>
                  <a:pt x="912" y="12033"/>
                  <a:pt x="1116" y="12556"/>
                </a:cubicBezTo>
                <a:cubicBezTo>
                  <a:pt x="1281" y="12978"/>
                  <a:pt x="1448" y="13315"/>
                  <a:pt x="1450" y="13318"/>
                </a:cubicBezTo>
                <a:cubicBezTo>
                  <a:pt x="1628" y="13676"/>
                  <a:pt x="1628" y="13676"/>
                  <a:pt x="1628" y="13676"/>
                </a:cubicBezTo>
                <a:lnTo>
                  <a:pt x="913" y="14034"/>
                </a:lnTo>
                <a:close/>
              </a:path>
            </a:pathLst>
          </a:custGeom>
          <a:solidFill>
            <a:schemeClr val="tx1">
              <a:alpha val="88000"/>
            </a:schemeClr>
          </a:solidFill>
          <a:ln>
            <a:noFill/>
          </a:ln>
          <a:effectLst>
            <a:outerShdw blurRad="1003300" dist="38100" dir="10800000" algn="r" rotWithShape="0">
              <a:schemeClr val="accent3">
                <a:lumMod val="75000"/>
                <a:alpha val="46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Freeform 8">
            <a:extLst>
              <a:ext uri="{FF2B5EF4-FFF2-40B4-BE49-F238E27FC236}">
                <a16:creationId xmlns:a16="http://schemas.microsoft.com/office/drawing/2014/main" id="{358A3E0E-D243-4982-B2BE-985980A5C348}"/>
              </a:ext>
            </a:extLst>
          </p:cNvPr>
          <p:cNvSpPr>
            <a:spLocks/>
          </p:cNvSpPr>
          <p:nvPr/>
        </p:nvSpPr>
        <p:spPr bwMode="auto">
          <a:xfrm>
            <a:off x="4129880" y="-23953788"/>
            <a:ext cx="6486525" cy="41148000"/>
          </a:xfrm>
          <a:custGeom>
            <a:avLst/>
            <a:gdLst>
              <a:gd name="T0" fmla="*/ 913 w 2188"/>
              <a:gd name="T1" fmla="*/ 14034 h 14034"/>
              <a:gd name="T2" fmla="*/ 734 w 2188"/>
              <a:gd name="T3" fmla="*/ 13676 h 14034"/>
              <a:gd name="T4" fmla="*/ 373 w 2188"/>
              <a:gd name="T5" fmla="*/ 12854 h 14034"/>
              <a:gd name="T6" fmla="*/ 0 w 2188"/>
              <a:gd name="T7" fmla="*/ 11337 h 14034"/>
              <a:gd name="T8" fmla="*/ 376 w 2188"/>
              <a:gd name="T9" fmla="*/ 9820 h 14034"/>
              <a:gd name="T10" fmla="*/ 738 w 2188"/>
              <a:gd name="T11" fmla="*/ 8998 h 14034"/>
              <a:gd name="T12" fmla="*/ 1072 w 2188"/>
              <a:gd name="T13" fmla="*/ 8236 h 14034"/>
              <a:gd name="T14" fmla="*/ 1388 w 2188"/>
              <a:gd name="T15" fmla="*/ 7017 h 14034"/>
              <a:gd name="T16" fmla="*/ 1068 w 2188"/>
              <a:gd name="T17" fmla="*/ 5792 h 14034"/>
              <a:gd name="T18" fmla="*/ 735 w 2188"/>
              <a:gd name="T19" fmla="*/ 5037 h 14034"/>
              <a:gd name="T20" fmla="*/ 734 w 2188"/>
              <a:gd name="T21" fmla="*/ 5036 h 14034"/>
              <a:gd name="T22" fmla="*/ 373 w 2188"/>
              <a:gd name="T23" fmla="*/ 4214 h 14034"/>
              <a:gd name="T24" fmla="*/ 0 w 2188"/>
              <a:gd name="T25" fmla="*/ 2697 h 14034"/>
              <a:gd name="T26" fmla="*/ 376 w 2188"/>
              <a:gd name="T27" fmla="*/ 1180 h 14034"/>
              <a:gd name="T28" fmla="*/ 739 w 2188"/>
              <a:gd name="T29" fmla="*/ 357 h 14034"/>
              <a:gd name="T30" fmla="*/ 918 w 2188"/>
              <a:gd name="T31" fmla="*/ 0 h 14034"/>
              <a:gd name="T32" fmla="*/ 1633 w 2188"/>
              <a:gd name="T33" fmla="*/ 359 h 14034"/>
              <a:gd name="T34" fmla="*/ 1453 w 2188"/>
              <a:gd name="T35" fmla="*/ 717 h 14034"/>
              <a:gd name="T36" fmla="*/ 1118 w 2188"/>
              <a:gd name="T37" fmla="*/ 1478 h 14034"/>
              <a:gd name="T38" fmla="*/ 800 w 2188"/>
              <a:gd name="T39" fmla="*/ 2697 h 14034"/>
              <a:gd name="T40" fmla="*/ 1116 w 2188"/>
              <a:gd name="T41" fmla="*/ 3916 h 14034"/>
              <a:gd name="T42" fmla="*/ 1449 w 2188"/>
              <a:gd name="T43" fmla="*/ 4677 h 14034"/>
              <a:gd name="T44" fmla="*/ 1812 w 2188"/>
              <a:gd name="T45" fmla="*/ 5500 h 14034"/>
              <a:gd name="T46" fmla="*/ 2188 w 2188"/>
              <a:gd name="T47" fmla="*/ 7017 h 14034"/>
              <a:gd name="T48" fmla="*/ 1815 w 2188"/>
              <a:gd name="T49" fmla="*/ 8534 h 14034"/>
              <a:gd name="T50" fmla="*/ 1454 w 2188"/>
              <a:gd name="T51" fmla="*/ 9356 h 14034"/>
              <a:gd name="T52" fmla="*/ 1453 w 2188"/>
              <a:gd name="T53" fmla="*/ 9357 h 14034"/>
              <a:gd name="T54" fmla="*/ 1118 w 2188"/>
              <a:gd name="T55" fmla="*/ 10118 h 14034"/>
              <a:gd name="T56" fmla="*/ 800 w 2188"/>
              <a:gd name="T57" fmla="*/ 11337 h 14034"/>
              <a:gd name="T58" fmla="*/ 1116 w 2188"/>
              <a:gd name="T59" fmla="*/ 12556 h 14034"/>
              <a:gd name="T60" fmla="*/ 1450 w 2188"/>
              <a:gd name="T61" fmla="*/ 13318 h 14034"/>
              <a:gd name="T62" fmla="*/ 1628 w 2188"/>
              <a:gd name="T63" fmla="*/ 13676 h 14034"/>
              <a:gd name="T64" fmla="*/ 913 w 2188"/>
              <a:gd name="T65" fmla="*/ 14034 h 140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188" h="14034">
                <a:moveTo>
                  <a:pt x="913" y="14034"/>
                </a:moveTo>
                <a:cubicBezTo>
                  <a:pt x="734" y="13676"/>
                  <a:pt x="734" y="13676"/>
                  <a:pt x="734" y="13676"/>
                </a:cubicBezTo>
                <a:cubicBezTo>
                  <a:pt x="727" y="13661"/>
                  <a:pt x="551" y="13308"/>
                  <a:pt x="373" y="12854"/>
                </a:cubicBezTo>
                <a:cubicBezTo>
                  <a:pt x="126" y="12219"/>
                  <a:pt x="0" y="11709"/>
                  <a:pt x="0" y="11337"/>
                </a:cubicBezTo>
                <a:cubicBezTo>
                  <a:pt x="0" y="10965"/>
                  <a:pt x="126" y="10454"/>
                  <a:pt x="376" y="9820"/>
                </a:cubicBezTo>
                <a:cubicBezTo>
                  <a:pt x="553" y="9368"/>
                  <a:pt x="729" y="9017"/>
                  <a:pt x="738" y="8998"/>
                </a:cubicBezTo>
                <a:cubicBezTo>
                  <a:pt x="745" y="8984"/>
                  <a:pt x="910" y="8651"/>
                  <a:pt x="1072" y="8236"/>
                </a:cubicBezTo>
                <a:cubicBezTo>
                  <a:pt x="1276" y="7713"/>
                  <a:pt x="1388" y="7280"/>
                  <a:pt x="1388" y="7017"/>
                </a:cubicBezTo>
                <a:cubicBezTo>
                  <a:pt x="1388" y="6753"/>
                  <a:pt x="1274" y="6318"/>
                  <a:pt x="1068" y="5792"/>
                </a:cubicBezTo>
                <a:cubicBezTo>
                  <a:pt x="902" y="5371"/>
                  <a:pt x="736" y="5040"/>
                  <a:pt x="735" y="5037"/>
                </a:cubicBezTo>
                <a:cubicBezTo>
                  <a:pt x="734" y="5036"/>
                  <a:pt x="734" y="5036"/>
                  <a:pt x="734" y="5036"/>
                </a:cubicBezTo>
                <a:cubicBezTo>
                  <a:pt x="727" y="5021"/>
                  <a:pt x="551" y="4668"/>
                  <a:pt x="373" y="4214"/>
                </a:cubicBezTo>
                <a:cubicBezTo>
                  <a:pt x="126" y="3579"/>
                  <a:pt x="0" y="3069"/>
                  <a:pt x="0" y="2697"/>
                </a:cubicBezTo>
                <a:cubicBezTo>
                  <a:pt x="0" y="2325"/>
                  <a:pt x="126" y="1814"/>
                  <a:pt x="376" y="1180"/>
                </a:cubicBezTo>
                <a:cubicBezTo>
                  <a:pt x="554" y="725"/>
                  <a:pt x="731" y="372"/>
                  <a:pt x="739" y="357"/>
                </a:cubicBezTo>
                <a:cubicBezTo>
                  <a:pt x="918" y="0"/>
                  <a:pt x="918" y="0"/>
                  <a:pt x="918" y="0"/>
                </a:cubicBezTo>
                <a:cubicBezTo>
                  <a:pt x="1633" y="359"/>
                  <a:pt x="1633" y="359"/>
                  <a:pt x="1633" y="359"/>
                </a:cubicBezTo>
                <a:cubicBezTo>
                  <a:pt x="1453" y="717"/>
                  <a:pt x="1453" y="717"/>
                  <a:pt x="1453" y="717"/>
                </a:cubicBezTo>
                <a:cubicBezTo>
                  <a:pt x="1450" y="724"/>
                  <a:pt x="1282" y="1059"/>
                  <a:pt x="1118" y="1478"/>
                </a:cubicBezTo>
                <a:cubicBezTo>
                  <a:pt x="913" y="2001"/>
                  <a:pt x="800" y="2434"/>
                  <a:pt x="800" y="2697"/>
                </a:cubicBezTo>
                <a:cubicBezTo>
                  <a:pt x="800" y="2960"/>
                  <a:pt x="912" y="3393"/>
                  <a:pt x="1116" y="3916"/>
                </a:cubicBezTo>
                <a:cubicBezTo>
                  <a:pt x="1277" y="4329"/>
                  <a:pt x="1441" y="4660"/>
                  <a:pt x="1449" y="4677"/>
                </a:cubicBezTo>
                <a:cubicBezTo>
                  <a:pt x="1458" y="4695"/>
                  <a:pt x="1634" y="5047"/>
                  <a:pt x="1812" y="5500"/>
                </a:cubicBezTo>
                <a:cubicBezTo>
                  <a:pt x="2062" y="6134"/>
                  <a:pt x="2188" y="6645"/>
                  <a:pt x="2188" y="7017"/>
                </a:cubicBezTo>
                <a:cubicBezTo>
                  <a:pt x="2188" y="7389"/>
                  <a:pt x="2062" y="7899"/>
                  <a:pt x="1815" y="8534"/>
                </a:cubicBezTo>
                <a:cubicBezTo>
                  <a:pt x="1637" y="8988"/>
                  <a:pt x="1461" y="9341"/>
                  <a:pt x="1454" y="9356"/>
                </a:cubicBezTo>
                <a:cubicBezTo>
                  <a:pt x="1453" y="9357"/>
                  <a:pt x="1453" y="9357"/>
                  <a:pt x="1453" y="9357"/>
                </a:cubicBezTo>
                <a:cubicBezTo>
                  <a:pt x="1452" y="9360"/>
                  <a:pt x="1283" y="9697"/>
                  <a:pt x="1118" y="10118"/>
                </a:cubicBezTo>
                <a:cubicBezTo>
                  <a:pt x="913" y="10641"/>
                  <a:pt x="800" y="11074"/>
                  <a:pt x="800" y="11337"/>
                </a:cubicBezTo>
                <a:cubicBezTo>
                  <a:pt x="800" y="11600"/>
                  <a:pt x="912" y="12033"/>
                  <a:pt x="1116" y="12556"/>
                </a:cubicBezTo>
                <a:cubicBezTo>
                  <a:pt x="1281" y="12978"/>
                  <a:pt x="1448" y="13315"/>
                  <a:pt x="1450" y="13318"/>
                </a:cubicBezTo>
                <a:cubicBezTo>
                  <a:pt x="1628" y="13676"/>
                  <a:pt x="1628" y="13676"/>
                  <a:pt x="1628" y="13676"/>
                </a:cubicBezTo>
                <a:lnTo>
                  <a:pt x="913" y="14034"/>
                </a:lnTo>
                <a:close/>
              </a:path>
            </a:pathLst>
          </a:custGeom>
          <a:solidFill>
            <a:schemeClr val="accent6">
              <a:alpha val="88000"/>
            </a:schemeClr>
          </a:solidFill>
          <a:ln>
            <a:noFill/>
          </a:ln>
          <a:effectLst>
            <a:outerShdw blurRad="1003300" dist="38100" dir="10800000" algn="r" rotWithShape="0">
              <a:schemeClr val="accent4">
                <a:lumMod val="75000"/>
                <a:alpha val="46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Freeform 9">
            <a:extLst>
              <a:ext uri="{FF2B5EF4-FFF2-40B4-BE49-F238E27FC236}">
                <a16:creationId xmlns:a16="http://schemas.microsoft.com/office/drawing/2014/main" id="{388A81A1-B32E-4C00-9B55-95155C4AB4FA}"/>
              </a:ext>
            </a:extLst>
          </p:cNvPr>
          <p:cNvSpPr>
            <a:spLocks/>
          </p:cNvSpPr>
          <p:nvPr/>
        </p:nvSpPr>
        <p:spPr bwMode="auto">
          <a:xfrm>
            <a:off x="6192041" y="-23953788"/>
            <a:ext cx="6481764" cy="41148000"/>
          </a:xfrm>
          <a:custGeom>
            <a:avLst/>
            <a:gdLst>
              <a:gd name="T0" fmla="*/ 913 w 2188"/>
              <a:gd name="T1" fmla="*/ 14034 h 14034"/>
              <a:gd name="T2" fmla="*/ 734 w 2188"/>
              <a:gd name="T3" fmla="*/ 13676 h 14034"/>
              <a:gd name="T4" fmla="*/ 373 w 2188"/>
              <a:gd name="T5" fmla="*/ 12854 h 14034"/>
              <a:gd name="T6" fmla="*/ 0 w 2188"/>
              <a:gd name="T7" fmla="*/ 11337 h 14034"/>
              <a:gd name="T8" fmla="*/ 376 w 2188"/>
              <a:gd name="T9" fmla="*/ 9820 h 14034"/>
              <a:gd name="T10" fmla="*/ 738 w 2188"/>
              <a:gd name="T11" fmla="*/ 8998 h 14034"/>
              <a:gd name="T12" fmla="*/ 1072 w 2188"/>
              <a:gd name="T13" fmla="*/ 8236 h 14034"/>
              <a:gd name="T14" fmla="*/ 1388 w 2188"/>
              <a:gd name="T15" fmla="*/ 7017 h 14034"/>
              <a:gd name="T16" fmla="*/ 1068 w 2188"/>
              <a:gd name="T17" fmla="*/ 5792 h 14034"/>
              <a:gd name="T18" fmla="*/ 735 w 2188"/>
              <a:gd name="T19" fmla="*/ 5037 h 14034"/>
              <a:gd name="T20" fmla="*/ 734 w 2188"/>
              <a:gd name="T21" fmla="*/ 5036 h 14034"/>
              <a:gd name="T22" fmla="*/ 373 w 2188"/>
              <a:gd name="T23" fmla="*/ 4214 h 14034"/>
              <a:gd name="T24" fmla="*/ 0 w 2188"/>
              <a:gd name="T25" fmla="*/ 2697 h 14034"/>
              <a:gd name="T26" fmla="*/ 376 w 2188"/>
              <a:gd name="T27" fmla="*/ 1180 h 14034"/>
              <a:gd name="T28" fmla="*/ 739 w 2188"/>
              <a:gd name="T29" fmla="*/ 357 h 14034"/>
              <a:gd name="T30" fmla="*/ 918 w 2188"/>
              <a:gd name="T31" fmla="*/ 0 h 14034"/>
              <a:gd name="T32" fmla="*/ 1633 w 2188"/>
              <a:gd name="T33" fmla="*/ 359 h 14034"/>
              <a:gd name="T34" fmla="*/ 1453 w 2188"/>
              <a:gd name="T35" fmla="*/ 717 h 14034"/>
              <a:gd name="T36" fmla="*/ 1118 w 2188"/>
              <a:gd name="T37" fmla="*/ 1478 h 14034"/>
              <a:gd name="T38" fmla="*/ 800 w 2188"/>
              <a:gd name="T39" fmla="*/ 2697 h 14034"/>
              <a:gd name="T40" fmla="*/ 1116 w 2188"/>
              <a:gd name="T41" fmla="*/ 3916 h 14034"/>
              <a:gd name="T42" fmla="*/ 1449 w 2188"/>
              <a:gd name="T43" fmla="*/ 4677 h 14034"/>
              <a:gd name="T44" fmla="*/ 1812 w 2188"/>
              <a:gd name="T45" fmla="*/ 5500 h 14034"/>
              <a:gd name="T46" fmla="*/ 2188 w 2188"/>
              <a:gd name="T47" fmla="*/ 7017 h 14034"/>
              <a:gd name="T48" fmla="*/ 1815 w 2188"/>
              <a:gd name="T49" fmla="*/ 8534 h 14034"/>
              <a:gd name="T50" fmla="*/ 1454 w 2188"/>
              <a:gd name="T51" fmla="*/ 9356 h 14034"/>
              <a:gd name="T52" fmla="*/ 1453 w 2188"/>
              <a:gd name="T53" fmla="*/ 9357 h 14034"/>
              <a:gd name="T54" fmla="*/ 1118 w 2188"/>
              <a:gd name="T55" fmla="*/ 10118 h 14034"/>
              <a:gd name="T56" fmla="*/ 800 w 2188"/>
              <a:gd name="T57" fmla="*/ 11337 h 14034"/>
              <a:gd name="T58" fmla="*/ 1116 w 2188"/>
              <a:gd name="T59" fmla="*/ 12556 h 14034"/>
              <a:gd name="T60" fmla="*/ 1450 w 2188"/>
              <a:gd name="T61" fmla="*/ 13318 h 14034"/>
              <a:gd name="T62" fmla="*/ 1628 w 2188"/>
              <a:gd name="T63" fmla="*/ 13676 h 14034"/>
              <a:gd name="T64" fmla="*/ 913 w 2188"/>
              <a:gd name="T65" fmla="*/ 14034 h 140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188" h="14034">
                <a:moveTo>
                  <a:pt x="913" y="14034"/>
                </a:moveTo>
                <a:cubicBezTo>
                  <a:pt x="734" y="13676"/>
                  <a:pt x="734" y="13676"/>
                  <a:pt x="734" y="13676"/>
                </a:cubicBezTo>
                <a:cubicBezTo>
                  <a:pt x="727" y="13661"/>
                  <a:pt x="551" y="13308"/>
                  <a:pt x="373" y="12854"/>
                </a:cubicBezTo>
                <a:cubicBezTo>
                  <a:pt x="126" y="12219"/>
                  <a:pt x="0" y="11709"/>
                  <a:pt x="0" y="11337"/>
                </a:cubicBezTo>
                <a:cubicBezTo>
                  <a:pt x="0" y="10965"/>
                  <a:pt x="126" y="10454"/>
                  <a:pt x="376" y="9820"/>
                </a:cubicBezTo>
                <a:cubicBezTo>
                  <a:pt x="553" y="9368"/>
                  <a:pt x="729" y="9017"/>
                  <a:pt x="738" y="8998"/>
                </a:cubicBezTo>
                <a:cubicBezTo>
                  <a:pt x="745" y="8984"/>
                  <a:pt x="910" y="8651"/>
                  <a:pt x="1072" y="8236"/>
                </a:cubicBezTo>
                <a:cubicBezTo>
                  <a:pt x="1276" y="7713"/>
                  <a:pt x="1388" y="7280"/>
                  <a:pt x="1388" y="7017"/>
                </a:cubicBezTo>
                <a:cubicBezTo>
                  <a:pt x="1388" y="6753"/>
                  <a:pt x="1274" y="6318"/>
                  <a:pt x="1068" y="5792"/>
                </a:cubicBezTo>
                <a:cubicBezTo>
                  <a:pt x="902" y="5371"/>
                  <a:pt x="736" y="5040"/>
                  <a:pt x="735" y="5037"/>
                </a:cubicBezTo>
                <a:cubicBezTo>
                  <a:pt x="734" y="5036"/>
                  <a:pt x="734" y="5036"/>
                  <a:pt x="734" y="5036"/>
                </a:cubicBezTo>
                <a:cubicBezTo>
                  <a:pt x="727" y="5021"/>
                  <a:pt x="551" y="4668"/>
                  <a:pt x="373" y="4214"/>
                </a:cubicBezTo>
                <a:cubicBezTo>
                  <a:pt x="126" y="3579"/>
                  <a:pt x="0" y="3069"/>
                  <a:pt x="0" y="2697"/>
                </a:cubicBezTo>
                <a:cubicBezTo>
                  <a:pt x="0" y="2325"/>
                  <a:pt x="126" y="1814"/>
                  <a:pt x="376" y="1180"/>
                </a:cubicBezTo>
                <a:cubicBezTo>
                  <a:pt x="554" y="725"/>
                  <a:pt x="731" y="372"/>
                  <a:pt x="739" y="357"/>
                </a:cubicBezTo>
                <a:cubicBezTo>
                  <a:pt x="918" y="0"/>
                  <a:pt x="918" y="0"/>
                  <a:pt x="918" y="0"/>
                </a:cubicBezTo>
                <a:cubicBezTo>
                  <a:pt x="1633" y="359"/>
                  <a:pt x="1633" y="359"/>
                  <a:pt x="1633" y="359"/>
                </a:cubicBezTo>
                <a:cubicBezTo>
                  <a:pt x="1453" y="717"/>
                  <a:pt x="1453" y="717"/>
                  <a:pt x="1453" y="717"/>
                </a:cubicBezTo>
                <a:cubicBezTo>
                  <a:pt x="1450" y="724"/>
                  <a:pt x="1282" y="1059"/>
                  <a:pt x="1118" y="1478"/>
                </a:cubicBezTo>
                <a:cubicBezTo>
                  <a:pt x="913" y="2001"/>
                  <a:pt x="800" y="2434"/>
                  <a:pt x="800" y="2697"/>
                </a:cubicBezTo>
                <a:cubicBezTo>
                  <a:pt x="800" y="2960"/>
                  <a:pt x="912" y="3393"/>
                  <a:pt x="1116" y="3916"/>
                </a:cubicBezTo>
                <a:cubicBezTo>
                  <a:pt x="1277" y="4329"/>
                  <a:pt x="1441" y="4660"/>
                  <a:pt x="1449" y="4677"/>
                </a:cubicBezTo>
                <a:cubicBezTo>
                  <a:pt x="1458" y="4695"/>
                  <a:pt x="1634" y="5047"/>
                  <a:pt x="1812" y="5500"/>
                </a:cubicBezTo>
                <a:cubicBezTo>
                  <a:pt x="2062" y="6134"/>
                  <a:pt x="2188" y="6645"/>
                  <a:pt x="2188" y="7017"/>
                </a:cubicBezTo>
                <a:cubicBezTo>
                  <a:pt x="2188" y="7389"/>
                  <a:pt x="2062" y="7899"/>
                  <a:pt x="1815" y="8534"/>
                </a:cubicBezTo>
                <a:cubicBezTo>
                  <a:pt x="1637" y="8988"/>
                  <a:pt x="1461" y="9341"/>
                  <a:pt x="1454" y="9356"/>
                </a:cubicBezTo>
                <a:cubicBezTo>
                  <a:pt x="1453" y="9357"/>
                  <a:pt x="1453" y="9357"/>
                  <a:pt x="1453" y="9357"/>
                </a:cubicBezTo>
                <a:cubicBezTo>
                  <a:pt x="1452" y="9360"/>
                  <a:pt x="1283" y="9697"/>
                  <a:pt x="1118" y="10118"/>
                </a:cubicBezTo>
                <a:cubicBezTo>
                  <a:pt x="913" y="10641"/>
                  <a:pt x="800" y="11074"/>
                  <a:pt x="800" y="11337"/>
                </a:cubicBezTo>
                <a:cubicBezTo>
                  <a:pt x="800" y="11600"/>
                  <a:pt x="912" y="12033"/>
                  <a:pt x="1116" y="12556"/>
                </a:cubicBezTo>
                <a:cubicBezTo>
                  <a:pt x="1281" y="12978"/>
                  <a:pt x="1448" y="13315"/>
                  <a:pt x="1450" y="13318"/>
                </a:cubicBezTo>
                <a:cubicBezTo>
                  <a:pt x="1628" y="13676"/>
                  <a:pt x="1628" y="13676"/>
                  <a:pt x="1628" y="13676"/>
                </a:cubicBezTo>
                <a:lnTo>
                  <a:pt x="913" y="14034"/>
                </a:lnTo>
                <a:close/>
              </a:path>
            </a:pathLst>
          </a:custGeom>
          <a:solidFill>
            <a:schemeClr val="accent5">
              <a:alpha val="88000"/>
            </a:schemeClr>
          </a:solidFill>
          <a:ln>
            <a:noFill/>
          </a:ln>
          <a:effectLst>
            <a:outerShdw blurRad="1003300" dist="38100" dir="10800000" algn="r" rotWithShape="0">
              <a:schemeClr val="accent5">
                <a:lumMod val="75000"/>
                <a:alpha val="46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" name="Freeform 10">
            <a:extLst>
              <a:ext uri="{FF2B5EF4-FFF2-40B4-BE49-F238E27FC236}">
                <a16:creationId xmlns:a16="http://schemas.microsoft.com/office/drawing/2014/main" id="{639156A1-6A4A-4407-BBDF-C63F5842B5EC}"/>
              </a:ext>
            </a:extLst>
          </p:cNvPr>
          <p:cNvSpPr>
            <a:spLocks/>
          </p:cNvSpPr>
          <p:nvPr/>
        </p:nvSpPr>
        <p:spPr bwMode="auto">
          <a:xfrm>
            <a:off x="8254205" y="-23953788"/>
            <a:ext cx="6481764" cy="41148000"/>
          </a:xfrm>
          <a:custGeom>
            <a:avLst/>
            <a:gdLst>
              <a:gd name="T0" fmla="*/ 913 w 2188"/>
              <a:gd name="T1" fmla="*/ 14034 h 14034"/>
              <a:gd name="T2" fmla="*/ 734 w 2188"/>
              <a:gd name="T3" fmla="*/ 13676 h 14034"/>
              <a:gd name="T4" fmla="*/ 373 w 2188"/>
              <a:gd name="T5" fmla="*/ 12854 h 14034"/>
              <a:gd name="T6" fmla="*/ 0 w 2188"/>
              <a:gd name="T7" fmla="*/ 11337 h 14034"/>
              <a:gd name="T8" fmla="*/ 376 w 2188"/>
              <a:gd name="T9" fmla="*/ 9820 h 14034"/>
              <a:gd name="T10" fmla="*/ 738 w 2188"/>
              <a:gd name="T11" fmla="*/ 8998 h 14034"/>
              <a:gd name="T12" fmla="*/ 1072 w 2188"/>
              <a:gd name="T13" fmla="*/ 8236 h 14034"/>
              <a:gd name="T14" fmla="*/ 1388 w 2188"/>
              <a:gd name="T15" fmla="*/ 7017 h 14034"/>
              <a:gd name="T16" fmla="*/ 1068 w 2188"/>
              <a:gd name="T17" fmla="*/ 5792 h 14034"/>
              <a:gd name="T18" fmla="*/ 735 w 2188"/>
              <a:gd name="T19" fmla="*/ 5037 h 14034"/>
              <a:gd name="T20" fmla="*/ 734 w 2188"/>
              <a:gd name="T21" fmla="*/ 5036 h 14034"/>
              <a:gd name="T22" fmla="*/ 373 w 2188"/>
              <a:gd name="T23" fmla="*/ 4214 h 14034"/>
              <a:gd name="T24" fmla="*/ 0 w 2188"/>
              <a:gd name="T25" fmla="*/ 2697 h 14034"/>
              <a:gd name="T26" fmla="*/ 376 w 2188"/>
              <a:gd name="T27" fmla="*/ 1180 h 14034"/>
              <a:gd name="T28" fmla="*/ 739 w 2188"/>
              <a:gd name="T29" fmla="*/ 357 h 14034"/>
              <a:gd name="T30" fmla="*/ 918 w 2188"/>
              <a:gd name="T31" fmla="*/ 0 h 14034"/>
              <a:gd name="T32" fmla="*/ 1633 w 2188"/>
              <a:gd name="T33" fmla="*/ 359 h 14034"/>
              <a:gd name="T34" fmla="*/ 1453 w 2188"/>
              <a:gd name="T35" fmla="*/ 717 h 14034"/>
              <a:gd name="T36" fmla="*/ 1118 w 2188"/>
              <a:gd name="T37" fmla="*/ 1478 h 14034"/>
              <a:gd name="T38" fmla="*/ 800 w 2188"/>
              <a:gd name="T39" fmla="*/ 2697 h 14034"/>
              <a:gd name="T40" fmla="*/ 1116 w 2188"/>
              <a:gd name="T41" fmla="*/ 3916 h 14034"/>
              <a:gd name="T42" fmla="*/ 1449 w 2188"/>
              <a:gd name="T43" fmla="*/ 4677 h 14034"/>
              <a:gd name="T44" fmla="*/ 1812 w 2188"/>
              <a:gd name="T45" fmla="*/ 5500 h 14034"/>
              <a:gd name="T46" fmla="*/ 2188 w 2188"/>
              <a:gd name="T47" fmla="*/ 7017 h 14034"/>
              <a:gd name="T48" fmla="*/ 1815 w 2188"/>
              <a:gd name="T49" fmla="*/ 8534 h 14034"/>
              <a:gd name="T50" fmla="*/ 1454 w 2188"/>
              <a:gd name="T51" fmla="*/ 9356 h 14034"/>
              <a:gd name="T52" fmla="*/ 1453 w 2188"/>
              <a:gd name="T53" fmla="*/ 9357 h 14034"/>
              <a:gd name="T54" fmla="*/ 1118 w 2188"/>
              <a:gd name="T55" fmla="*/ 10118 h 14034"/>
              <a:gd name="T56" fmla="*/ 800 w 2188"/>
              <a:gd name="T57" fmla="*/ 11337 h 14034"/>
              <a:gd name="T58" fmla="*/ 1116 w 2188"/>
              <a:gd name="T59" fmla="*/ 12556 h 14034"/>
              <a:gd name="T60" fmla="*/ 1450 w 2188"/>
              <a:gd name="T61" fmla="*/ 13318 h 14034"/>
              <a:gd name="T62" fmla="*/ 1628 w 2188"/>
              <a:gd name="T63" fmla="*/ 13676 h 14034"/>
              <a:gd name="T64" fmla="*/ 913 w 2188"/>
              <a:gd name="T65" fmla="*/ 14034 h 140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188" h="14034">
                <a:moveTo>
                  <a:pt x="913" y="14034"/>
                </a:moveTo>
                <a:cubicBezTo>
                  <a:pt x="734" y="13676"/>
                  <a:pt x="734" y="13676"/>
                  <a:pt x="734" y="13676"/>
                </a:cubicBezTo>
                <a:cubicBezTo>
                  <a:pt x="727" y="13661"/>
                  <a:pt x="551" y="13308"/>
                  <a:pt x="373" y="12854"/>
                </a:cubicBezTo>
                <a:cubicBezTo>
                  <a:pt x="126" y="12219"/>
                  <a:pt x="0" y="11709"/>
                  <a:pt x="0" y="11337"/>
                </a:cubicBezTo>
                <a:cubicBezTo>
                  <a:pt x="0" y="10965"/>
                  <a:pt x="126" y="10454"/>
                  <a:pt x="376" y="9820"/>
                </a:cubicBezTo>
                <a:cubicBezTo>
                  <a:pt x="553" y="9368"/>
                  <a:pt x="729" y="9017"/>
                  <a:pt x="738" y="8998"/>
                </a:cubicBezTo>
                <a:cubicBezTo>
                  <a:pt x="745" y="8984"/>
                  <a:pt x="910" y="8651"/>
                  <a:pt x="1072" y="8236"/>
                </a:cubicBezTo>
                <a:cubicBezTo>
                  <a:pt x="1276" y="7713"/>
                  <a:pt x="1388" y="7280"/>
                  <a:pt x="1388" y="7017"/>
                </a:cubicBezTo>
                <a:cubicBezTo>
                  <a:pt x="1388" y="6753"/>
                  <a:pt x="1274" y="6318"/>
                  <a:pt x="1068" y="5792"/>
                </a:cubicBezTo>
                <a:cubicBezTo>
                  <a:pt x="902" y="5371"/>
                  <a:pt x="736" y="5040"/>
                  <a:pt x="735" y="5037"/>
                </a:cubicBezTo>
                <a:cubicBezTo>
                  <a:pt x="734" y="5036"/>
                  <a:pt x="734" y="5036"/>
                  <a:pt x="734" y="5036"/>
                </a:cubicBezTo>
                <a:cubicBezTo>
                  <a:pt x="727" y="5021"/>
                  <a:pt x="551" y="4668"/>
                  <a:pt x="373" y="4214"/>
                </a:cubicBezTo>
                <a:cubicBezTo>
                  <a:pt x="126" y="3579"/>
                  <a:pt x="0" y="3069"/>
                  <a:pt x="0" y="2697"/>
                </a:cubicBezTo>
                <a:cubicBezTo>
                  <a:pt x="0" y="2325"/>
                  <a:pt x="126" y="1814"/>
                  <a:pt x="376" y="1180"/>
                </a:cubicBezTo>
                <a:cubicBezTo>
                  <a:pt x="554" y="725"/>
                  <a:pt x="731" y="372"/>
                  <a:pt x="739" y="357"/>
                </a:cubicBezTo>
                <a:cubicBezTo>
                  <a:pt x="918" y="0"/>
                  <a:pt x="918" y="0"/>
                  <a:pt x="918" y="0"/>
                </a:cubicBezTo>
                <a:cubicBezTo>
                  <a:pt x="1633" y="359"/>
                  <a:pt x="1633" y="359"/>
                  <a:pt x="1633" y="359"/>
                </a:cubicBezTo>
                <a:cubicBezTo>
                  <a:pt x="1453" y="717"/>
                  <a:pt x="1453" y="717"/>
                  <a:pt x="1453" y="717"/>
                </a:cubicBezTo>
                <a:cubicBezTo>
                  <a:pt x="1450" y="724"/>
                  <a:pt x="1282" y="1059"/>
                  <a:pt x="1118" y="1478"/>
                </a:cubicBezTo>
                <a:cubicBezTo>
                  <a:pt x="913" y="2001"/>
                  <a:pt x="800" y="2434"/>
                  <a:pt x="800" y="2697"/>
                </a:cubicBezTo>
                <a:cubicBezTo>
                  <a:pt x="800" y="2960"/>
                  <a:pt x="912" y="3393"/>
                  <a:pt x="1116" y="3916"/>
                </a:cubicBezTo>
                <a:cubicBezTo>
                  <a:pt x="1277" y="4329"/>
                  <a:pt x="1441" y="4660"/>
                  <a:pt x="1449" y="4677"/>
                </a:cubicBezTo>
                <a:cubicBezTo>
                  <a:pt x="1458" y="4695"/>
                  <a:pt x="1634" y="5047"/>
                  <a:pt x="1812" y="5500"/>
                </a:cubicBezTo>
                <a:cubicBezTo>
                  <a:pt x="2062" y="6134"/>
                  <a:pt x="2188" y="6645"/>
                  <a:pt x="2188" y="7017"/>
                </a:cubicBezTo>
                <a:cubicBezTo>
                  <a:pt x="2188" y="7389"/>
                  <a:pt x="2062" y="7899"/>
                  <a:pt x="1815" y="8534"/>
                </a:cubicBezTo>
                <a:cubicBezTo>
                  <a:pt x="1637" y="8988"/>
                  <a:pt x="1461" y="9341"/>
                  <a:pt x="1454" y="9356"/>
                </a:cubicBezTo>
                <a:cubicBezTo>
                  <a:pt x="1453" y="9357"/>
                  <a:pt x="1453" y="9357"/>
                  <a:pt x="1453" y="9357"/>
                </a:cubicBezTo>
                <a:cubicBezTo>
                  <a:pt x="1452" y="9360"/>
                  <a:pt x="1283" y="9697"/>
                  <a:pt x="1118" y="10118"/>
                </a:cubicBezTo>
                <a:cubicBezTo>
                  <a:pt x="913" y="10641"/>
                  <a:pt x="800" y="11074"/>
                  <a:pt x="800" y="11337"/>
                </a:cubicBezTo>
                <a:cubicBezTo>
                  <a:pt x="800" y="11600"/>
                  <a:pt x="912" y="12033"/>
                  <a:pt x="1116" y="12556"/>
                </a:cubicBezTo>
                <a:cubicBezTo>
                  <a:pt x="1281" y="12978"/>
                  <a:pt x="1448" y="13315"/>
                  <a:pt x="1450" y="13318"/>
                </a:cubicBezTo>
                <a:cubicBezTo>
                  <a:pt x="1628" y="13676"/>
                  <a:pt x="1628" y="13676"/>
                  <a:pt x="1628" y="13676"/>
                </a:cubicBezTo>
                <a:lnTo>
                  <a:pt x="913" y="14034"/>
                </a:lnTo>
                <a:close/>
              </a:path>
            </a:pathLst>
          </a:custGeom>
          <a:solidFill>
            <a:schemeClr val="tx1">
              <a:alpha val="88000"/>
            </a:schemeClr>
          </a:solidFill>
          <a:ln>
            <a:noFill/>
          </a:ln>
          <a:effectLst>
            <a:outerShdw blurRad="1003300" dist="38100" dir="10800000" algn="r" rotWithShape="0">
              <a:schemeClr val="accent2">
                <a:lumMod val="75000"/>
                <a:alpha val="46000"/>
              </a:scheme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Flowchart: Process 16">
            <a:extLst>
              <a:ext uri="{FF2B5EF4-FFF2-40B4-BE49-F238E27FC236}">
                <a16:creationId xmlns:a16="http://schemas.microsoft.com/office/drawing/2014/main" id="{409CB482-82E0-487A-B73A-83A96AB99161}"/>
              </a:ext>
            </a:extLst>
          </p:cNvPr>
          <p:cNvSpPr/>
          <p:nvPr/>
        </p:nvSpPr>
        <p:spPr>
          <a:xfrm>
            <a:off x="12193588" y="0"/>
            <a:ext cx="12193587" cy="13716000"/>
          </a:xfrm>
          <a:prstGeom prst="flowChartProcess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C65F143-E07B-4BC8-8718-341AE4DE8223}"/>
              </a:ext>
            </a:extLst>
          </p:cNvPr>
          <p:cNvGrpSpPr/>
          <p:nvPr/>
        </p:nvGrpSpPr>
        <p:grpSpPr>
          <a:xfrm>
            <a:off x="0" y="3175"/>
            <a:ext cx="12312650" cy="13716000"/>
            <a:chOff x="6040438" y="3175"/>
            <a:chExt cx="12312650" cy="13716000"/>
          </a:xfrm>
          <a:solidFill>
            <a:schemeClr val="bg1"/>
          </a:solidFill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B0645C92-7344-4ABB-B0E8-7EA43BF1C1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72788" y="5080000"/>
              <a:ext cx="1631950" cy="2762250"/>
            </a:xfrm>
            <a:custGeom>
              <a:avLst/>
              <a:gdLst>
                <a:gd name="T0" fmla="*/ 945 w 1028"/>
                <a:gd name="T1" fmla="*/ 132 h 1740"/>
                <a:gd name="T2" fmla="*/ 1028 w 1028"/>
                <a:gd name="T3" fmla="*/ 0 h 1740"/>
                <a:gd name="T4" fmla="*/ 1028 w 1028"/>
                <a:gd name="T5" fmla="*/ 1740 h 1740"/>
                <a:gd name="T6" fmla="*/ 0 w 1028"/>
                <a:gd name="T7" fmla="*/ 1740 h 1740"/>
                <a:gd name="T8" fmla="*/ 945 w 1028"/>
                <a:gd name="T9" fmla="*/ 132 h 1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28" h="1740">
                  <a:moveTo>
                    <a:pt x="945" y="132"/>
                  </a:moveTo>
                  <a:lnTo>
                    <a:pt x="1028" y="0"/>
                  </a:lnTo>
                  <a:lnTo>
                    <a:pt x="1028" y="1740"/>
                  </a:lnTo>
                  <a:lnTo>
                    <a:pt x="0" y="1740"/>
                  </a:lnTo>
                  <a:lnTo>
                    <a:pt x="945" y="1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9E9FDCC7-6F47-4541-93F4-2128F4F47E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40438" y="3175"/>
              <a:ext cx="12312650" cy="13716000"/>
            </a:xfrm>
            <a:custGeom>
              <a:avLst/>
              <a:gdLst>
                <a:gd name="T0" fmla="*/ 0 w 7756"/>
                <a:gd name="T1" fmla="*/ 0 h 8640"/>
                <a:gd name="T2" fmla="*/ 0 w 7756"/>
                <a:gd name="T3" fmla="*/ 8640 h 8640"/>
                <a:gd name="T4" fmla="*/ 7756 w 7756"/>
                <a:gd name="T5" fmla="*/ 8640 h 8640"/>
                <a:gd name="T6" fmla="*/ 7756 w 7756"/>
                <a:gd name="T7" fmla="*/ 0 h 8640"/>
                <a:gd name="T8" fmla="*/ 0 w 7756"/>
                <a:gd name="T9" fmla="*/ 0 h 8640"/>
                <a:gd name="T10" fmla="*/ 5973 w 7756"/>
                <a:gd name="T11" fmla="*/ 5948 h 8640"/>
                <a:gd name="T12" fmla="*/ 5393 w 7756"/>
                <a:gd name="T13" fmla="*/ 5948 h 8640"/>
                <a:gd name="T14" fmla="*/ 5393 w 7756"/>
                <a:gd name="T15" fmla="*/ 7148 h 8640"/>
                <a:gd name="T16" fmla="*/ 4072 w 7756"/>
                <a:gd name="T17" fmla="*/ 7148 h 8640"/>
                <a:gd name="T18" fmla="*/ 4072 w 7756"/>
                <a:gd name="T19" fmla="*/ 5948 h 8640"/>
                <a:gd name="T20" fmla="*/ 1864 w 7756"/>
                <a:gd name="T21" fmla="*/ 5948 h 8640"/>
                <a:gd name="T22" fmla="*/ 1786 w 7756"/>
                <a:gd name="T23" fmla="*/ 5148 h 8640"/>
                <a:gd name="T24" fmla="*/ 4072 w 7756"/>
                <a:gd name="T25" fmla="*/ 1506 h 8640"/>
                <a:gd name="T26" fmla="*/ 4072 w 7756"/>
                <a:gd name="T27" fmla="*/ 1494 h 8640"/>
                <a:gd name="T28" fmla="*/ 5393 w 7756"/>
                <a:gd name="T29" fmla="*/ 1494 h 8640"/>
                <a:gd name="T30" fmla="*/ 5393 w 7756"/>
                <a:gd name="T31" fmla="*/ 4938 h 8640"/>
                <a:gd name="T32" fmla="*/ 5973 w 7756"/>
                <a:gd name="T33" fmla="*/ 4938 h 8640"/>
                <a:gd name="T34" fmla="*/ 5973 w 7756"/>
                <a:gd name="T35" fmla="*/ 5948 h 8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756" h="8640">
                  <a:moveTo>
                    <a:pt x="0" y="0"/>
                  </a:moveTo>
                  <a:lnTo>
                    <a:pt x="0" y="8640"/>
                  </a:lnTo>
                  <a:lnTo>
                    <a:pt x="7756" y="8640"/>
                  </a:lnTo>
                  <a:lnTo>
                    <a:pt x="7756" y="0"/>
                  </a:lnTo>
                  <a:lnTo>
                    <a:pt x="0" y="0"/>
                  </a:lnTo>
                  <a:close/>
                  <a:moveTo>
                    <a:pt x="5973" y="5948"/>
                  </a:moveTo>
                  <a:lnTo>
                    <a:pt x="5393" y="5948"/>
                  </a:lnTo>
                  <a:lnTo>
                    <a:pt x="5393" y="7148"/>
                  </a:lnTo>
                  <a:lnTo>
                    <a:pt x="4072" y="7148"/>
                  </a:lnTo>
                  <a:lnTo>
                    <a:pt x="4072" y="5948"/>
                  </a:lnTo>
                  <a:lnTo>
                    <a:pt x="1864" y="5948"/>
                  </a:lnTo>
                  <a:lnTo>
                    <a:pt x="1786" y="5148"/>
                  </a:lnTo>
                  <a:lnTo>
                    <a:pt x="4072" y="1506"/>
                  </a:lnTo>
                  <a:lnTo>
                    <a:pt x="4072" y="1494"/>
                  </a:lnTo>
                  <a:lnTo>
                    <a:pt x="5393" y="1494"/>
                  </a:lnTo>
                  <a:lnTo>
                    <a:pt x="5393" y="4938"/>
                  </a:lnTo>
                  <a:lnTo>
                    <a:pt x="5973" y="4938"/>
                  </a:lnTo>
                  <a:lnTo>
                    <a:pt x="5973" y="59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1772BD9C-C695-5FA5-117C-B823088DE8B9}"/>
              </a:ext>
            </a:extLst>
          </p:cNvPr>
          <p:cNvSpPr txBox="1"/>
          <p:nvPr/>
        </p:nvSpPr>
        <p:spPr>
          <a:xfrm>
            <a:off x="13975892" y="5334506"/>
            <a:ext cx="7370859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dirty="0">
                <a:latin typeface="FUTURA MEDIUM BT" panose="020B0602020204020303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We're not just a VPN or anonymization platform;</a:t>
            </a:r>
          </a:p>
          <a:p>
            <a:endParaRPr lang="en-US" sz="4800" dirty="0">
              <a:solidFill>
                <a:schemeClr val="accent1"/>
              </a:solidFill>
              <a:latin typeface="FUTURA MEDIUM BT" panose="020B0602020204020303" pitchFamily="34" charset="0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  <a:p>
            <a:r>
              <a:rPr lang="en-US" sz="4800" dirty="0">
                <a:solidFill>
                  <a:schemeClr val="accent1"/>
                </a:solidFill>
                <a:latin typeface="FUTURA MEDIUM BT" panose="020B0602020204020303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Breadcrumbs is a comprehensive Personal</a:t>
            </a:r>
          </a:p>
          <a:p>
            <a:r>
              <a:rPr lang="en-US" sz="4800" dirty="0">
                <a:solidFill>
                  <a:schemeClr val="accent1"/>
                </a:solidFill>
                <a:latin typeface="FUTURA MEDIUM BT" panose="020B0602020204020303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Data Manager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556155B-347F-16EB-F5FD-16A76628685C}"/>
              </a:ext>
            </a:extLst>
          </p:cNvPr>
          <p:cNvSpPr/>
          <p:nvPr/>
        </p:nvSpPr>
        <p:spPr>
          <a:xfrm>
            <a:off x="16883339" y="3492396"/>
            <a:ext cx="1684714" cy="21454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E4A32DC-438B-C5DD-7993-6362F6B245CC}"/>
              </a:ext>
            </a:extLst>
          </p:cNvPr>
          <p:cNvSpPr txBox="1"/>
          <p:nvPr/>
        </p:nvSpPr>
        <p:spPr>
          <a:xfrm>
            <a:off x="15485008" y="2747863"/>
            <a:ext cx="64817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>
                <a:effectLst/>
                <a:latin typeface="FUTURA MEDIUM BT" panose="020B0602020204020303" pitchFamily="34" charset="0"/>
              </a:rPr>
              <a:t>Why We Beat The Competition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41C386E-8B11-6401-05E1-28C2BA5EE1E4}"/>
              </a:ext>
            </a:extLst>
          </p:cNvPr>
          <p:cNvSpPr txBox="1">
            <a:spLocks/>
          </p:cNvSpPr>
          <p:nvPr/>
        </p:nvSpPr>
        <p:spPr>
          <a:xfrm>
            <a:off x="23408916" y="8877743"/>
            <a:ext cx="324565" cy="582761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2400" b="1" smtClean="0">
                <a:solidFill>
                  <a:schemeClr val="tx1"/>
                </a:solidFill>
                <a:latin typeface="+mj-lt"/>
              </a:rPr>
              <a:pPr algn="ctr"/>
              <a:t>19</a:t>
            </a:fld>
            <a:endParaRPr lang="en-US" sz="1400" b="1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DA10E3D-F0EE-4D92-12AF-1C2E787F7C39}"/>
              </a:ext>
            </a:extLst>
          </p:cNvPr>
          <p:cNvGrpSpPr/>
          <p:nvPr/>
        </p:nvGrpSpPr>
        <p:grpSpPr>
          <a:xfrm>
            <a:off x="23332870" y="446240"/>
            <a:ext cx="476655" cy="337457"/>
            <a:chOff x="6167336" y="2130357"/>
            <a:chExt cx="476655" cy="337457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C5B5B68F-62D8-8457-412D-6CCBC4A595BB}"/>
                </a:ext>
              </a:extLst>
            </p:cNvPr>
            <p:cNvCxnSpPr/>
            <p:nvPr userDrawn="1"/>
          </p:nvCxnSpPr>
          <p:spPr>
            <a:xfrm>
              <a:off x="6167336" y="2130357"/>
              <a:ext cx="476655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F555717A-A2BF-D07D-D707-8FC13025BBF4}"/>
                </a:ext>
              </a:extLst>
            </p:cNvPr>
            <p:cNvCxnSpPr/>
            <p:nvPr userDrawn="1"/>
          </p:nvCxnSpPr>
          <p:spPr>
            <a:xfrm>
              <a:off x="6167336" y="2299086"/>
              <a:ext cx="476655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770EBB09-3FC4-4D3A-2341-152F17F32CA2}"/>
                </a:ext>
              </a:extLst>
            </p:cNvPr>
            <p:cNvCxnSpPr/>
            <p:nvPr userDrawn="1"/>
          </p:nvCxnSpPr>
          <p:spPr>
            <a:xfrm>
              <a:off x="6167336" y="2467814"/>
              <a:ext cx="476655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9B99DC1-4B59-4F95-D712-D1E51E57712F}"/>
              </a:ext>
            </a:extLst>
          </p:cNvPr>
          <p:cNvGrpSpPr/>
          <p:nvPr/>
        </p:nvGrpSpPr>
        <p:grpSpPr>
          <a:xfrm>
            <a:off x="23519785" y="12234167"/>
            <a:ext cx="102824" cy="698136"/>
            <a:chOff x="729638" y="739163"/>
            <a:chExt cx="102824" cy="698136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8A8F5E4D-793D-F433-239A-F8307FD0CF21}"/>
                </a:ext>
              </a:extLst>
            </p:cNvPr>
            <p:cNvSpPr/>
            <p:nvPr userDrawn="1"/>
          </p:nvSpPr>
          <p:spPr>
            <a:xfrm>
              <a:off x="729638" y="739163"/>
              <a:ext cx="102824" cy="10282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7A444FB-D9C0-A53B-6DC4-11994253DE21}"/>
                </a:ext>
              </a:extLst>
            </p:cNvPr>
            <p:cNvSpPr/>
            <p:nvPr userDrawn="1"/>
          </p:nvSpPr>
          <p:spPr>
            <a:xfrm>
              <a:off x="729638" y="1036819"/>
              <a:ext cx="102824" cy="10282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548AB441-3204-9F88-3729-701F34EE2AF6}"/>
                </a:ext>
              </a:extLst>
            </p:cNvPr>
            <p:cNvSpPr/>
            <p:nvPr userDrawn="1"/>
          </p:nvSpPr>
          <p:spPr>
            <a:xfrm>
              <a:off x="729638" y="1334475"/>
              <a:ext cx="102824" cy="10282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0" name="Graphic 29">
            <a:extLst>
              <a:ext uri="{FF2B5EF4-FFF2-40B4-BE49-F238E27FC236}">
                <a16:creationId xmlns:a16="http://schemas.microsoft.com/office/drawing/2014/main" id="{AE917673-E970-A86B-D499-B1031A955FB3}"/>
              </a:ext>
            </a:extLst>
          </p:cNvPr>
          <p:cNvGrpSpPr/>
          <p:nvPr/>
        </p:nvGrpSpPr>
        <p:grpSpPr>
          <a:xfrm>
            <a:off x="631422" y="446240"/>
            <a:ext cx="589131" cy="1104816"/>
            <a:chOff x="1502100" y="653619"/>
            <a:chExt cx="2035484" cy="3817207"/>
          </a:xfrm>
          <a:solidFill>
            <a:schemeClr val="tx1"/>
          </a:solidFill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50ECE497-AB1B-8933-A5B9-00ABB9F9DF12}"/>
                </a:ext>
              </a:extLst>
            </p:cNvPr>
            <p:cNvSpPr/>
            <p:nvPr/>
          </p:nvSpPr>
          <p:spPr>
            <a:xfrm>
              <a:off x="1502100" y="653619"/>
              <a:ext cx="2035484" cy="3817207"/>
            </a:xfrm>
            <a:custGeom>
              <a:avLst/>
              <a:gdLst>
                <a:gd name="connsiteX0" fmla="*/ 1775452 w 2035484"/>
                <a:gd name="connsiteY0" fmla="*/ 2695942 h 3817207"/>
                <a:gd name="connsiteX1" fmla="*/ 1556377 w 2035484"/>
                <a:gd name="connsiteY1" fmla="*/ 2695942 h 3817207"/>
                <a:gd name="connsiteX2" fmla="*/ 1516372 w 2035484"/>
                <a:gd name="connsiteY2" fmla="*/ 2664509 h 3817207"/>
                <a:gd name="connsiteX3" fmla="*/ 1423027 w 2035484"/>
                <a:gd name="connsiteY3" fmla="*/ 2477819 h 3817207"/>
                <a:gd name="connsiteX4" fmla="*/ 1031549 w 2035484"/>
                <a:gd name="connsiteY4" fmla="*/ 2283509 h 3817207"/>
                <a:gd name="connsiteX5" fmla="*/ 508627 w 2035484"/>
                <a:gd name="connsiteY5" fmla="*/ 2785477 h 3817207"/>
                <a:gd name="connsiteX6" fmla="*/ 1010594 w 2035484"/>
                <a:gd name="connsiteY6" fmla="*/ 3308399 h 3817207"/>
                <a:gd name="connsiteX7" fmla="*/ 1515419 w 2035484"/>
                <a:gd name="connsiteY7" fmla="*/ 2931209 h 3817207"/>
                <a:gd name="connsiteX8" fmla="*/ 1518277 w 2035484"/>
                <a:gd name="connsiteY8" fmla="*/ 2917874 h 3817207"/>
                <a:gd name="connsiteX9" fmla="*/ 1546852 w 2035484"/>
                <a:gd name="connsiteY9" fmla="*/ 2895967 h 3817207"/>
                <a:gd name="connsiteX10" fmla="*/ 1985955 w 2035484"/>
                <a:gd name="connsiteY10" fmla="*/ 2895967 h 3817207"/>
                <a:gd name="connsiteX11" fmla="*/ 2022149 w 2035484"/>
                <a:gd name="connsiteY11" fmla="*/ 2895967 h 3817207"/>
                <a:gd name="connsiteX12" fmla="*/ 2035484 w 2035484"/>
                <a:gd name="connsiteY12" fmla="*/ 2909302 h 3817207"/>
                <a:gd name="connsiteX13" fmla="*/ 2035484 w 2035484"/>
                <a:gd name="connsiteY13" fmla="*/ 2912159 h 3817207"/>
                <a:gd name="connsiteX14" fmla="*/ 2033580 w 2035484"/>
                <a:gd name="connsiteY14" fmla="*/ 2935019 h 3817207"/>
                <a:gd name="connsiteX15" fmla="*/ 1294440 w 2035484"/>
                <a:gd name="connsiteY15" fmla="*/ 3779887 h 3817207"/>
                <a:gd name="connsiteX16" fmla="*/ 37139 w 2035484"/>
                <a:gd name="connsiteY16" fmla="*/ 3068369 h 3817207"/>
                <a:gd name="connsiteX17" fmla="*/ 65714 w 2035484"/>
                <a:gd name="connsiteY17" fmla="*/ 2434004 h 3817207"/>
                <a:gd name="connsiteX18" fmla="*/ 315269 w 2035484"/>
                <a:gd name="connsiteY18" fmla="*/ 1756777 h 3817207"/>
                <a:gd name="connsiteX19" fmla="*/ 944872 w 2035484"/>
                <a:gd name="connsiteY19" fmla="*/ 42277 h 3817207"/>
                <a:gd name="connsiteX20" fmla="*/ 1009642 w 2035484"/>
                <a:gd name="connsiteY20" fmla="*/ 20369 h 3817207"/>
                <a:gd name="connsiteX21" fmla="*/ 1340159 w 2035484"/>
                <a:gd name="connsiteY21" fmla="*/ 531862 h 3817207"/>
                <a:gd name="connsiteX22" fmla="*/ 1266817 w 2035484"/>
                <a:gd name="connsiteY22" fmla="*/ 1033829 h 3817207"/>
                <a:gd name="connsiteX23" fmla="*/ 929632 w 2035484"/>
                <a:gd name="connsiteY23" fmla="*/ 1708199 h 3817207"/>
                <a:gd name="connsiteX24" fmla="*/ 906772 w 2035484"/>
                <a:gd name="connsiteY24" fmla="*/ 1752967 h 3817207"/>
                <a:gd name="connsiteX25" fmla="*/ 923917 w 2035484"/>
                <a:gd name="connsiteY25" fmla="*/ 1779637 h 3817207"/>
                <a:gd name="connsiteX26" fmla="*/ 1038217 w 2035484"/>
                <a:gd name="connsiteY26" fmla="*/ 1776779 h 3817207"/>
                <a:gd name="connsiteX27" fmla="*/ 1658294 w 2035484"/>
                <a:gd name="connsiteY27" fmla="*/ 1999664 h 3817207"/>
                <a:gd name="connsiteX28" fmla="*/ 2023102 w 2035484"/>
                <a:gd name="connsiteY28" fmla="*/ 2599739 h 3817207"/>
                <a:gd name="connsiteX29" fmla="*/ 2034532 w 2035484"/>
                <a:gd name="connsiteY29" fmla="*/ 2672129 h 3817207"/>
                <a:gd name="connsiteX30" fmla="*/ 2013577 w 2035484"/>
                <a:gd name="connsiteY30" fmla="*/ 2697847 h 3817207"/>
                <a:gd name="connsiteX31" fmla="*/ 1774499 w 2035484"/>
                <a:gd name="connsiteY31" fmla="*/ 2697847 h 3817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035484" h="3817207">
                  <a:moveTo>
                    <a:pt x="1775452" y="2695942"/>
                  </a:moveTo>
                  <a:lnTo>
                    <a:pt x="1556377" y="2695942"/>
                  </a:lnTo>
                  <a:cubicBezTo>
                    <a:pt x="1525897" y="2695942"/>
                    <a:pt x="1524944" y="2695942"/>
                    <a:pt x="1516372" y="2664509"/>
                  </a:cubicBezTo>
                  <a:cubicBezTo>
                    <a:pt x="1499227" y="2595929"/>
                    <a:pt x="1466842" y="2533064"/>
                    <a:pt x="1423027" y="2477819"/>
                  </a:cubicBezTo>
                  <a:cubicBezTo>
                    <a:pt x="1322062" y="2353994"/>
                    <a:pt x="1191569" y="2287319"/>
                    <a:pt x="1031549" y="2283509"/>
                  </a:cubicBezTo>
                  <a:cubicBezTo>
                    <a:pt x="748657" y="2277794"/>
                    <a:pt x="514342" y="2502584"/>
                    <a:pt x="508627" y="2785477"/>
                  </a:cubicBezTo>
                  <a:cubicBezTo>
                    <a:pt x="502912" y="3068369"/>
                    <a:pt x="727702" y="3302684"/>
                    <a:pt x="1010594" y="3308399"/>
                  </a:cubicBezTo>
                  <a:cubicBezTo>
                    <a:pt x="1244909" y="3313162"/>
                    <a:pt x="1453507" y="3157904"/>
                    <a:pt x="1515419" y="2931209"/>
                  </a:cubicBezTo>
                  <a:cubicBezTo>
                    <a:pt x="1516372" y="2926447"/>
                    <a:pt x="1517324" y="2922637"/>
                    <a:pt x="1518277" y="2917874"/>
                  </a:cubicBezTo>
                  <a:cubicBezTo>
                    <a:pt x="1523992" y="2897872"/>
                    <a:pt x="1525897" y="2895967"/>
                    <a:pt x="1546852" y="2895967"/>
                  </a:cubicBezTo>
                  <a:lnTo>
                    <a:pt x="1985955" y="2895967"/>
                  </a:lnTo>
                  <a:cubicBezTo>
                    <a:pt x="1998337" y="2895967"/>
                    <a:pt x="2009767" y="2895967"/>
                    <a:pt x="2022149" y="2895967"/>
                  </a:cubicBezTo>
                  <a:cubicBezTo>
                    <a:pt x="2029769" y="2895967"/>
                    <a:pt x="2035484" y="2901682"/>
                    <a:pt x="2035484" y="2909302"/>
                  </a:cubicBezTo>
                  <a:cubicBezTo>
                    <a:pt x="2035484" y="2909302"/>
                    <a:pt x="2035484" y="2911207"/>
                    <a:pt x="2035484" y="2912159"/>
                  </a:cubicBezTo>
                  <a:cubicBezTo>
                    <a:pt x="2035484" y="2919779"/>
                    <a:pt x="2035484" y="2927399"/>
                    <a:pt x="2033580" y="2935019"/>
                  </a:cubicBezTo>
                  <a:cubicBezTo>
                    <a:pt x="1976430" y="3339832"/>
                    <a:pt x="1688774" y="3672254"/>
                    <a:pt x="1294440" y="3779887"/>
                  </a:cubicBezTo>
                  <a:cubicBezTo>
                    <a:pt x="750562" y="3930382"/>
                    <a:pt x="187634" y="3612247"/>
                    <a:pt x="37139" y="3068369"/>
                  </a:cubicBezTo>
                  <a:cubicBezTo>
                    <a:pt x="-20963" y="2858819"/>
                    <a:pt x="-10486" y="2636887"/>
                    <a:pt x="65714" y="2434004"/>
                  </a:cubicBezTo>
                  <a:cubicBezTo>
                    <a:pt x="148582" y="2208262"/>
                    <a:pt x="232402" y="1982519"/>
                    <a:pt x="315269" y="1756777"/>
                  </a:cubicBezTo>
                  <a:cubicBezTo>
                    <a:pt x="524819" y="1185277"/>
                    <a:pt x="735322" y="613777"/>
                    <a:pt x="944872" y="42277"/>
                  </a:cubicBezTo>
                  <a:cubicBezTo>
                    <a:pt x="963922" y="-9158"/>
                    <a:pt x="965827" y="-10111"/>
                    <a:pt x="1009642" y="20369"/>
                  </a:cubicBezTo>
                  <a:cubicBezTo>
                    <a:pt x="1189665" y="146099"/>
                    <a:pt x="1301107" y="316597"/>
                    <a:pt x="1340159" y="531862"/>
                  </a:cubicBezTo>
                  <a:cubicBezTo>
                    <a:pt x="1372544" y="702359"/>
                    <a:pt x="1346827" y="879524"/>
                    <a:pt x="1266817" y="1033829"/>
                  </a:cubicBezTo>
                  <a:cubicBezTo>
                    <a:pt x="1154422" y="1258619"/>
                    <a:pt x="1041074" y="1483409"/>
                    <a:pt x="929632" y="1708199"/>
                  </a:cubicBezTo>
                  <a:cubicBezTo>
                    <a:pt x="922012" y="1723439"/>
                    <a:pt x="914392" y="1737727"/>
                    <a:pt x="906772" y="1752967"/>
                  </a:cubicBezTo>
                  <a:cubicBezTo>
                    <a:pt x="897247" y="1774874"/>
                    <a:pt x="901057" y="1780589"/>
                    <a:pt x="923917" y="1779637"/>
                  </a:cubicBezTo>
                  <a:cubicBezTo>
                    <a:pt x="962017" y="1778684"/>
                    <a:pt x="1000117" y="1775827"/>
                    <a:pt x="1038217" y="1776779"/>
                  </a:cubicBezTo>
                  <a:cubicBezTo>
                    <a:pt x="1263959" y="1778684"/>
                    <a:pt x="1483034" y="1856789"/>
                    <a:pt x="1658294" y="1999664"/>
                  </a:cubicBezTo>
                  <a:cubicBezTo>
                    <a:pt x="1852605" y="2154922"/>
                    <a:pt x="1972619" y="2356852"/>
                    <a:pt x="2023102" y="2599739"/>
                  </a:cubicBezTo>
                  <a:cubicBezTo>
                    <a:pt x="2027865" y="2623552"/>
                    <a:pt x="2031674" y="2647364"/>
                    <a:pt x="2034532" y="2672129"/>
                  </a:cubicBezTo>
                  <a:cubicBezTo>
                    <a:pt x="2037390" y="2692132"/>
                    <a:pt x="2032627" y="2696894"/>
                    <a:pt x="2013577" y="2697847"/>
                  </a:cubicBezTo>
                  <a:lnTo>
                    <a:pt x="1774499" y="269784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A609700C-7E1E-5ADA-8996-13CF0D5D08D1}"/>
                </a:ext>
              </a:extLst>
            </p:cNvPr>
            <p:cNvSpPr/>
            <p:nvPr/>
          </p:nvSpPr>
          <p:spPr>
            <a:xfrm>
              <a:off x="1503045" y="1064002"/>
              <a:ext cx="291914" cy="1722631"/>
            </a:xfrm>
            <a:custGeom>
              <a:avLst/>
              <a:gdLst>
                <a:gd name="connsiteX0" fmla="*/ 952 w 291914"/>
                <a:gd name="connsiteY0" fmla="*/ 1722632 h 1722631"/>
                <a:gd name="connsiteX1" fmla="*/ 952 w 291914"/>
                <a:gd name="connsiteY1" fmla="*/ 1374969 h 1722631"/>
                <a:gd name="connsiteX2" fmla="*/ 952 w 291914"/>
                <a:gd name="connsiteY2" fmla="*/ 1342584 h 1722631"/>
                <a:gd name="connsiteX3" fmla="*/ 3810 w 291914"/>
                <a:gd name="connsiteY3" fmla="*/ 465331 h 1722631"/>
                <a:gd name="connsiteX4" fmla="*/ 3810 w 291914"/>
                <a:gd name="connsiteY4" fmla="*/ 40516 h 1722631"/>
                <a:gd name="connsiteX5" fmla="*/ 48577 w 291914"/>
                <a:gd name="connsiteY5" fmla="*/ 4321 h 1722631"/>
                <a:gd name="connsiteX6" fmla="*/ 271463 w 291914"/>
                <a:gd name="connsiteY6" fmla="*/ 96714 h 1722631"/>
                <a:gd name="connsiteX7" fmla="*/ 290513 w 291914"/>
                <a:gd name="connsiteY7" fmla="*/ 136719 h 1722631"/>
                <a:gd name="connsiteX8" fmla="*/ 211455 w 291914"/>
                <a:gd name="connsiteY8" fmla="*/ 576774 h 1722631"/>
                <a:gd name="connsiteX9" fmla="*/ 122872 w 291914"/>
                <a:gd name="connsiteY9" fmla="*/ 1071122 h 1722631"/>
                <a:gd name="connsiteX10" fmla="*/ 16192 w 291914"/>
                <a:gd name="connsiteY10" fmla="*/ 1664529 h 1722631"/>
                <a:gd name="connsiteX11" fmla="*/ 0 w 291914"/>
                <a:gd name="connsiteY11" fmla="*/ 1720726 h 1722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1914" h="1722631">
                  <a:moveTo>
                    <a:pt x="952" y="1722632"/>
                  </a:moveTo>
                  <a:lnTo>
                    <a:pt x="952" y="1374969"/>
                  </a:lnTo>
                  <a:cubicBezTo>
                    <a:pt x="952" y="1364491"/>
                    <a:pt x="952" y="1354014"/>
                    <a:pt x="952" y="1342584"/>
                  </a:cubicBezTo>
                  <a:cubicBezTo>
                    <a:pt x="1905" y="1050166"/>
                    <a:pt x="2858" y="757749"/>
                    <a:pt x="3810" y="465331"/>
                  </a:cubicBezTo>
                  <a:cubicBezTo>
                    <a:pt x="3810" y="323409"/>
                    <a:pt x="3810" y="182439"/>
                    <a:pt x="3810" y="40516"/>
                  </a:cubicBezTo>
                  <a:cubicBezTo>
                    <a:pt x="3810" y="-1394"/>
                    <a:pt x="8572" y="-5204"/>
                    <a:pt x="48577" y="4321"/>
                  </a:cubicBezTo>
                  <a:cubicBezTo>
                    <a:pt x="126683" y="24324"/>
                    <a:pt x="201930" y="54804"/>
                    <a:pt x="271463" y="96714"/>
                  </a:cubicBezTo>
                  <a:cubicBezTo>
                    <a:pt x="287655" y="103381"/>
                    <a:pt x="295275" y="120527"/>
                    <a:pt x="290513" y="136719"/>
                  </a:cubicBezTo>
                  <a:cubicBezTo>
                    <a:pt x="262890" y="283404"/>
                    <a:pt x="238125" y="430089"/>
                    <a:pt x="211455" y="576774"/>
                  </a:cubicBezTo>
                  <a:cubicBezTo>
                    <a:pt x="181927" y="741557"/>
                    <a:pt x="152400" y="906339"/>
                    <a:pt x="122872" y="1071122"/>
                  </a:cubicBezTo>
                  <a:cubicBezTo>
                    <a:pt x="87630" y="1269241"/>
                    <a:pt x="51435" y="1466409"/>
                    <a:pt x="16192" y="1664529"/>
                  </a:cubicBezTo>
                  <a:cubicBezTo>
                    <a:pt x="12383" y="1681674"/>
                    <a:pt x="10477" y="1692151"/>
                    <a:pt x="0" y="17207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21F7AA1B-8978-4CC3-9B67-C4177B9C480E}"/>
                </a:ext>
              </a:extLst>
            </p:cNvPr>
            <p:cNvSpPr/>
            <p:nvPr/>
          </p:nvSpPr>
          <p:spPr>
            <a:xfrm>
              <a:off x="1683067" y="817105"/>
              <a:ext cx="541936" cy="1609483"/>
            </a:xfrm>
            <a:custGeom>
              <a:avLst/>
              <a:gdLst>
                <a:gd name="connsiteX0" fmla="*/ 953 w 541936"/>
                <a:gd name="connsiteY0" fmla="*/ 1608531 h 1609483"/>
                <a:gd name="connsiteX1" fmla="*/ 89535 w 541936"/>
                <a:gd name="connsiteY1" fmla="*/ 1138949 h 1609483"/>
                <a:gd name="connsiteX2" fmla="*/ 224790 w 541936"/>
                <a:gd name="connsiteY2" fmla="*/ 384568 h 1609483"/>
                <a:gd name="connsiteX3" fmla="*/ 285750 w 541936"/>
                <a:gd name="connsiteY3" fmla="*/ 43573 h 1609483"/>
                <a:gd name="connsiteX4" fmla="*/ 342900 w 541936"/>
                <a:gd name="connsiteY4" fmla="*/ 13093 h 1609483"/>
                <a:gd name="connsiteX5" fmla="*/ 521017 w 541936"/>
                <a:gd name="connsiteY5" fmla="*/ 123583 h 1609483"/>
                <a:gd name="connsiteX6" fmla="*/ 535305 w 541936"/>
                <a:gd name="connsiteY6" fmla="*/ 173113 h 1609483"/>
                <a:gd name="connsiteX7" fmla="*/ 456248 w 541936"/>
                <a:gd name="connsiteY7" fmla="*/ 387426 h 1609483"/>
                <a:gd name="connsiteX8" fmla="*/ 200025 w 541936"/>
                <a:gd name="connsiteY8" fmla="*/ 1085608 h 1609483"/>
                <a:gd name="connsiteX9" fmla="*/ 35242 w 541936"/>
                <a:gd name="connsiteY9" fmla="*/ 1530426 h 1609483"/>
                <a:gd name="connsiteX10" fmla="*/ 0 w 541936"/>
                <a:gd name="connsiteY10" fmla="*/ 1609483 h 1609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1936" h="1609483">
                  <a:moveTo>
                    <a:pt x="953" y="1608531"/>
                  </a:moveTo>
                  <a:cubicBezTo>
                    <a:pt x="24765" y="1478038"/>
                    <a:pt x="66675" y="1268488"/>
                    <a:pt x="89535" y="1138949"/>
                  </a:cubicBezTo>
                  <a:cubicBezTo>
                    <a:pt x="134303" y="887488"/>
                    <a:pt x="180023" y="636028"/>
                    <a:pt x="224790" y="384568"/>
                  </a:cubicBezTo>
                  <a:cubicBezTo>
                    <a:pt x="244792" y="270268"/>
                    <a:pt x="264795" y="156921"/>
                    <a:pt x="285750" y="43573"/>
                  </a:cubicBezTo>
                  <a:cubicBezTo>
                    <a:pt x="294323" y="-1194"/>
                    <a:pt x="289560" y="-11672"/>
                    <a:pt x="342900" y="13093"/>
                  </a:cubicBezTo>
                  <a:cubicBezTo>
                    <a:pt x="406717" y="41668"/>
                    <a:pt x="466725" y="78816"/>
                    <a:pt x="521017" y="123583"/>
                  </a:cubicBezTo>
                  <a:cubicBezTo>
                    <a:pt x="545783" y="143586"/>
                    <a:pt x="545783" y="144538"/>
                    <a:pt x="535305" y="173113"/>
                  </a:cubicBezTo>
                  <a:cubicBezTo>
                    <a:pt x="509588" y="244551"/>
                    <a:pt x="482917" y="315988"/>
                    <a:pt x="456248" y="387426"/>
                  </a:cubicBezTo>
                  <a:cubicBezTo>
                    <a:pt x="370523" y="619836"/>
                    <a:pt x="284798" y="853199"/>
                    <a:pt x="200025" y="1085608"/>
                  </a:cubicBezTo>
                  <a:cubicBezTo>
                    <a:pt x="145733" y="1234199"/>
                    <a:pt x="90488" y="1382788"/>
                    <a:pt x="35242" y="1530426"/>
                  </a:cubicBezTo>
                  <a:lnTo>
                    <a:pt x="0" y="16094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C3B0FB0C-2D5C-06B4-0E45-E2A448253D5F}"/>
              </a:ext>
            </a:extLst>
          </p:cNvPr>
          <p:cNvSpPr txBox="1"/>
          <p:nvPr/>
        </p:nvSpPr>
        <p:spPr>
          <a:xfrm rot="16200000">
            <a:off x="-3194635" y="4189140"/>
            <a:ext cx="80705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3200" b="1" dirty="0" err="1">
                <a:solidFill>
                  <a:schemeClr val="tx1"/>
                </a:solidFill>
              </a:rPr>
              <a:t>breadcrumbsdata.com</a:t>
            </a:r>
            <a:endParaRPr lang="en-US" sz="3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79785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2769E-6 2.03704E-6 L 3.32769E-6 1.84271 " pathEditMode="relative" rAng="0" ptsTypes="AA">
                                      <p:cBhvr>
                                        <p:cTn id="6" dur="5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9213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78792E-7 2.03704E-6 L -8.78792E-7 1.84271 " pathEditMode="relative" rAng="0" ptsTypes="AA">
                                      <p:cBhvr>
                                        <p:cTn id="8" dur="5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9213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334E-6 2.03704E-6 L 4.72334E-6 1.84271 " pathEditMode="relative" rAng="0" ptsTypes="AA">
                                      <p:cBhvr>
                                        <p:cTn id="10" dur="5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92130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38745E-6 2.03704E-6 L -4.38745E-6 1.84271 " pathEditMode="relative" rAng="0" ptsTypes="AA">
                                      <p:cBhvr>
                                        <p:cTn id="12" dur="5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9213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49824E-6 2.03704E-6 L -3.49824E-6 1.84271 " pathEditMode="relative" rAng="0" ptsTypes="AA">
                                      <p:cBhvr>
                                        <p:cTn id="14" dur="5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9213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10389E-6 2.03704E-6 L 2.10389E-6 1.84271 " pathEditMode="relative" rAng="0" ptsTypes="AA">
                                      <p:cBhvr>
                                        <p:cTn id="16" dur="5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92130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4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C1E02C5-7AE2-C35A-26AE-F5535F6FCF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96886" y="-834189"/>
            <a:ext cx="26353017" cy="1480681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3F79A68-E8FA-A972-FF52-7FBF3E32CAB8}"/>
              </a:ext>
            </a:extLst>
          </p:cNvPr>
          <p:cNvSpPr txBox="1"/>
          <p:nvPr/>
        </p:nvSpPr>
        <p:spPr>
          <a:xfrm>
            <a:off x="5871480" y="5888503"/>
            <a:ext cx="12644213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0" b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190500" dist="38100" dir="5400000" sx="103000" sy="103000" algn="t" rotWithShape="0">
                    <a:srgbClr val="377DFF">
                      <a:lumMod val="50000"/>
                      <a:alpha val="53000"/>
                    </a:srgbClr>
                  </a:outerShdw>
                </a:effectLst>
                <a:uLnTx/>
                <a:uFillTx/>
                <a:latin typeface="Futura Md BT" panose="020B0602020204020303" pitchFamily="34" charset="0"/>
              </a:rPr>
              <a:t>The Problem</a:t>
            </a:r>
          </a:p>
        </p:txBody>
      </p:sp>
      <p:sp>
        <p:nvSpPr>
          <p:cNvPr id="7" name="Rectangle: Rounded Corners 18">
            <a:extLst>
              <a:ext uri="{FF2B5EF4-FFF2-40B4-BE49-F238E27FC236}">
                <a16:creationId xmlns:a16="http://schemas.microsoft.com/office/drawing/2014/main" id="{120685FD-DC06-EC7B-FAB3-8B81D4AA830E}"/>
              </a:ext>
            </a:extLst>
          </p:cNvPr>
          <p:cNvSpPr/>
          <p:nvPr/>
        </p:nvSpPr>
        <p:spPr>
          <a:xfrm rot="5400000">
            <a:off x="-15314917" y="7939655"/>
            <a:ext cx="19290843" cy="19290843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  <a:effectLst>
            <a:outerShdw blurRad="685800" sx="102000" sy="102000" algn="ctr" rotWithShape="0">
              <a:schemeClr val="accent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" name="Rectangle: Rounded Corners 18">
            <a:extLst>
              <a:ext uri="{FF2B5EF4-FFF2-40B4-BE49-F238E27FC236}">
                <a16:creationId xmlns:a16="http://schemas.microsoft.com/office/drawing/2014/main" id="{7417A9A2-D473-EBB4-C896-628E029A4158}"/>
              </a:ext>
            </a:extLst>
          </p:cNvPr>
          <p:cNvSpPr/>
          <p:nvPr/>
        </p:nvSpPr>
        <p:spPr>
          <a:xfrm rot="5400000">
            <a:off x="18221918" y="-11980040"/>
            <a:ext cx="19290843" cy="19290843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  <a:effectLst>
            <a:outerShdw blurRad="685800" sx="102000" sy="102000" algn="ctr" rotWithShape="0">
              <a:schemeClr val="accent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1313BD6-DBD1-15A7-2D0C-25E33FD7D0B3}"/>
              </a:ext>
            </a:extLst>
          </p:cNvPr>
          <p:cNvSpPr txBox="1">
            <a:spLocks/>
          </p:cNvSpPr>
          <p:nvPr/>
        </p:nvSpPr>
        <p:spPr>
          <a:xfrm>
            <a:off x="23408916" y="8877743"/>
            <a:ext cx="324565" cy="582761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2400" b="1" smtClean="0">
                <a:solidFill>
                  <a:schemeClr val="bg1"/>
                </a:solidFill>
                <a:latin typeface="+mj-lt"/>
              </a:rPr>
              <a:pPr algn="ctr"/>
              <a:t>2</a:t>
            </a:fld>
            <a:endParaRPr lang="en-US" sz="1400" b="1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47F1FAD1-D751-CBC7-DB9B-6F5D5AC3661C}"/>
              </a:ext>
            </a:extLst>
          </p:cNvPr>
          <p:cNvGrpSpPr/>
          <p:nvPr/>
        </p:nvGrpSpPr>
        <p:grpSpPr>
          <a:xfrm>
            <a:off x="23332870" y="446240"/>
            <a:ext cx="476655" cy="337457"/>
            <a:chOff x="6167336" y="2130357"/>
            <a:chExt cx="476655" cy="337457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7FCDD0E-D169-2CE3-1F6C-582B69A9B50B}"/>
                </a:ext>
              </a:extLst>
            </p:cNvPr>
            <p:cNvCxnSpPr/>
            <p:nvPr userDrawn="1"/>
          </p:nvCxnSpPr>
          <p:spPr>
            <a:xfrm>
              <a:off x="6167336" y="2130357"/>
              <a:ext cx="4766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0DC4B0DA-F858-14F4-15FA-B6EE248980FA}"/>
                </a:ext>
              </a:extLst>
            </p:cNvPr>
            <p:cNvCxnSpPr/>
            <p:nvPr userDrawn="1"/>
          </p:nvCxnSpPr>
          <p:spPr>
            <a:xfrm>
              <a:off x="6167336" y="2299086"/>
              <a:ext cx="4766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1BBA54EC-8458-7063-F2DC-8BB833BDFD5B}"/>
                </a:ext>
              </a:extLst>
            </p:cNvPr>
            <p:cNvCxnSpPr/>
            <p:nvPr userDrawn="1"/>
          </p:nvCxnSpPr>
          <p:spPr>
            <a:xfrm>
              <a:off x="6167336" y="2467814"/>
              <a:ext cx="4766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64767AB-7861-C877-DFD6-27EFEB1A738C}"/>
              </a:ext>
            </a:extLst>
          </p:cNvPr>
          <p:cNvGrpSpPr/>
          <p:nvPr/>
        </p:nvGrpSpPr>
        <p:grpSpPr>
          <a:xfrm>
            <a:off x="23519785" y="12234167"/>
            <a:ext cx="102824" cy="698136"/>
            <a:chOff x="729638" y="739163"/>
            <a:chExt cx="102824" cy="698136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03B137FC-99AF-C403-440E-FFC183BF28C6}"/>
                </a:ext>
              </a:extLst>
            </p:cNvPr>
            <p:cNvSpPr/>
            <p:nvPr userDrawn="1"/>
          </p:nvSpPr>
          <p:spPr>
            <a:xfrm>
              <a:off x="729638" y="739163"/>
              <a:ext cx="102824" cy="10282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7AE2A176-5E70-46A1-22CF-F36937613756}"/>
                </a:ext>
              </a:extLst>
            </p:cNvPr>
            <p:cNvSpPr/>
            <p:nvPr userDrawn="1"/>
          </p:nvSpPr>
          <p:spPr>
            <a:xfrm>
              <a:off x="729638" y="1036819"/>
              <a:ext cx="102824" cy="10282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424339E-55B4-FF56-3694-7C129590812B}"/>
                </a:ext>
              </a:extLst>
            </p:cNvPr>
            <p:cNvSpPr/>
            <p:nvPr userDrawn="1"/>
          </p:nvSpPr>
          <p:spPr>
            <a:xfrm>
              <a:off x="729638" y="1334475"/>
              <a:ext cx="102824" cy="10282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1" name="Graphic 29">
            <a:extLst>
              <a:ext uri="{FF2B5EF4-FFF2-40B4-BE49-F238E27FC236}">
                <a16:creationId xmlns:a16="http://schemas.microsoft.com/office/drawing/2014/main" id="{8E4EA0A5-57AB-79F2-FC0F-CEFACE17B661}"/>
              </a:ext>
            </a:extLst>
          </p:cNvPr>
          <p:cNvGrpSpPr/>
          <p:nvPr/>
        </p:nvGrpSpPr>
        <p:grpSpPr>
          <a:xfrm>
            <a:off x="631422" y="446240"/>
            <a:ext cx="589131" cy="1104816"/>
            <a:chOff x="1502100" y="653619"/>
            <a:chExt cx="2035484" cy="3817207"/>
          </a:xfrm>
          <a:solidFill>
            <a:schemeClr val="bg1"/>
          </a:solidFill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0438E4FB-538F-7818-25F0-85AFDC1CDF8F}"/>
                </a:ext>
              </a:extLst>
            </p:cNvPr>
            <p:cNvSpPr/>
            <p:nvPr/>
          </p:nvSpPr>
          <p:spPr>
            <a:xfrm>
              <a:off x="1502100" y="653619"/>
              <a:ext cx="2035484" cy="3817207"/>
            </a:xfrm>
            <a:custGeom>
              <a:avLst/>
              <a:gdLst>
                <a:gd name="connsiteX0" fmla="*/ 1775452 w 2035484"/>
                <a:gd name="connsiteY0" fmla="*/ 2695942 h 3817207"/>
                <a:gd name="connsiteX1" fmla="*/ 1556377 w 2035484"/>
                <a:gd name="connsiteY1" fmla="*/ 2695942 h 3817207"/>
                <a:gd name="connsiteX2" fmla="*/ 1516372 w 2035484"/>
                <a:gd name="connsiteY2" fmla="*/ 2664509 h 3817207"/>
                <a:gd name="connsiteX3" fmla="*/ 1423027 w 2035484"/>
                <a:gd name="connsiteY3" fmla="*/ 2477819 h 3817207"/>
                <a:gd name="connsiteX4" fmla="*/ 1031549 w 2035484"/>
                <a:gd name="connsiteY4" fmla="*/ 2283509 h 3817207"/>
                <a:gd name="connsiteX5" fmla="*/ 508627 w 2035484"/>
                <a:gd name="connsiteY5" fmla="*/ 2785477 h 3817207"/>
                <a:gd name="connsiteX6" fmla="*/ 1010594 w 2035484"/>
                <a:gd name="connsiteY6" fmla="*/ 3308399 h 3817207"/>
                <a:gd name="connsiteX7" fmla="*/ 1515419 w 2035484"/>
                <a:gd name="connsiteY7" fmla="*/ 2931209 h 3817207"/>
                <a:gd name="connsiteX8" fmla="*/ 1518277 w 2035484"/>
                <a:gd name="connsiteY8" fmla="*/ 2917874 h 3817207"/>
                <a:gd name="connsiteX9" fmla="*/ 1546852 w 2035484"/>
                <a:gd name="connsiteY9" fmla="*/ 2895967 h 3817207"/>
                <a:gd name="connsiteX10" fmla="*/ 1985955 w 2035484"/>
                <a:gd name="connsiteY10" fmla="*/ 2895967 h 3817207"/>
                <a:gd name="connsiteX11" fmla="*/ 2022149 w 2035484"/>
                <a:gd name="connsiteY11" fmla="*/ 2895967 h 3817207"/>
                <a:gd name="connsiteX12" fmla="*/ 2035484 w 2035484"/>
                <a:gd name="connsiteY12" fmla="*/ 2909302 h 3817207"/>
                <a:gd name="connsiteX13" fmla="*/ 2035484 w 2035484"/>
                <a:gd name="connsiteY13" fmla="*/ 2912159 h 3817207"/>
                <a:gd name="connsiteX14" fmla="*/ 2033580 w 2035484"/>
                <a:gd name="connsiteY14" fmla="*/ 2935019 h 3817207"/>
                <a:gd name="connsiteX15" fmla="*/ 1294440 w 2035484"/>
                <a:gd name="connsiteY15" fmla="*/ 3779887 h 3817207"/>
                <a:gd name="connsiteX16" fmla="*/ 37139 w 2035484"/>
                <a:gd name="connsiteY16" fmla="*/ 3068369 h 3817207"/>
                <a:gd name="connsiteX17" fmla="*/ 65714 w 2035484"/>
                <a:gd name="connsiteY17" fmla="*/ 2434004 h 3817207"/>
                <a:gd name="connsiteX18" fmla="*/ 315269 w 2035484"/>
                <a:gd name="connsiteY18" fmla="*/ 1756777 h 3817207"/>
                <a:gd name="connsiteX19" fmla="*/ 944872 w 2035484"/>
                <a:gd name="connsiteY19" fmla="*/ 42277 h 3817207"/>
                <a:gd name="connsiteX20" fmla="*/ 1009642 w 2035484"/>
                <a:gd name="connsiteY20" fmla="*/ 20369 h 3817207"/>
                <a:gd name="connsiteX21" fmla="*/ 1340159 w 2035484"/>
                <a:gd name="connsiteY21" fmla="*/ 531862 h 3817207"/>
                <a:gd name="connsiteX22" fmla="*/ 1266817 w 2035484"/>
                <a:gd name="connsiteY22" fmla="*/ 1033829 h 3817207"/>
                <a:gd name="connsiteX23" fmla="*/ 929632 w 2035484"/>
                <a:gd name="connsiteY23" fmla="*/ 1708199 h 3817207"/>
                <a:gd name="connsiteX24" fmla="*/ 906772 w 2035484"/>
                <a:gd name="connsiteY24" fmla="*/ 1752967 h 3817207"/>
                <a:gd name="connsiteX25" fmla="*/ 923917 w 2035484"/>
                <a:gd name="connsiteY25" fmla="*/ 1779637 h 3817207"/>
                <a:gd name="connsiteX26" fmla="*/ 1038217 w 2035484"/>
                <a:gd name="connsiteY26" fmla="*/ 1776779 h 3817207"/>
                <a:gd name="connsiteX27" fmla="*/ 1658294 w 2035484"/>
                <a:gd name="connsiteY27" fmla="*/ 1999664 h 3817207"/>
                <a:gd name="connsiteX28" fmla="*/ 2023102 w 2035484"/>
                <a:gd name="connsiteY28" fmla="*/ 2599739 h 3817207"/>
                <a:gd name="connsiteX29" fmla="*/ 2034532 w 2035484"/>
                <a:gd name="connsiteY29" fmla="*/ 2672129 h 3817207"/>
                <a:gd name="connsiteX30" fmla="*/ 2013577 w 2035484"/>
                <a:gd name="connsiteY30" fmla="*/ 2697847 h 3817207"/>
                <a:gd name="connsiteX31" fmla="*/ 1774499 w 2035484"/>
                <a:gd name="connsiteY31" fmla="*/ 2697847 h 3817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035484" h="3817207">
                  <a:moveTo>
                    <a:pt x="1775452" y="2695942"/>
                  </a:moveTo>
                  <a:lnTo>
                    <a:pt x="1556377" y="2695942"/>
                  </a:lnTo>
                  <a:cubicBezTo>
                    <a:pt x="1525897" y="2695942"/>
                    <a:pt x="1524944" y="2695942"/>
                    <a:pt x="1516372" y="2664509"/>
                  </a:cubicBezTo>
                  <a:cubicBezTo>
                    <a:pt x="1499227" y="2595929"/>
                    <a:pt x="1466842" y="2533064"/>
                    <a:pt x="1423027" y="2477819"/>
                  </a:cubicBezTo>
                  <a:cubicBezTo>
                    <a:pt x="1322062" y="2353994"/>
                    <a:pt x="1191569" y="2287319"/>
                    <a:pt x="1031549" y="2283509"/>
                  </a:cubicBezTo>
                  <a:cubicBezTo>
                    <a:pt x="748657" y="2277794"/>
                    <a:pt x="514342" y="2502584"/>
                    <a:pt x="508627" y="2785477"/>
                  </a:cubicBezTo>
                  <a:cubicBezTo>
                    <a:pt x="502912" y="3068369"/>
                    <a:pt x="727702" y="3302684"/>
                    <a:pt x="1010594" y="3308399"/>
                  </a:cubicBezTo>
                  <a:cubicBezTo>
                    <a:pt x="1244909" y="3313162"/>
                    <a:pt x="1453507" y="3157904"/>
                    <a:pt x="1515419" y="2931209"/>
                  </a:cubicBezTo>
                  <a:cubicBezTo>
                    <a:pt x="1516372" y="2926447"/>
                    <a:pt x="1517324" y="2922637"/>
                    <a:pt x="1518277" y="2917874"/>
                  </a:cubicBezTo>
                  <a:cubicBezTo>
                    <a:pt x="1523992" y="2897872"/>
                    <a:pt x="1525897" y="2895967"/>
                    <a:pt x="1546852" y="2895967"/>
                  </a:cubicBezTo>
                  <a:lnTo>
                    <a:pt x="1985955" y="2895967"/>
                  </a:lnTo>
                  <a:cubicBezTo>
                    <a:pt x="1998337" y="2895967"/>
                    <a:pt x="2009767" y="2895967"/>
                    <a:pt x="2022149" y="2895967"/>
                  </a:cubicBezTo>
                  <a:cubicBezTo>
                    <a:pt x="2029769" y="2895967"/>
                    <a:pt x="2035484" y="2901682"/>
                    <a:pt x="2035484" y="2909302"/>
                  </a:cubicBezTo>
                  <a:cubicBezTo>
                    <a:pt x="2035484" y="2909302"/>
                    <a:pt x="2035484" y="2911207"/>
                    <a:pt x="2035484" y="2912159"/>
                  </a:cubicBezTo>
                  <a:cubicBezTo>
                    <a:pt x="2035484" y="2919779"/>
                    <a:pt x="2035484" y="2927399"/>
                    <a:pt x="2033580" y="2935019"/>
                  </a:cubicBezTo>
                  <a:cubicBezTo>
                    <a:pt x="1976430" y="3339832"/>
                    <a:pt x="1688774" y="3672254"/>
                    <a:pt x="1294440" y="3779887"/>
                  </a:cubicBezTo>
                  <a:cubicBezTo>
                    <a:pt x="750562" y="3930382"/>
                    <a:pt x="187634" y="3612247"/>
                    <a:pt x="37139" y="3068369"/>
                  </a:cubicBezTo>
                  <a:cubicBezTo>
                    <a:pt x="-20963" y="2858819"/>
                    <a:pt x="-10486" y="2636887"/>
                    <a:pt x="65714" y="2434004"/>
                  </a:cubicBezTo>
                  <a:cubicBezTo>
                    <a:pt x="148582" y="2208262"/>
                    <a:pt x="232402" y="1982519"/>
                    <a:pt x="315269" y="1756777"/>
                  </a:cubicBezTo>
                  <a:cubicBezTo>
                    <a:pt x="524819" y="1185277"/>
                    <a:pt x="735322" y="613777"/>
                    <a:pt x="944872" y="42277"/>
                  </a:cubicBezTo>
                  <a:cubicBezTo>
                    <a:pt x="963922" y="-9158"/>
                    <a:pt x="965827" y="-10111"/>
                    <a:pt x="1009642" y="20369"/>
                  </a:cubicBezTo>
                  <a:cubicBezTo>
                    <a:pt x="1189665" y="146099"/>
                    <a:pt x="1301107" y="316597"/>
                    <a:pt x="1340159" y="531862"/>
                  </a:cubicBezTo>
                  <a:cubicBezTo>
                    <a:pt x="1372544" y="702359"/>
                    <a:pt x="1346827" y="879524"/>
                    <a:pt x="1266817" y="1033829"/>
                  </a:cubicBezTo>
                  <a:cubicBezTo>
                    <a:pt x="1154422" y="1258619"/>
                    <a:pt x="1041074" y="1483409"/>
                    <a:pt x="929632" y="1708199"/>
                  </a:cubicBezTo>
                  <a:cubicBezTo>
                    <a:pt x="922012" y="1723439"/>
                    <a:pt x="914392" y="1737727"/>
                    <a:pt x="906772" y="1752967"/>
                  </a:cubicBezTo>
                  <a:cubicBezTo>
                    <a:pt x="897247" y="1774874"/>
                    <a:pt x="901057" y="1780589"/>
                    <a:pt x="923917" y="1779637"/>
                  </a:cubicBezTo>
                  <a:cubicBezTo>
                    <a:pt x="962017" y="1778684"/>
                    <a:pt x="1000117" y="1775827"/>
                    <a:pt x="1038217" y="1776779"/>
                  </a:cubicBezTo>
                  <a:cubicBezTo>
                    <a:pt x="1263959" y="1778684"/>
                    <a:pt x="1483034" y="1856789"/>
                    <a:pt x="1658294" y="1999664"/>
                  </a:cubicBezTo>
                  <a:cubicBezTo>
                    <a:pt x="1852605" y="2154922"/>
                    <a:pt x="1972619" y="2356852"/>
                    <a:pt x="2023102" y="2599739"/>
                  </a:cubicBezTo>
                  <a:cubicBezTo>
                    <a:pt x="2027865" y="2623552"/>
                    <a:pt x="2031674" y="2647364"/>
                    <a:pt x="2034532" y="2672129"/>
                  </a:cubicBezTo>
                  <a:cubicBezTo>
                    <a:pt x="2037390" y="2692132"/>
                    <a:pt x="2032627" y="2696894"/>
                    <a:pt x="2013577" y="2697847"/>
                  </a:cubicBezTo>
                  <a:lnTo>
                    <a:pt x="1774499" y="269784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F784731C-C1F4-4B4A-AF70-F653442D9E49}"/>
                </a:ext>
              </a:extLst>
            </p:cNvPr>
            <p:cNvSpPr/>
            <p:nvPr/>
          </p:nvSpPr>
          <p:spPr>
            <a:xfrm>
              <a:off x="1503045" y="1064002"/>
              <a:ext cx="291914" cy="1722631"/>
            </a:xfrm>
            <a:custGeom>
              <a:avLst/>
              <a:gdLst>
                <a:gd name="connsiteX0" fmla="*/ 952 w 291914"/>
                <a:gd name="connsiteY0" fmla="*/ 1722632 h 1722631"/>
                <a:gd name="connsiteX1" fmla="*/ 952 w 291914"/>
                <a:gd name="connsiteY1" fmla="*/ 1374969 h 1722631"/>
                <a:gd name="connsiteX2" fmla="*/ 952 w 291914"/>
                <a:gd name="connsiteY2" fmla="*/ 1342584 h 1722631"/>
                <a:gd name="connsiteX3" fmla="*/ 3810 w 291914"/>
                <a:gd name="connsiteY3" fmla="*/ 465331 h 1722631"/>
                <a:gd name="connsiteX4" fmla="*/ 3810 w 291914"/>
                <a:gd name="connsiteY4" fmla="*/ 40516 h 1722631"/>
                <a:gd name="connsiteX5" fmla="*/ 48577 w 291914"/>
                <a:gd name="connsiteY5" fmla="*/ 4321 h 1722631"/>
                <a:gd name="connsiteX6" fmla="*/ 271463 w 291914"/>
                <a:gd name="connsiteY6" fmla="*/ 96714 h 1722631"/>
                <a:gd name="connsiteX7" fmla="*/ 290513 w 291914"/>
                <a:gd name="connsiteY7" fmla="*/ 136719 h 1722631"/>
                <a:gd name="connsiteX8" fmla="*/ 211455 w 291914"/>
                <a:gd name="connsiteY8" fmla="*/ 576774 h 1722631"/>
                <a:gd name="connsiteX9" fmla="*/ 122872 w 291914"/>
                <a:gd name="connsiteY9" fmla="*/ 1071122 h 1722631"/>
                <a:gd name="connsiteX10" fmla="*/ 16192 w 291914"/>
                <a:gd name="connsiteY10" fmla="*/ 1664529 h 1722631"/>
                <a:gd name="connsiteX11" fmla="*/ 0 w 291914"/>
                <a:gd name="connsiteY11" fmla="*/ 1720726 h 1722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1914" h="1722631">
                  <a:moveTo>
                    <a:pt x="952" y="1722632"/>
                  </a:moveTo>
                  <a:lnTo>
                    <a:pt x="952" y="1374969"/>
                  </a:lnTo>
                  <a:cubicBezTo>
                    <a:pt x="952" y="1364491"/>
                    <a:pt x="952" y="1354014"/>
                    <a:pt x="952" y="1342584"/>
                  </a:cubicBezTo>
                  <a:cubicBezTo>
                    <a:pt x="1905" y="1050166"/>
                    <a:pt x="2858" y="757749"/>
                    <a:pt x="3810" y="465331"/>
                  </a:cubicBezTo>
                  <a:cubicBezTo>
                    <a:pt x="3810" y="323409"/>
                    <a:pt x="3810" y="182439"/>
                    <a:pt x="3810" y="40516"/>
                  </a:cubicBezTo>
                  <a:cubicBezTo>
                    <a:pt x="3810" y="-1394"/>
                    <a:pt x="8572" y="-5204"/>
                    <a:pt x="48577" y="4321"/>
                  </a:cubicBezTo>
                  <a:cubicBezTo>
                    <a:pt x="126683" y="24324"/>
                    <a:pt x="201930" y="54804"/>
                    <a:pt x="271463" y="96714"/>
                  </a:cubicBezTo>
                  <a:cubicBezTo>
                    <a:pt x="287655" y="103381"/>
                    <a:pt x="295275" y="120527"/>
                    <a:pt x="290513" y="136719"/>
                  </a:cubicBezTo>
                  <a:cubicBezTo>
                    <a:pt x="262890" y="283404"/>
                    <a:pt x="238125" y="430089"/>
                    <a:pt x="211455" y="576774"/>
                  </a:cubicBezTo>
                  <a:cubicBezTo>
                    <a:pt x="181927" y="741557"/>
                    <a:pt x="152400" y="906339"/>
                    <a:pt x="122872" y="1071122"/>
                  </a:cubicBezTo>
                  <a:cubicBezTo>
                    <a:pt x="87630" y="1269241"/>
                    <a:pt x="51435" y="1466409"/>
                    <a:pt x="16192" y="1664529"/>
                  </a:cubicBezTo>
                  <a:cubicBezTo>
                    <a:pt x="12383" y="1681674"/>
                    <a:pt x="10477" y="1692151"/>
                    <a:pt x="0" y="17207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C44AAED8-F098-A50A-6FA6-E288F565366E}"/>
                </a:ext>
              </a:extLst>
            </p:cNvPr>
            <p:cNvSpPr/>
            <p:nvPr/>
          </p:nvSpPr>
          <p:spPr>
            <a:xfrm>
              <a:off x="1683067" y="817105"/>
              <a:ext cx="541936" cy="1609483"/>
            </a:xfrm>
            <a:custGeom>
              <a:avLst/>
              <a:gdLst>
                <a:gd name="connsiteX0" fmla="*/ 953 w 541936"/>
                <a:gd name="connsiteY0" fmla="*/ 1608531 h 1609483"/>
                <a:gd name="connsiteX1" fmla="*/ 89535 w 541936"/>
                <a:gd name="connsiteY1" fmla="*/ 1138949 h 1609483"/>
                <a:gd name="connsiteX2" fmla="*/ 224790 w 541936"/>
                <a:gd name="connsiteY2" fmla="*/ 384568 h 1609483"/>
                <a:gd name="connsiteX3" fmla="*/ 285750 w 541936"/>
                <a:gd name="connsiteY3" fmla="*/ 43573 h 1609483"/>
                <a:gd name="connsiteX4" fmla="*/ 342900 w 541936"/>
                <a:gd name="connsiteY4" fmla="*/ 13093 h 1609483"/>
                <a:gd name="connsiteX5" fmla="*/ 521017 w 541936"/>
                <a:gd name="connsiteY5" fmla="*/ 123583 h 1609483"/>
                <a:gd name="connsiteX6" fmla="*/ 535305 w 541936"/>
                <a:gd name="connsiteY6" fmla="*/ 173113 h 1609483"/>
                <a:gd name="connsiteX7" fmla="*/ 456248 w 541936"/>
                <a:gd name="connsiteY7" fmla="*/ 387426 h 1609483"/>
                <a:gd name="connsiteX8" fmla="*/ 200025 w 541936"/>
                <a:gd name="connsiteY8" fmla="*/ 1085608 h 1609483"/>
                <a:gd name="connsiteX9" fmla="*/ 35242 w 541936"/>
                <a:gd name="connsiteY9" fmla="*/ 1530426 h 1609483"/>
                <a:gd name="connsiteX10" fmla="*/ 0 w 541936"/>
                <a:gd name="connsiteY10" fmla="*/ 1609483 h 1609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1936" h="1609483">
                  <a:moveTo>
                    <a:pt x="953" y="1608531"/>
                  </a:moveTo>
                  <a:cubicBezTo>
                    <a:pt x="24765" y="1478038"/>
                    <a:pt x="66675" y="1268488"/>
                    <a:pt x="89535" y="1138949"/>
                  </a:cubicBezTo>
                  <a:cubicBezTo>
                    <a:pt x="134303" y="887488"/>
                    <a:pt x="180023" y="636028"/>
                    <a:pt x="224790" y="384568"/>
                  </a:cubicBezTo>
                  <a:cubicBezTo>
                    <a:pt x="244792" y="270268"/>
                    <a:pt x="264795" y="156921"/>
                    <a:pt x="285750" y="43573"/>
                  </a:cubicBezTo>
                  <a:cubicBezTo>
                    <a:pt x="294323" y="-1194"/>
                    <a:pt x="289560" y="-11672"/>
                    <a:pt x="342900" y="13093"/>
                  </a:cubicBezTo>
                  <a:cubicBezTo>
                    <a:pt x="406717" y="41668"/>
                    <a:pt x="466725" y="78816"/>
                    <a:pt x="521017" y="123583"/>
                  </a:cubicBezTo>
                  <a:cubicBezTo>
                    <a:pt x="545783" y="143586"/>
                    <a:pt x="545783" y="144538"/>
                    <a:pt x="535305" y="173113"/>
                  </a:cubicBezTo>
                  <a:cubicBezTo>
                    <a:pt x="509588" y="244551"/>
                    <a:pt x="482917" y="315988"/>
                    <a:pt x="456248" y="387426"/>
                  </a:cubicBezTo>
                  <a:cubicBezTo>
                    <a:pt x="370523" y="619836"/>
                    <a:pt x="284798" y="853199"/>
                    <a:pt x="200025" y="1085608"/>
                  </a:cubicBezTo>
                  <a:cubicBezTo>
                    <a:pt x="145733" y="1234199"/>
                    <a:pt x="90488" y="1382788"/>
                    <a:pt x="35242" y="1530426"/>
                  </a:cubicBezTo>
                  <a:lnTo>
                    <a:pt x="0" y="16094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975EF046-14CB-7718-B62D-540A272670C9}"/>
              </a:ext>
            </a:extLst>
          </p:cNvPr>
          <p:cNvSpPr txBox="1"/>
          <p:nvPr/>
        </p:nvSpPr>
        <p:spPr>
          <a:xfrm rot="16200000">
            <a:off x="-1444725" y="5332504"/>
            <a:ext cx="462952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3200" b="1" dirty="0" err="1">
                <a:solidFill>
                  <a:schemeClr val="bg1"/>
                </a:solidFill>
              </a:rPr>
              <a:t>breadcrumbsdata.com</a:t>
            </a:r>
            <a:endParaRPr lang="en-US" sz="3200" b="1" dirty="0">
              <a:solidFill>
                <a:schemeClr val="bg1"/>
              </a:solidFill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2C3C6E37-8215-4991-B997-5C428778A712}"/>
              </a:ext>
            </a:extLst>
          </p:cNvPr>
          <p:cNvGrpSpPr/>
          <p:nvPr/>
        </p:nvGrpSpPr>
        <p:grpSpPr>
          <a:xfrm>
            <a:off x="9769513" y="4433926"/>
            <a:ext cx="4848149" cy="4848149"/>
            <a:chOff x="9989883" y="4654296"/>
            <a:chExt cx="4407408" cy="4407408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BF3805DA-C095-552D-20C0-304EF352D1AE}"/>
                </a:ext>
              </a:extLst>
            </p:cNvPr>
            <p:cNvSpPr/>
            <p:nvPr/>
          </p:nvSpPr>
          <p:spPr>
            <a:xfrm>
              <a:off x="9989883" y="4654296"/>
              <a:ext cx="4407408" cy="440740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Arc 30">
              <a:extLst>
                <a:ext uri="{FF2B5EF4-FFF2-40B4-BE49-F238E27FC236}">
                  <a16:creationId xmlns:a16="http://schemas.microsoft.com/office/drawing/2014/main" id="{197314AC-69B2-4797-CEF2-D60505014FD4}"/>
                </a:ext>
              </a:extLst>
            </p:cNvPr>
            <p:cNvSpPr/>
            <p:nvPr/>
          </p:nvSpPr>
          <p:spPr>
            <a:xfrm>
              <a:off x="9991545" y="4654296"/>
              <a:ext cx="4405746" cy="4405746"/>
            </a:xfrm>
            <a:prstGeom prst="arc">
              <a:avLst>
                <a:gd name="adj1" fmla="val 16200000"/>
                <a:gd name="adj2" fmla="val 20775565"/>
              </a:avLst>
            </a:prstGeom>
            <a:ln w="50800">
              <a:gradFill flip="none" rotWithShape="1">
                <a:gsLst>
                  <a:gs pos="23000">
                    <a:schemeClr val="bg2"/>
                  </a:gs>
                  <a:gs pos="100000">
                    <a:schemeClr val="bg1"/>
                  </a:gs>
                </a:gsLst>
                <a:lin ang="0" scaled="1"/>
                <a:tileRect/>
              </a:gra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B1704C6B-6EBF-02C6-F63F-F4B8BC50BB1D}"/>
              </a:ext>
            </a:extLst>
          </p:cNvPr>
          <p:cNvGrpSpPr/>
          <p:nvPr/>
        </p:nvGrpSpPr>
        <p:grpSpPr>
          <a:xfrm rot="15300000" flipH="1">
            <a:off x="9527105" y="4191518"/>
            <a:ext cx="5332964" cy="5332964"/>
            <a:chOff x="9989883" y="4654296"/>
            <a:chExt cx="4407408" cy="4407408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40FA6939-9355-8424-CC4B-CC6A3F638E32}"/>
                </a:ext>
              </a:extLst>
            </p:cNvPr>
            <p:cNvSpPr/>
            <p:nvPr/>
          </p:nvSpPr>
          <p:spPr>
            <a:xfrm>
              <a:off x="9989883" y="4654296"/>
              <a:ext cx="4407408" cy="440740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Arc 33">
              <a:extLst>
                <a:ext uri="{FF2B5EF4-FFF2-40B4-BE49-F238E27FC236}">
                  <a16:creationId xmlns:a16="http://schemas.microsoft.com/office/drawing/2014/main" id="{143569BA-DBE3-938B-0B26-685C06C7E511}"/>
                </a:ext>
              </a:extLst>
            </p:cNvPr>
            <p:cNvSpPr/>
            <p:nvPr/>
          </p:nvSpPr>
          <p:spPr>
            <a:xfrm>
              <a:off x="9991545" y="4654296"/>
              <a:ext cx="4405746" cy="4405746"/>
            </a:xfrm>
            <a:prstGeom prst="arc">
              <a:avLst>
                <a:gd name="adj1" fmla="val 16200000"/>
                <a:gd name="adj2" fmla="val 20775565"/>
              </a:avLst>
            </a:prstGeom>
            <a:ln w="44450">
              <a:gradFill flip="none" rotWithShape="1">
                <a:gsLst>
                  <a:gs pos="23000">
                    <a:schemeClr val="bg2"/>
                  </a:gs>
                  <a:gs pos="99000">
                    <a:schemeClr val="bg1"/>
                  </a:gs>
                </a:gsLst>
                <a:lin ang="0" scaled="1"/>
                <a:tileRect/>
              </a:gra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D7B8AC2-FBEE-1428-488C-188B51247715}"/>
              </a:ext>
            </a:extLst>
          </p:cNvPr>
          <p:cNvGrpSpPr/>
          <p:nvPr/>
        </p:nvGrpSpPr>
        <p:grpSpPr>
          <a:xfrm>
            <a:off x="9260457" y="3924870"/>
            <a:ext cx="5866260" cy="5866260"/>
            <a:chOff x="9989883" y="4654296"/>
            <a:chExt cx="4407408" cy="4407408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CD94F535-7A60-B133-3994-691171FE0B42}"/>
                </a:ext>
              </a:extLst>
            </p:cNvPr>
            <p:cNvSpPr/>
            <p:nvPr/>
          </p:nvSpPr>
          <p:spPr>
            <a:xfrm>
              <a:off x="9989883" y="4654296"/>
              <a:ext cx="4407408" cy="440740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Arc 36">
              <a:extLst>
                <a:ext uri="{FF2B5EF4-FFF2-40B4-BE49-F238E27FC236}">
                  <a16:creationId xmlns:a16="http://schemas.microsoft.com/office/drawing/2014/main" id="{B7F4D192-FADC-2238-4FC0-FF713E61DFF6}"/>
                </a:ext>
              </a:extLst>
            </p:cNvPr>
            <p:cNvSpPr/>
            <p:nvPr/>
          </p:nvSpPr>
          <p:spPr>
            <a:xfrm>
              <a:off x="9991545" y="4654296"/>
              <a:ext cx="4405746" cy="4405746"/>
            </a:xfrm>
            <a:prstGeom prst="arc">
              <a:avLst>
                <a:gd name="adj1" fmla="val 1000099"/>
                <a:gd name="adj2" fmla="val 7299557"/>
              </a:avLst>
            </a:prstGeom>
            <a:ln w="44450">
              <a:gradFill flip="none" rotWithShape="1">
                <a:gsLst>
                  <a:gs pos="0">
                    <a:schemeClr val="bg2"/>
                  </a:gs>
                  <a:gs pos="48000">
                    <a:schemeClr val="bg1"/>
                  </a:gs>
                </a:gsLst>
                <a:lin ang="10800000" scaled="1"/>
                <a:tileRect/>
              </a:gra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Rectangle: Rounded Corners 20">
            <a:extLst>
              <a:ext uri="{FF2B5EF4-FFF2-40B4-BE49-F238E27FC236}">
                <a16:creationId xmlns:a16="http://schemas.microsoft.com/office/drawing/2014/main" id="{9B97D807-2122-AC0A-8255-598A07E49785}"/>
              </a:ext>
            </a:extLst>
          </p:cNvPr>
          <p:cNvSpPr/>
          <p:nvPr/>
        </p:nvSpPr>
        <p:spPr>
          <a:xfrm rot="2700000">
            <a:off x="33668018" y="5917442"/>
            <a:ext cx="1571681" cy="1543617"/>
          </a:xfrm>
          <a:prstGeom prst="roundRect">
            <a:avLst>
              <a:gd name="adj" fmla="val 42623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blurRad="685800" sx="102000" sy="102000" algn="ctr" rotWithShape="0">
              <a:schemeClr val="accent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93542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iterate type="lt">
                                    <p:tmPct val="15625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9" dur="2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0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11" dur="2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2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3" dur="2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8" dur="15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3" grpId="0" animBg="1"/>
      <p:bldP spid="3" grpId="1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F59CF6-833A-DEC2-DE48-30B5C59D65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4763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3" progId="TCLayout.ActiveDocument.1">
                  <p:embed/>
                </p:oleObj>
              </mc:Choice>
              <mc:Fallback>
                <p:oleObj name="think-cell Slide" r:id="rId3" imgW="344" imgH="34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F59CF6-833A-DEC2-DE48-30B5C59D65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763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7954DD93-4409-2A7D-1B64-DCC7E856688A}"/>
              </a:ext>
            </a:extLst>
          </p:cNvPr>
          <p:cNvSpPr/>
          <p:nvPr/>
        </p:nvSpPr>
        <p:spPr>
          <a:xfrm>
            <a:off x="10526423" y="5190836"/>
            <a:ext cx="3334328" cy="3334328"/>
          </a:xfrm>
          <a:custGeom>
            <a:avLst/>
            <a:gdLst>
              <a:gd name="connsiteX0" fmla="*/ 7788517 w 7788516"/>
              <a:gd name="connsiteY0" fmla="*/ 3894258 h 7788516"/>
              <a:gd name="connsiteX1" fmla="*/ 3894258 w 7788516"/>
              <a:gd name="connsiteY1" fmla="*/ 7788517 h 7788516"/>
              <a:gd name="connsiteX2" fmla="*/ 0 w 7788516"/>
              <a:gd name="connsiteY2" fmla="*/ 3894258 h 7788516"/>
              <a:gd name="connsiteX3" fmla="*/ 3894258 w 7788516"/>
              <a:gd name="connsiteY3" fmla="*/ 0 h 7788516"/>
              <a:gd name="connsiteX4" fmla="*/ 7788517 w 7788516"/>
              <a:gd name="connsiteY4" fmla="*/ 3894258 h 7788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88516" h="7788516">
                <a:moveTo>
                  <a:pt x="7788517" y="3894258"/>
                </a:moveTo>
                <a:cubicBezTo>
                  <a:pt x="7788517" y="6044998"/>
                  <a:pt x="6044998" y="7788517"/>
                  <a:pt x="3894258" y="7788517"/>
                </a:cubicBezTo>
                <a:cubicBezTo>
                  <a:pt x="1743519" y="7788517"/>
                  <a:pt x="0" y="6044998"/>
                  <a:pt x="0" y="3894258"/>
                </a:cubicBezTo>
                <a:cubicBezTo>
                  <a:pt x="0" y="1743519"/>
                  <a:pt x="1743519" y="0"/>
                  <a:pt x="3894258" y="0"/>
                </a:cubicBezTo>
                <a:cubicBezTo>
                  <a:pt x="6044998" y="0"/>
                  <a:pt x="7788517" y="1743519"/>
                  <a:pt x="7788517" y="3894258"/>
                </a:cubicBezTo>
                <a:close/>
              </a:path>
            </a:pathLst>
          </a:custGeom>
          <a:solidFill>
            <a:schemeClr val="bg2"/>
          </a:solidFill>
          <a:ln w="12700" cap="flat">
            <a:noFill/>
            <a:prstDash val="solid"/>
            <a:miter/>
          </a:ln>
          <a:effectLst>
            <a:outerShdw blurRad="444500" dist="190500" dir="5400000" algn="t" rotWithShape="0">
              <a:prstClr val="black">
                <a:alpha val="10000"/>
              </a:prstClr>
            </a:outerShdw>
          </a:effectLst>
        </p:spPr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 sz="3600" dirty="0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6F9958BD-1E61-2E4F-108B-8F92957D5E11}"/>
              </a:ext>
            </a:extLst>
          </p:cNvPr>
          <p:cNvSpPr/>
          <p:nvPr/>
        </p:nvSpPr>
        <p:spPr>
          <a:xfrm>
            <a:off x="12107863" y="6772276"/>
            <a:ext cx="171448" cy="171448"/>
          </a:xfrm>
          <a:prstGeom prst="ellipse">
            <a:avLst/>
          </a:prstGeom>
          <a:solidFill>
            <a:srgbClr val="C80451"/>
          </a:solidFill>
          <a:ln>
            <a:noFill/>
          </a:ln>
          <a:effectLst>
            <a:glow rad="1905000">
              <a:srgbClr val="C80451"/>
            </a:glow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600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CE11CA17-155F-0260-73F9-769788B278FA}"/>
              </a:ext>
            </a:extLst>
          </p:cNvPr>
          <p:cNvSpPr/>
          <p:nvPr/>
        </p:nvSpPr>
        <p:spPr>
          <a:xfrm>
            <a:off x="12151984" y="6816397"/>
            <a:ext cx="83206" cy="83206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>
            <a:glow rad="1905000">
              <a:schemeClr val="bg2">
                <a:lumMod val="5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600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4836D5AD-9CC4-F2CB-4EF7-44E45D3B9692}"/>
              </a:ext>
            </a:extLst>
          </p:cNvPr>
          <p:cNvSpPr/>
          <p:nvPr/>
        </p:nvSpPr>
        <p:spPr>
          <a:xfrm>
            <a:off x="10700437" y="5364852"/>
            <a:ext cx="2986300" cy="2986296"/>
          </a:xfrm>
          <a:custGeom>
            <a:avLst/>
            <a:gdLst>
              <a:gd name="connsiteX0" fmla="*/ 6162384 w 6162383"/>
              <a:gd name="connsiteY0" fmla="*/ 3081192 h 6162383"/>
              <a:gd name="connsiteX1" fmla="*/ 3081192 w 6162383"/>
              <a:gd name="connsiteY1" fmla="*/ 6162384 h 6162383"/>
              <a:gd name="connsiteX2" fmla="*/ 0 w 6162383"/>
              <a:gd name="connsiteY2" fmla="*/ 3081192 h 6162383"/>
              <a:gd name="connsiteX3" fmla="*/ 3081192 w 6162383"/>
              <a:gd name="connsiteY3" fmla="*/ 0 h 6162383"/>
              <a:gd name="connsiteX4" fmla="*/ 6162384 w 6162383"/>
              <a:gd name="connsiteY4" fmla="*/ 3081192 h 61623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62383" h="6162383">
                <a:moveTo>
                  <a:pt x="6162384" y="3081192"/>
                </a:moveTo>
                <a:cubicBezTo>
                  <a:pt x="6162384" y="4782887"/>
                  <a:pt x="4782887" y="6162384"/>
                  <a:pt x="3081192" y="6162384"/>
                </a:cubicBezTo>
                <a:cubicBezTo>
                  <a:pt x="1379497" y="6162384"/>
                  <a:pt x="0" y="4782887"/>
                  <a:pt x="0" y="3081192"/>
                </a:cubicBezTo>
                <a:cubicBezTo>
                  <a:pt x="0" y="1379497"/>
                  <a:pt x="1379497" y="0"/>
                  <a:pt x="3081192" y="0"/>
                </a:cubicBezTo>
                <a:cubicBezTo>
                  <a:pt x="4782887" y="0"/>
                  <a:pt x="6162384" y="1379497"/>
                  <a:pt x="6162384" y="3081192"/>
                </a:cubicBezTo>
                <a:close/>
              </a:path>
            </a:pathLst>
          </a:custGeom>
          <a:solidFill>
            <a:schemeClr val="bg2"/>
          </a:solidFill>
          <a:ln w="12700" cap="flat">
            <a:noFill/>
            <a:prstDash val="solid"/>
            <a:miter/>
          </a:ln>
          <a:effectLst>
            <a:outerShdw blurRad="444500" dist="190500" dir="5400000" algn="t" rotWithShape="0">
              <a:prstClr val="black">
                <a:alpha val="10000"/>
              </a:prstClr>
            </a:outerShdw>
          </a:effectLst>
        </p:spPr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 sz="3600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0DD85634-0768-7C0C-C257-35B8C208F9AE}"/>
              </a:ext>
            </a:extLst>
          </p:cNvPr>
          <p:cNvSpPr/>
          <p:nvPr/>
        </p:nvSpPr>
        <p:spPr>
          <a:xfrm>
            <a:off x="10896903" y="5561316"/>
            <a:ext cx="2593368" cy="2593368"/>
          </a:xfrm>
          <a:custGeom>
            <a:avLst/>
            <a:gdLst>
              <a:gd name="connsiteX0" fmla="*/ 4536251 w 4536250"/>
              <a:gd name="connsiteY0" fmla="*/ 2268125 h 4536250"/>
              <a:gd name="connsiteX1" fmla="*/ 2268125 w 4536250"/>
              <a:gd name="connsiteY1" fmla="*/ 4536251 h 4536250"/>
              <a:gd name="connsiteX2" fmla="*/ 0 w 4536250"/>
              <a:gd name="connsiteY2" fmla="*/ 2268125 h 4536250"/>
              <a:gd name="connsiteX3" fmla="*/ 2268125 w 4536250"/>
              <a:gd name="connsiteY3" fmla="*/ 0 h 4536250"/>
              <a:gd name="connsiteX4" fmla="*/ 4536251 w 4536250"/>
              <a:gd name="connsiteY4" fmla="*/ 2268125 h 453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36250" h="4536250">
                <a:moveTo>
                  <a:pt x="4536251" y="2268125"/>
                </a:moveTo>
                <a:cubicBezTo>
                  <a:pt x="4536251" y="3520777"/>
                  <a:pt x="3520776" y="4536251"/>
                  <a:pt x="2268125" y="4536251"/>
                </a:cubicBezTo>
                <a:cubicBezTo>
                  <a:pt x="1015474" y="4536251"/>
                  <a:pt x="0" y="3520776"/>
                  <a:pt x="0" y="2268125"/>
                </a:cubicBezTo>
                <a:cubicBezTo>
                  <a:pt x="0" y="1015474"/>
                  <a:pt x="1015474" y="0"/>
                  <a:pt x="2268125" y="0"/>
                </a:cubicBezTo>
                <a:cubicBezTo>
                  <a:pt x="3520777" y="0"/>
                  <a:pt x="4536251" y="1015474"/>
                  <a:pt x="4536251" y="2268125"/>
                </a:cubicBezTo>
                <a:close/>
              </a:path>
            </a:pathLst>
          </a:custGeom>
          <a:solidFill>
            <a:schemeClr val="bg2"/>
          </a:solidFill>
          <a:ln w="12700" cap="flat">
            <a:noFill/>
            <a:prstDash val="solid"/>
            <a:miter/>
          </a:ln>
          <a:effectLst>
            <a:outerShdw blurRad="444500" dist="190500" dir="5400000" algn="t" rotWithShape="0">
              <a:prstClr val="black">
                <a:alpha val="10000"/>
              </a:prstClr>
            </a:outerShdw>
          </a:effectLst>
        </p:spPr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 sz="3600"/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CF135E92-1CFF-D2F2-AFAB-2456B251A74E}"/>
              </a:ext>
            </a:extLst>
          </p:cNvPr>
          <p:cNvSpPr/>
          <p:nvPr/>
        </p:nvSpPr>
        <p:spPr>
          <a:xfrm>
            <a:off x="12073117" y="6737532"/>
            <a:ext cx="240940" cy="240936"/>
          </a:xfrm>
          <a:prstGeom prst="ellipse">
            <a:avLst/>
          </a:prstGeom>
          <a:solidFill>
            <a:srgbClr val="C8045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600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E019D8F8-3937-3B45-F61F-FDFB2A41930C}"/>
              </a:ext>
            </a:extLst>
          </p:cNvPr>
          <p:cNvSpPr/>
          <p:nvPr/>
        </p:nvSpPr>
        <p:spPr>
          <a:xfrm>
            <a:off x="12073117" y="6737532"/>
            <a:ext cx="240940" cy="240936"/>
          </a:xfrm>
          <a:prstGeom prst="ellipse">
            <a:avLst/>
          </a:prstGeom>
          <a:solidFill>
            <a:srgbClr val="C8045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600"/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E64668E8-D7F2-DA60-A5BE-EC4600993F1C}"/>
              </a:ext>
            </a:extLst>
          </p:cNvPr>
          <p:cNvSpPr/>
          <p:nvPr/>
        </p:nvSpPr>
        <p:spPr>
          <a:xfrm>
            <a:off x="12073117" y="6737532"/>
            <a:ext cx="240940" cy="240936"/>
          </a:xfrm>
          <a:prstGeom prst="ellipse">
            <a:avLst/>
          </a:prstGeom>
          <a:solidFill>
            <a:srgbClr val="C8045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600"/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0B4D073E-DDF4-33F4-2D97-14828BECC373}"/>
              </a:ext>
            </a:extLst>
          </p:cNvPr>
          <p:cNvSpPr/>
          <p:nvPr/>
        </p:nvSpPr>
        <p:spPr>
          <a:xfrm>
            <a:off x="12073117" y="6737532"/>
            <a:ext cx="240940" cy="240936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600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261A4A21-FAC8-E86C-842D-884B978B278A}"/>
              </a:ext>
            </a:extLst>
          </p:cNvPr>
          <p:cNvSpPr/>
          <p:nvPr/>
        </p:nvSpPr>
        <p:spPr>
          <a:xfrm>
            <a:off x="9968547" y="4632960"/>
            <a:ext cx="4450080" cy="4450080"/>
          </a:xfrm>
          <a:custGeom>
            <a:avLst/>
            <a:gdLst>
              <a:gd name="connsiteX0" fmla="*/ 2910118 w 2910117"/>
              <a:gd name="connsiteY0" fmla="*/ 1455059 h 2910117"/>
              <a:gd name="connsiteX1" fmla="*/ 1455059 w 2910117"/>
              <a:gd name="connsiteY1" fmla="*/ 2910118 h 2910117"/>
              <a:gd name="connsiteX2" fmla="*/ 0 w 2910117"/>
              <a:gd name="connsiteY2" fmla="*/ 1455059 h 2910117"/>
              <a:gd name="connsiteX3" fmla="*/ 1455059 w 2910117"/>
              <a:gd name="connsiteY3" fmla="*/ 0 h 2910117"/>
              <a:gd name="connsiteX4" fmla="*/ 2910118 w 2910117"/>
              <a:gd name="connsiteY4" fmla="*/ 1455059 h 2910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10117" h="2910117">
                <a:moveTo>
                  <a:pt x="2910118" y="1455059"/>
                </a:moveTo>
                <a:cubicBezTo>
                  <a:pt x="2910118" y="2258666"/>
                  <a:pt x="2258666" y="2910118"/>
                  <a:pt x="1455059" y="2910118"/>
                </a:cubicBezTo>
                <a:cubicBezTo>
                  <a:pt x="651452" y="2910118"/>
                  <a:pt x="0" y="2258666"/>
                  <a:pt x="0" y="1455059"/>
                </a:cubicBezTo>
                <a:cubicBezTo>
                  <a:pt x="0" y="651452"/>
                  <a:pt x="651452" y="0"/>
                  <a:pt x="1455059" y="0"/>
                </a:cubicBezTo>
                <a:cubicBezTo>
                  <a:pt x="2258666" y="0"/>
                  <a:pt x="2910118" y="651452"/>
                  <a:pt x="2910118" y="145505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12700" cap="flat">
            <a:noFill/>
            <a:prstDash val="solid"/>
            <a:miter/>
          </a:ln>
          <a:effectLst>
            <a:outerShdw blurRad="444500" dist="190500" dir="5400000" algn="t" rotWithShape="0">
              <a:prstClr val="black">
                <a:alpha val="10000"/>
              </a:prstClr>
            </a:outerShdw>
          </a:effectLst>
        </p:spPr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 sz="3600"/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B61AFA06-97D0-8872-9937-F7ACB65B7CC5}"/>
              </a:ext>
            </a:extLst>
          </p:cNvPr>
          <p:cNvGrpSpPr/>
          <p:nvPr/>
        </p:nvGrpSpPr>
        <p:grpSpPr>
          <a:xfrm>
            <a:off x="-230641" y="-5524625"/>
            <a:ext cx="24848456" cy="24848456"/>
            <a:chOff x="-116114" y="-2783114"/>
            <a:chExt cx="12424228" cy="12424228"/>
          </a:xfrm>
        </p:grpSpPr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E3991F3-98DE-5910-5AE3-956DC023A356}"/>
                </a:ext>
              </a:extLst>
            </p:cNvPr>
            <p:cNvSpPr/>
            <p:nvPr/>
          </p:nvSpPr>
          <p:spPr>
            <a:xfrm>
              <a:off x="-116114" y="-2783114"/>
              <a:ext cx="12424228" cy="12424228"/>
            </a:xfrm>
            <a:custGeom>
              <a:avLst/>
              <a:gdLst>
                <a:gd name="connsiteX0" fmla="*/ 7788517 w 7788516"/>
                <a:gd name="connsiteY0" fmla="*/ 3894258 h 7788516"/>
                <a:gd name="connsiteX1" fmla="*/ 3894258 w 7788516"/>
                <a:gd name="connsiteY1" fmla="*/ 7788517 h 7788516"/>
                <a:gd name="connsiteX2" fmla="*/ 0 w 7788516"/>
                <a:gd name="connsiteY2" fmla="*/ 3894258 h 7788516"/>
                <a:gd name="connsiteX3" fmla="*/ 3894258 w 7788516"/>
                <a:gd name="connsiteY3" fmla="*/ 0 h 7788516"/>
                <a:gd name="connsiteX4" fmla="*/ 7788517 w 7788516"/>
                <a:gd name="connsiteY4" fmla="*/ 3894258 h 7788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88516" h="7788516">
                  <a:moveTo>
                    <a:pt x="7788517" y="3894258"/>
                  </a:moveTo>
                  <a:cubicBezTo>
                    <a:pt x="7788517" y="6044998"/>
                    <a:pt x="6044998" y="7788517"/>
                    <a:pt x="3894258" y="7788517"/>
                  </a:cubicBezTo>
                  <a:cubicBezTo>
                    <a:pt x="1743519" y="7788517"/>
                    <a:pt x="0" y="6044998"/>
                    <a:pt x="0" y="3894258"/>
                  </a:cubicBezTo>
                  <a:cubicBezTo>
                    <a:pt x="0" y="1743519"/>
                    <a:pt x="1743519" y="0"/>
                    <a:pt x="3894258" y="0"/>
                  </a:cubicBezTo>
                  <a:cubicBezTo>
                    <a:pt x="6044998" y="0"/>
                    <a:pt x="7788517" y="1743519"/>
                    <a:pt x="7788517" y="3894258"/>
                  </a:cubicBezTo>
                  <a:close/>
                </a:path>
              </a:pathLst>
            </a:custGeom>
            <a:noFill/>
            <a:ln w="12700" cap="flat">
              <a:gradFill>
                <a:gsLst>
                  <a:gs pos="0">
                    <a:schemeClr val="tx2">
                      <a:alpha val="0"/>
                    </a:schemeClr>
                  </a:gs>
                  <a:gs pos="99000">
                    <a:schemeClr val="tx2">
                      <a:alpha val="43678"/>
                    </a:schemeClr>
                  </a:gs>
                </a:gsLst>
                <a:lin ang="5400000" scaled="1"/>
              </a:gradFill>
              <a:prstDash val="solid"/>
              <a:miter/>
            </a:ln>
            <a:effectLst>
              <a:outerShdw blurRad="444500" dist="190500" dir="5400000" algn="t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3600" dirty="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3329C375-04F4-3B86-F20B-BE46E397C79C}"/>
                </a:ext>
              </a:extLst>
            </p:cNvPr>
            <p:cNvSpPr/>
            <p:nvPr/>
          </p:nvSpPr>
          <p:spPr>
            <a:xfrm>
              <a:off x="1180889" y="-1486112"/>
              <a:ext cx="9830223" cy="9830223"/>
            </a:xfrm>
            <a:custGeom>
              <a:avLst/>
              <a:gdLst>
                <a:gd name="connsiteX0" fmla="*/ 6162384 w 6162383"/>
                <a:gd name="connsiteY0" fmla="*/ 3081192 h 6162383"/>
                <a:gd name="connsiteX1" fmla="*/ 3081192 w 6162383"/>
                <a:gd name="connsiteY1" fmla="*/ 6162384 h 6162383"/>
                <a:gd name="connsiteX2" fmla="*/ 0 w 6162383"/>
                <a:gd name="connsiteY2" fmla="*/ 3081192 h 6162383"/>
                <a:gd name="connsiteX3" fmla="*/ 3081192 w 6162383"/>
                <a:gd name="connsiteY3" fmla="*/ 0 h 6162383"/>
                <a:gd name="connsiteX4" fmla="*/ 6162384 w 6162383"/>
                <a:gd name="connsiteY4" fmla="*/ 3081192 h 6162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62383" h="6162383">
                  <a:moveTo>
                    <a:pt x="6162384" y="3081192"/>
                  </a:moveTo>
                  <a:cubicBezTo>
                    <a:pt x="6162384" y="4782887"/>
                    <a:pt x="4782887" y="6162384"/>
                    <a:pt x="3081192" y="6162384"/>
                  </a:cubicBezTo>
                  <a:cubicBezTo>
                    <a:pt x="1379497" y="6162384"/>
                    <a:pt x="0" y="4782887"/>
                    <a:pt x="0" y="3081192"/>
                  </a:cubicBezTo>
                  <a:cubicBezTo>
                    <a:pt x="0" y="1379497"/>
                    <a:pt x="1379497" y="0"/>
                    <a:pt x="3081192" y="0"/>
                  </a:cubicBezTo>
                  <a:cubicBezTo>
                    <a:pt x="4782887" y="0"/>
                    <a:pt x="6162384" y="1379497"/>
                    <a:pt x="6162384" y="3081192"/>
                  </a:cubicBezTo>
                  <a:close/>
                </a:path>
              </a:pathLst>
            </a:custGeom>
            <a:noFill/>
            <a:ln w="12700" cap="flat">
              <a:gradFill>
                <a:gsLst>
                  <a:gs pos="0">
                    <a:schemeClr val="tx2">
                      <a:alpha val="0"/>
                    </a:schemeClr>
                  </a:gs>
                  <a:gs pos="99000">
                    <a:schemeClr val="tx2">
                      <a:alpha val="43678"/>
                    </a:schemeClr>
                  </a:gs>
                </a:gsLst>
                <a:lin ang="5400000" scaled="1"/>
              </a:gradFill>
              <a:prstDash val="solid"/>
              <a:miter/>
            </a:ln>
            <a:effectLst>
              <a:outerShdw blurRad="444500" dist="190500" dir="5400000" algn="t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360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067E9123-F2E5-4608-7FAC-AB64371E875C}"/>
                </a:ext>
              </a:extLst>
            </p:cNvPr>
            <p:cNvSpPr/>
            <p:nvPr/>
          </p:nvSpPr>
          <p:spPr>
            <a:xfrm>
              <a:off x="2477892" y="-189109"/>
              <a:ext cx="7236219" cy="7236219"/>
            </a:xfrm>
            <a:custGeom>
              <a:avLst/>
              <a:gdLst>
                <a:gd name="connsiteX0" fmla="*/ 4536251 w 4536250"/>
                <a:gd name="connsiteY0" fmla="*/ 2268125 h 4536250"/>
                <a:gd name="connsiteX1" fmla="*/ 2268125 w 4536250"/>
                <a:gd name="connsiteY1" fmla="*/ 4536251 h 4536250"/>
                <a:gd name="connsiteX2" fmla="*/ 0 w 4536250"/>
                <a:gd name="connsiteY2" fmla="*/ 2268125 h 4536250"/>
                <a:gd name="connsiteX3" fmla="*/ 2268125 w 4536250"/>
                <a:gd name="connsiteY3" fmla="*/ 0 h 4536250"/>
                <a:gd name="connsiteX4" fmla="*/ 4536251 w 4536250"/>
                <a:gd name="connsiteY4" fmla="*/ 2268125 h 453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36250" h="4536250">
                  <a:moveTo>
                    <a:pt x="4536251" y="2268125"/>
                  </a:moveTo>
                  <a:cubicBezTo>
                    <a:pt x="4536251" y="3520777"/>
                    <a:pt x="3520776" y="4536251"/>
                    <a:pt x="2268125" y="4536251"/>
                  </a:cubicBezTo>
                  <a:cubicBezTo>
                    <a:pt x="1015474" y="4536251"/>
                    <a:pt x="0" y="3520776"/>
                    <a:pt x="0" y="2268125"/>
                  </a:cubicBezTo>
                  <a:cubicBezTo>
                    <a:pt x="0" y="1015474"/>
                    <a:pt x="1015474" y="0"/>
                    <a:pt x="2268125" y="0"/>
                  </a:cubicBezTo>
                  <a:cubicBezTo>
                    <a:pt x="3520777" y="0"/>
                    <a:pt x="4536251" y="1015474"/>
                    <a:pt x="4536251" y="2268125"/>
                  </a:cubicBezTo>
                  <a:close/>
                </a:path>
              </a:pathLst>
            </a:custGeom>
            <a:noFill/>
            <a:ln w="12700" cap="flat">
              <a:gradFill>
                <a:gsLst>
                  <a:gs pos="0">
                    <a:schemeClr val="tx2">
                      <a:alpha val="0"/>
                    </a:schemeClr>
                  </a:gs>
                  <a:gs pos="99000">
                    <a:schemeClr val="tx2">
                      <a:alpha val="43678"/>
                    </a:schemeClr>
                  </a:gs>
                </a:gsLst>
                <a:lin ang="5400000" scaled="1"/>
              </a:gradFill>
              <a:prstDash val="solid"/>
              <a:miter/>
            </a:ln>
            <a:effectLst>
              <a:outerShdw blurRad="444500" dist="190500" dir="5400000" algn="t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360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2822280D-304F-B336-9213-547B6E4826C3}"/>
                </a:ext>
              </a:extLst>
            </p:cNvPr>
            <p:cNvSpPr/>
            <p:nvPr/>
          </p:nvSpPr>
          <p:spPr>
            <a:xfrm>
              <a:off x="3774892" y="1107892"/>
              <a:ext cx="4642213" cy="4642213"/>
            </a:xfrm>
            <a:custGeom>
              <a:avLst/>
              <a:gdLst>
                <a:gd name="connsiteX0" fmla="*/ 2910118 w 2910117"/>
                <a:gd name="connsiteY0" fmla="*/ 1455059 h 2910117"/>
                <a:gd name="connsiteX1" fmla="*/ 1455059 w 2910117"/>
                <a:gd name="connsiteY1" fmla="*/ 2910118 h 2910117"/>
                <a:gd name="connsiteX2" fmla="*/ 0 w 2910117"/>
                <a:gd name="connsiteY2" fmla="*/ 1455059 h 2910117"/>
                <a:gd name="connsiteX3" fmla="*/ 1455059 w 2910117"/>
                <a:gd name="connsiteY3" fmla="*/ 0 h 2910117"/>
                <a:gd name="connsiteX4" fmla="*/ 2910118 w 2910117"/>
                <a:gd name="connsiteY4" fmla="*/ 1455059 h 291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10117" h="2910117">
                  <a:moveTo>
                    <a:pt x="2910118" y="1455059"/>
                  </a:moveTo>
                  <a:cubicBezTo>
                    <a:pt x="2910118" y="2258666"/>
                    <a:pt x="2258666" y="2910118"/>
                    <a:pt x="1455059" y="2910118"/>
                  </a:cubicBezTo>
                  <a:cubicBezTo>
                    <a:pt x="651452" y="2910118"/>
                    <a:pt x="0" y="2258666"/>
                    <a:pt x="0" y="1455059"/>
                  </a:cubicBezTo>
                  <a:cubicBezTo>
                    <a:pt x="0" y="651452"/>
                    <a:pt x="651452" y="0"/>
                    <a:pt x="1455059" y="0"/>
                  </a:cubicBezTo>
                  <a:cubicBezTo>
                    <a:pt x="2258666" y="0"/>
                    <a:pt x="2910118" y="651452"/>
                    <a:pt x="2910118" y="1455059"/>
                  </a:cubicBezTo>
                  <a:close/>
                </a:path>
              </a:pathLst>
            </a:custGeom>
            <a:noFill/>
            <a:ln w="12700" cap="flat">
              <a:gradFill>
                <a:gsLst>
                  <a:gs pos="0">
                    <a:schemeClr val="tx2">
                      <a:alpha val="0"/>
                    </a:schemeClr>
                  </a:gs>
                  <a:gs pos="99000">
                    <a:schemeClr val="tx2">
                      <a:alpha val="43678"/>
                    </a:schemeClr>
                  </a:gs>
                </a:gsLst>
                <a:lin ang="5400000" scaled="1"/>
              </a:gradFill>
              <a:prstDash val="solid"/>
              <a:miter/>
            </a:ln>
            <a:effectLst>
              <a:outerShdw blurRad="444500" dist="190500" dir="5400000" algn="t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3600"/>
            </a:p>
          </p:txBody>
        </p:sp>
      </p:grpSp>
      <p:grpSp>
        <p:nvGrpSpPr>
          <p:cNvPr id="2" name="Graphic 29">
            <a:extLst>
              <a:ext uri="{FF2B5EF4-FFF2-40B4-BE49-F238E27FC236}">
                <a16:creationId xmlns:a16="http://schemas.microsoft.com/office/drawing/2014/main" id="{F6E767DA-7F3B-02FB-8250-8C72D83FBE64}"/>
              </a:ext>
            </a:extLst>
          </p:cNvPr>
          <p:cNvGrpSpPr/>
          <p:nvPr/>
        </p:nvGrpSpPr>
        <p:grpSpPr>
          <a:xfrm>
            <a:off x="11397961" y="5365937"/>
            <a:ext cx="1591253" cy="2984127"/>
            <a:chOff x="1502100" y="653619"/>
            <a:chExt cx="2035484" cy="3817207"/>
          </a:xfrm>
          <a:solidFill>
            <a:schemeClr val="bg1"/>
          </a:solidFill>
        </p:grpSpPr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36FAA794-F386-02E0-5016-8AD4A3B1DCF5}"/>
                </a:ext>
              </a:extLst>
            </p:cNvPr>
            <p:cNvSpPr/>
            <p:nvPr/>
          </p:nvSpPr>
          <p:spPr>
            <a:xfrm>
              <a:off x="1502100" y="653619"/>
              <a:ext cx="2035484" cy="3817207"/>
            </a:xfrm>
            <a:custGeom>
              <a:avLst/>
              <a:gdLst>
                <a:gd name="connsiteX0" fmla="*/ 1775452 w 2035484"/>
                <a:gd name="connsiteY0" fmla="*/ 2695942 h 3817207"/>
                <a:gd name="connsiteX1" fmla="*/ 1556377 w 2035484"/>
                <a:gd name="connsiteY1" fmla="*/ 2695942 h 3817207"/>
                <a:gd name="connsiteX2" fmla="*/ 1516372 w 2035484"/>
                <a:gd name="connsiteY2" fmla="*/ 2664509 h 3817207"/>
                <a:gd name="connsiteX3" fmla="*/ 1423027 w 2035484"/>
                <a:gd name="connsiteY3" fmla="*/ 2477819 h 3817207"/>
                <a:gd name="connsiteX4" fmla="*/ 1031549 w 2035484"/>
                <a:gd name="connsiteY4" fmla="*/ 2283509 h 3817207"/>
                <a:gd name="connsiteX5" fmla="*/ 508627 w 2035484"/>
                <a:gd name="connsiteY5" fmla="*/ 2785477 h 3817207"/>
                <a:gd name="connsiteX6" fmla="*/ 1010594 w 2035484"/>
                <a:gd name="connsiteY6" fmla="*/ 3308399 h 3817207"/>
                <a:gd name="connsiteX7" fmla="*/ 1515419 w 2035484"/>
                <a:gd name="connsiteY7" fmla="*/ 2931209 h 3817207"/>
                <a:gd name="connsiteX8" fmla="*/ 1518277 w 2035484"/>
                <a:gd name="connsiteY8" fmla="*/ 2917874 h 3817207"/>
                <a:gd name="connsiteX9" fmla="*/ 1546852 w 2035484"/>
                <a:gd name="connsiteY9" fmla="*/ 2895967 h 3817207"/>
                <a:gd name="connsiteX10" fmla="*/ 1985955 w 2035484"/>
                <a:gd name="connsiteY10" fmla="*/ 2895967 h 3817207"/>
                <a:gd name="connsiteX11" fmla="*/ 2022149 w 2035484"/>
                <a:gd name="connsiteY11" fmla="*/ 2895967 h 3817207"/>
                <a:gd name="connsiteX12" fmla="*/ 2035484 w 2035484"/>
                <a:gd name="connsiteY12" fmla="*/ 2909302 h 3817207"/>
                <a:gd name="connsiteX13" fmla="*/ 2035484 w 2035484"/>
                <a:gd name="connsiteY13" fmla="*/ 2912159 h 3817207"/>
                <a:gd name="connsiteX14" fmla="*/ 2033580 w 2035484"/>
                <a:gd name="connsiteY14" fmla="*/ 2935019 h 3817207"/>
                <a:gd name="connsiteX15" fmla="*/ 1294440 w 2035484"/>
                <a:gd name="connsiteY15" fmla="*/ 3779887 h 3817207"/>
                <a:gd name="connsiteX16" fmla="*/ 37139 w 2035484"/>
                <a:gd name="connsiteY16" fmla="*/ 3068369 h 3817207"/>
                <a:gd name="connsiteX17" fmla="*/ 65714 w 2035484"/>
                <a:gd name="connsiteY17" fmla="*/ 2434004 h 3817207"/>
                <a:gd name="connsiteX18" fmla="*/ 315269 w 2035484"/>
                <a:gd name="connsiteY18" fmla="*/ 1756777 h 3817207"/>
                <a:gd name="connsiteX19" fmla="*/ 944872 w 2035484"/>
                <a:gd name="connsiteY19" fmla="*/ 42277 h 3817207"/>
                <a:gd name="connsiteX20" fmla="*/ 1009642 w 2035484"/>
                <a:gd name="connsiteY20" fmla="*/ 20369 h 3817207"/>
                <a:gd name="connsiteX21" fmla="*/ 1340159 w 2035484"/>
                <a:gd name="connsiteY21" fmla="*/ 531862 h 3817207"/>
                <a:gd name="connsiteX22" fmla="*/ 1266817 w 2035484"/>
                <a:gd name="connsiteY22" fmla="*/ 1033829 h 3817207"/>
                <a:gd name="connsiteX23" fmla="*/ 929632 w 2035484"/>
                <a:gd name="connsiteY23" fmla="*/ 1708199 h 3817207"/>
                <a:gd name="connsiteX24" fmla="*/ 906772 w 2035484"/>
                <a:gd name="connsiteY24" fmla="*/ 1752967 h 3817207"/>
                <a:gd name="connsiteX25" fmla="*/ 923917 w 2035484"/>
                <a:gd name="connsiteY25" fmla="*/ 1779637 h 3817207"/>
                <a:gd name="connsiteX26" fmla="*/ 1038217 w 2035484"/>
                <a:gd name="connsiteY26" fmla="*/ 1776779 h 3817207"/>
                <a:gd name="connsiteX27" fmla="*/ 1658294 w 2035484"/>
                <a:gd name="connsiteY27" fmla="*/ 1999664 h 3817207"/>
                <a:gd name="connsiteX28" fmla="*/ 2023102 w 2035484"/>
                <a:gd name="connsiteY28" fmla="*/ 2599739 h 3817207"/>
                <a:gd name="connsiteX29" fmla="*/ 2034532 w 2035484"/>
                <a:gd name="connsiteY29" fmla="*/ 2672129 h 3817207"/>
                <a:gd name="connsiteX30" fmla="*/ 2013577 w 2035484"/>
                <a:gd name="connsiteY30" fmla="*/ 2697847 h 3817207"/>
                <a:gd name="connsiteX31" fmla="*/ 1774499 w 2035484"/>
                <a:gd name="connsiteY31" fmla="*/ 2697847 h 3817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035484" h="3817207">
                  <a:moveTo>
                    <a:pt x="1775452" y="2695942"/>
                  </a:moveTo>
                  <a:lnTo>
                    <a:pt x="1556377" y="2695942"/>
                  </a:lnTo>
                  <a:cubicBezTo>
                    <a:pt x="1525897" y="2695942"/>
                    <a:pt x="1524944" y="2695942"/>
                    <a:pt x="1516372" y="2664509"/>
                  </a:cubicBezTo>
                  <a:cubicBezTo>
                    <a:pt x="1499227" y="2595929"/>
                    <a:pt x="1466842" y="2533064"/>
                    <a:pt x="1423027" y="2477819"/>
                  </a:cubicBezTo>
                  <a:cubicBezTo>
                    <a:pt x="1322062" y="2353994"/>
                    <a:pt x="1191569" y="2287319"/>
                    <a:pt x="1031549" y="2283509"/>
                  </a:cubicBezTo>
                  <a:cubicBezTo>
                    <a:pt x="748657" y="2277794"/>
                    <a:pt x="514342" y="2502584"/>
                    <a:pt x="508627" y="2785477"/>
                  </a:cubicBezTo>
                  <a:cubicBezTo>
                    <a:pt x="502912" y="3068369"/>
                    <a:pt x="727702" y="3302684"/>
                    <a:pt x="1010594" y="3308399"/>
                  </a:cubicBezTo>
                  <a:cubicBezTo>
                    <a:pt x="1244909" y="3313162"/>
                    <a:pt x="1453507" y="3157904"/>
                    <a:pt x="1515419" y="2931209"/>
                  </a:cubicBezTo>
                  <a:cubicBezTo>
                    <a:pt x="1516372" y="2926447"/>
                    <a:pt x="1517324" y="2922637"/>
                    <a:pt x="1518277" y="2917874"/>
                  </a:cubicBezTo>
                  <a:cubicBezTo>
                    <a:pt x="1523992" y="2897872"/>
                    <a:pt x="1525897" y="2895967"/>
                    <a:pt x="1546852" y="2895967"/>
                  </a:cubicBezTo>
                  <a:lnTo>
                    <a:pt x="1985955" y="2895967"/>
                  </a:lnTo>
                  <a:cubicBezTo>
                    <a:pt x="1998337" y="2895967"/>
                    <a:pt x="2009767" y="2895967"/>
                    <a:pt x="2022149" y="2895967"/>
                  </a:cubicBezTo>
                  <a:cubicBezTo>
                    <a:pt x="2029769" y="2895967"/>
                    <a:pt x="2035484" y="2901682"/>
                    <a:pt x="2035484" y="2909302"/>
                  </a:cubicBezTo>
                  <a:cubicBezTo>
                    <a:pt x="2035484" y="2909302"/>
                    <a:pt x="2035484" y="2911207"/>
                    <a:pt x="2035484" y="2912159"/>
                  </a:cubicBezTo>
                  <a:cubicBezTo>
                    <a:pt x="2035484" y="2919779"/>
                    <a:pt x="2035484" y="2927399"/>
                    <a:pt x="2033580" y="2935019"/>
                  </a:cubicBezTo>
                  <a:cubicBezTo>
                    <a:pt x="1976430" y="3339832"/>
                    <a:pt x="1688774" y="3672254"/>
                    <a:pt x="1294440" y="3779887"/>
                  </a:cubicBezTo>
                  <a:cubicBezTo>
                    <a:pt x="750562" y="3930382"/>
                    <a:pt x="187634" y="3612247"/>
                    <a:pt x="37139" y="3068369"/>
                  </a:cubicBezTo>
                  <a:cubicBezTo>
                    <a:pt x="-20963" y="2858819"/>
                    <a:pt x="-10486" y="2636887"/>
                    <a:pt x="65714" y="2434004"/>
                  </a:cubicBezTo>
                  <a:cubicBezTo>
                    <a:pt x="148582" y="2208262"/>
                    <a:pt x="232402" y="1982519"/>
                    <a:pt x="315269" y="1756777"/>
                  </a:cubicBezTo>
                  <a:cubicBezTo>
                    <a:pt x="524819" y="1185277"/>
                    <a:pt x="735322" y="613777"/>
                    <a:pt x="944872" y="42277"/>
                  </a:cubicBezTo>
                  <a:cubicBezTo>
                    <a:pt x="963922" y="-9158"/>
                    <a:pt x="965827" y="-10111"/>
                    <a:pt x="1009642" y="20369"/>
                  </a:cubicBezTo>
                  <a:cubicBezTo>
                    <a:pt x="1189665" y="146099"/>
                    <a:pt x="1301107" y="316597"/>
                    <a:pt x="1340159" y="531862"/>
                  </a:cubicBezTo>
                  <a:cubicBezTo>
                    <a:pt x="1372544" y="702359"/>
                    <a:pt x="1346827" y="879524"/>
                    <a:pt x="1266817" y="1033829"/>
                  </a:cubicBezTo>
                  <a:cubicBezTo>
                    <a:pt x="1154422" y="1258619"/>
                    <a:pt x="1041074" y="1483409"/>
                    <a:pt x="929632" y="1708199"/>
                  </a:cubicBezTo>
                  <a:cubicBezTo>
                    <a:pt x="922012" y="1723439"/>
                    <a:pt x="914392" y="1737727"/>
                    <a:pt x="906772" y="1752967"/>
                  </a:cubicBezTo>
                  <a:cubicBezTo>
                    <a:pt x="897247" y="1774874"/>
                    <a:pt x="901057" y="1780589"/>
                    <a:pt x="923917" y="1779637"/>
                  </a:cubicBezTo>
                  <a:cubicBezTo>
                    <a:pt x="962017" y="1778684"/>
                    <a:pt x="1000117" y="1775827"/>
                    <a:pt x="1038217" y="1776779"/>
                  </a:cubicBezTo>
                  <a:cubicBezTo>
                    <a:pt x="1263959" y="1778684"/>
                    <a:pt x="1483034" y="1856789"/>
                    <a:pt x="1658294" y="1999664"/>
                  </a:cubicBezTo>
                  <a:cubicBezTo>
                    <a:pt x="1852605" y="2154922"/>
                    <a:pt x="1972619" y="2356852"/>
                    <a:pt x="2023102" y="2599739"/>
                  </a:cubicBezTo>
                  <a:cubicBezTo>
                    <a:pt x="2027865" y="2623552"/>
                    <a:pt x="2031674" y="2647364"/>
                    <a:pt x="2034532" y="2672129"/>
                  </a:cubicBezTo>
                  <a:cubicBezTo>
                    <a:pt x="2037390" y="2692132"/>
                    <a:pt x="2032627" y="2696894"/>
                    <a:pt x="2013577" y="2697847"/>
                  </a:cubicBezTo>
                  <a:lnTo>
                    <a:pt x="1774499" y="269784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78FF7976-63A9-45BD-8E81-5236FF385583}"/>
                </a:ext>
              </a:extLst>
            </p:cNvPr>
            <p:cNvSpPr/>
            <p:nvPr/>
          </p:nvSpPr>
          <p:spPr>
            <a:xfrm>
              <a:off x="1503045" y="1064002"/>
              <a:ext cx="291914" cy="1722631"/>
            </a:xfrm>
            <a:custGeom>
              <a:avLst/>
              <a:gdLst>
                <a:gd name="connsiteX0" fmla="*/ 952 w 291914"/>
                <a:gd name="connsiteY0" fmla="*/ 1722632 h 1722631"/>
                <a:gd name="connsiteX1" fmla="*/ 952 w 291914"/>
                <a:gd name="connsiteY1" fmla="*/ 1374969 h 1722631"/>
                <a:gd name="connsiteX2" fmla="*/ 952 w 291914"/>
                <a:gd name="connsiteY2" fmla="*/ 1342584 h 1722631"/>
                <a:gd name="connsiteX3" fmla="*/ 3810 w 291914"/>
                <a:gd name="connsiteY3" fmla="*/ 465331 h 1722631"/>
                <a:gd name="connsiteX4" fmla="*/ 3810 w 291914"/>
                <a:gd name="connsiteY4" fmla="*/ 40516 h 1722631"/>
                <a:gd name="connsiteX5" fmla="*/ 48577 w 291914"/>
                <a:gd name="connsiteY5" fmla="*/ 4321 h 1722631"/>
                <a:gd name="connsiteX6" fmla="*/ 271463 w 291914"/>
                <a:gd name="connsiteY6" fmla="*/ 96714 h 1722631"/>
                <a:gd name="connsiteX7" fmla="*/ 290513 w 291914"/>
                <a:gd name="connsiteY7" fmla="*/ 136719 h 1722631"/>
                <a:gd name="connsiteX8" fmla="*/ 211455 w 291914"/>
                <a:gd name="connsiteY8" fmla="*/ 576774 h 1722631"/>
                <a:gd name="connsiteX9" fmla="*/ 122872 w 291914"/>
                <a:gd name="connsiteY9" fmla="*/ 1071122 h 1722631"/>
                <a:gd name="connsiteX10" fmla="*/ 16192 w 291914"/>
                <a:gd name="connsiteY10" fmla="*/ 1664529 h 1722631"/>
                <a:gd name="connsiteX11" fmla="*/ 0 w 291914"/>
                <a:gd name="connsiteY11" fmla="*/ 1720726 h 1722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1914" h="1722631">
                  <a:moveTo>
                    <a:pt x="952" y="1722632"/>
                  </a:moveTo>
                  <a:lnTo>
                    <a:pt x="952" y="1374969"/>
                  </a:lnTo>
                  <a:cubicBezTo>
                    <a:pt x="952" y="1364491"/>
                    <a:pt x="952" y="1354014"/>
                    <a:pt x="952" y="1342584"/>
                  </a:cubicBezTo>
                  <a:cubicBezTo>
                    <a:pt x="1905" y="1050166"/>
                    <a:pt x="2858" y="757749"/>
                    <a:pt x="3810" y="465331"/>
                  </a:cubicBezTo>
                  <a:cubicBezTo>
                    <a:pt x="3810" y="323409"/>
                    <a:pt x="3810" y="182439"/>
                    <a:pt x="3810" y="40516"/>
                  </a:cubicBezTo>
                  <a:cubicBezTo>
                    <a:pt x="3810" y="-1394"/>
                    <a:pt x="8572" y="-5204"/>
                    <a:pt x="48577" y="4321"/>
                  </a:cubicBezTo>
                  <a:cubicBezTo>
                    <a:pt x="126683" y="24324"/>
                    <a:pt x="201930" y="54804"/>
                    <a:pt x="271463" y="96714"/>
                  </a:cubicBezTo>
                  <a:cubicBezTo>
                    <a:pt x="287655" y="103381"/>
                    <a:pt x="295275" y="120527"/>
                    <a:pt x="290513" y="136719"/>
                  </a:cubicBezTo>
                  <a:cubicBezTo>
                    <a:pt x="262890" y="283404"/>
                    <a:pt x="238125" y="430089"/>
                    <a:pt x="211455" y="576774"/>
                  </a:cubicBezTo>
                  <a:cubicBezTo>
                    <a:pt x="181927" y="741557"/>
                    <a:pt x="152400" y="906339"/>
                    <a:pt x="122872" y="1071122"/>
                  </a:cubicBezTo>
                  <a:cubicBezTo>
                    <a:pt x="87630" y="1269241"/>
                    <a:pt x="51435" y="1466409"/>
                    <a:pt x="16192" y="1664529"/>
                  </a:cubicBezTo>
                  <a:cubicBezTo>
                    <a:pt x="12383" y="1681674"/>
                    <a:pt x="10477" y="1692151"/>
                    <a:pt x="0" y="17207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B4BF9D53-2999-9AA1-026C-AA8728590EDA}"/>
                </a:ext>
              </a:extLst>
            </p:cNvPr>
            <p:cNvSpPr/>
            <p:nvPr/>
          </p:nvSpPr>
          <p:spPr>
            <a:xfrm>
              <a:off x="1683067" y="817105"/>
              <a:ext cx="541936" cy="1609483"/>
            </a:xfrm>
            <a:custGeom>
              <a:avLst/>
              <a:gdLst>
                <a:gd name="connsiteX0" fmla="*/ 953 w 541936"/>
                <a:gd name="connsiteY0" fmla="*/ 1608531 h 1609483"/>
                <a:gd name="connsiteX1" fmla="*/ 89535 w 541936"/>
                <a:gd name="connsiteY1" fmla="*/ 1138949 h 1609483"/>
                <a:gd name="connsiteX2" fmla="*/ 224790 w 541936"/>
                <a:gd name="connsiteY2" fmla="*/ 384568 h 1609483"/>
                <a:gd name="connsiteX3" fmla="*/ 285750 w 541936"/>
                <a:gd name="connsiteY3" fmla="*/ 43573 h 1609483"/>
                <a:gd name="connsiteX4" fmla="*/ 342900 w 541936"/>
                <a:gd name="connsiteY4" fmla="*/ 13093 h 1609483"/>
                <a:gd name="connsiteX5" fmla="*/ 521017 w 541936"/>
                <a:gd name="connsiteY5" fmla="*/ 123583 h 1609483"/>
                <a:gd name="connsiteX6" fmla="*/ 535305 w 541936"/>
                <a:gd name="connsiteY6" fmla="*/ 173113 h 1609483"/>
                <a:gd name="connsiteX7" fmla="*/ 456248 w 541936"/>
                <a:gd name="connsiteY7" fmla="*/ 387426 h 1609483"/>
                <a:gd name="connsiteX8" fmla="*/ 200025 w 541936"/>
                <a:gd name="connsiteY8" fmla="*/ 1085608 h 1609483"/>
                <a:gd name="connsiteX9" fmla="*/ 35242 w 541936"/>
                <a:gd name="connsiteY9" fmla="*/ 1530426 h 1609483"/>
                <a:gd name="connsiteX10" fmla="*/ 0 w 541936"/>
                <a:gd name="connsiteY10" fmla="*/ 1609483 h 1609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1936" h="1609483">
                  <a:moveTo>
                    <a:pt x="953" y="1608531"/>
                  </a:moveTo>
                  <a:cubicBezTo>
                    <a:pt x="24765" y="1478038"/>
                    <a:pt x="66675" y="1268488"/>
                    <a:pt x="89535" y="1138949"/>
                  </a:cubicBezTo>
                  <a:cubicBezTo>
                    <a:pt x="134303" y="887488"/>
                    <a:pt x="180023" y="636028"/>
                    <a:pt x="224790" y="384568"/>
                  </a:cubicBezTo>
                  <a:cubicBezTo>
                    <a:pt x="244792" y="270268"/>
                    <a:pt x="264795" y="156921"/>
                    <a:pt x="285750" y="43573"/>
                  </a:cubicBezTo>
                  <a:cubicBezTo>
                    <a:pt x="294323" y="-1194"/>
                    <a:pt x="289560" y="-11672"/>
                    <a:pt x="342900" y="13093"/>
                  </a:cubicBezTo>
                  <a:cubicBezTo>
                    <a:pt x="406717" y="41668"/>
                    <a:pt x="466725" y="78816"/>
                    <a:pt x="521017" y="123583"/>
                  </a:cubicBezTo>
                  <a:cubicBezTo>
                    <a:pt x="545783" y="143586"/>
                    <a:pt x="545783" y="144538"/>
                    <a:pt x="535305" y="173113"/>
                  </a:cubicBezTo>
                  <a:cubicBezTo>
                    <a:pt x="509588" y="244551"/>
                    <a:pt x="482917" y="315988"/>
                    <a:pt x="456248" y="387426"/>
                  </a:cubicBezTo>
                  <a:cubicBezTo>
                    <a:pt x="370523" y="619836"/>
                    <a:pt x="284798" y="853199"/>
                    <a:pt x="200025" y="1085608"/>
                  </a:cubicBezTo>
                  <a:cubicBezTo>
                    <a:pt x="145733" y="1234199"/>
                    <a:pt x="90488" y="1382788"/>
                    <a:pt x="35242" y="1530426"/>
                  </a:cubicBezTo>
                  <a:lnTo>
                    <a:pt x="0" y="16094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1B754AEC-F3EC-5145-6BAC-2D9E19EF2861}"/>
              </a:ext>
            </a:extLst>
          </p:cNvPr>
          <p:cNvSpPr txBox="1"/>
          <p:nvPr/>
        </p:nvSpPr>
        <p:spPr>
          <a:xfrm>
            <a:off x="6729451" y="9466261"/>
            <a:ext cx="11169212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>
              <a:defRPr/>
            </a:pPr>
            <a:r>
              <a:rPr lang="en-US" sz="9600" b="1" dirty="0">
                <a:latin typeface="Futura Md BT" panose="020B0602020204020303" pitchFamily="34" charset="0"/>
              </a:rPr>
              <a:t>One more thing…</a:t>
            </a:r>
          </a:p>
        </p:txBody>
      </p:sp>
    </p:spTree>
    <p:extLst>
      <p:ext uri="{BB962C8B-B14F-4D97-AF65-F5344CB8AC3E}">
        <p14:creationId xmlns:p14="http://schemas.microsoft.com/office/powerpoint/2010/main" val="962907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FD69A2CA-5345-71E1-8CDF-05D0C72522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4763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3" progId="TCLayout.ActiveDocument.1">
                  <p:embed/>
                </p:oleObj>
              </mc:Choice>
              <mc:Fallback>
                <p:oleObj name="think-cell Slide" r:id="rId3" imgW="344" imgH="34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FD69A2CA-5345-71E1-8CDF-05D0C72522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763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eform: Shape 2">
            <a:extLst>
              <a:ext uri="{FF2B5EF4-FFF2-40B4-BE49-F238E27FC236}">
                <a16:creationId xmlns:a16="http://schemas.microsoft.com/office/drawing/2014/main" id="{70032A55-9534-B63C-ECBE-4F2F51EA96B2}"/>
              </a:ext>
            </a:extLst>
          </p:cNvPr>
          <p:cNvSpPr/>
          <p:nvPr/>
        </p:nvSpPr>
        <p:spPr>
          <a:xfrm>
            <a:off x="-230641" y="-5566228"/>
            <a:ext cx="24848456" cy="24848456"/>
          </a:xfrm>
          <a:custGeom>
            <a:avLst/>
            <a:gdLst>
              <a:gd name="connsiteX0" fmla="*/ 7788517 w 7788516"/>
              <a:gd name="connsiteY0" fmla="*/ 3894258 h 7788516"/>
              <a:gd name="connsiteX1" fmla="*/ 3894258 w 7788516"/>
              <a:gd name="connsiteY1" fmla="*/ 7788517 h 7788516"/>
              <a:gd name="connsiteX2" fmla="*/ 0 w 7788516"/>
              <a:gd name="connsiteY2" fmla="*/ 3894258 h 7788516"/>
              <a:gd name="connsiteX3" fmla="*/ 3894258 w 7788516"/>
              <a:gd name="connsiteY3" fmla="*/ 0 h 7788516"/>
              <a:gd name="connsiteX4" fmla="*/ 7788517 w 7788516"/>
              <a:gd name="connsiteY4" fmla="*/ 3894258 h 7788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88516" h="7788516">
                <a:moveTo>
                  <a:pt x="7788517" y="3894258"/>
                </a:moveTo>
                <a:cubicBezTo>
                  <a:pt x="7788517" y="6044998"/>
                  <a:pt x="6044998" y="7788517"/>
                  <a:pt x="3894258" y="7788517"/>
                </a:cubicBezTo>
                <a:cubicBezTo>
                  <a:pt x="1743519" y="7788517"/>
                  <a:pt x="0" y="6044998"/>
                  <a:pt x="0" y="3894258"/>
                </a:cubicBezTo>
                <a:cubicBezTo>
                  <a:pt x="0" y="1743519"/>
                  <a:pt x="1743519" y="0"/>
                  <a:pt x="3894258" y="0"/>
                </a:cubicBezTo>
                <a:cubicBezTo>
                  <a:pt x="6044998" y="0"/>
                  <a:pt x="7788517" y="1743519"/>
                  <a:pt x="7788517" y="3894258"/>
                </a:cubicBezTo>
                <a:close/>
              </a:path>
            </a:pathLst>
          </a:custGeom>
          <a:solidFill>
            <a:schemeClr val="bg1">
              <a:alpha val="18224"/>
            </a:schemeClr>
          </a:solidFill>
          <a:ln w="12700" cap="flat">
            <a:noFill/>
            <a:prstDash val="solid"/>
            <a:miter/>
          </a:ln>
          <a:effectLst>
            <a:outerShdw blurRad="444500" dist="190500" dir="5400000" algn="t" rotWithShape="0">
              <a:prstClr val="black">
                <a:alpha val="10000"/>
              </a:prstClr>
            </a:outerShdw>
          </a:effectLst>
        </p:spPr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 sz="3600" dirty="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799DD407-F0D3-35AB-FE33-48D37DB1D210}"/>
              </a:ext>
            </a:extLst>
          </p:cNvPr>
          <p:cNvSpPr/>
          <p:nvPr/>
        </p:nvSpPr>
        <p:spPr>
          <a:xfrm>
            <a:off x="21079702" y="10840423"/>
            <a:ext cx="2875578" cy="2875578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glow rad="1905000">
              <a:schemeClr val="tx1"/>
            </a:glow>
            <a:outerShdw blurRad="50800" dist="38100" dir="8100000" algn="tr" rotWithShape="0">
              <a:schemeClr val="tx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60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2A1395DA-65E7-6D2C-76AB-6F769C9A3D42}"/>
              </a:ext>
            </a:extLst>
          </p:cNvPr>
          <p:cNvSpPr/>
          <p:nvPr/>
        </p:nvSpPr>
        <p:spPr>
          <a:xfrm>
            <a:off x="-1052617" y="-1339472"/>
            <a:ext cx="6009976" cy="6009976"/>
          </a:xfrm>
          <a:prstGeom prst="ellipse">
            <a:avLst/>
          </a:prstGeom>
          <a:solidFill>
            <a:schemeClr val="bg2"/>
          </a:solidFill>
          <a:ln>
            <a:noFill/>
          </a:ln>
          <a:effectLst>
            <a:glow rad="1905000">
              <a:schemeClr val="bg2"/>
            </a:glow>
            <a:outerShdw blurRad="50800" dist="38100" dir="8100000" algn="tr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600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716D96AD-362A-761D-AC60-5228A11EF1D8}"/>
              </a:ext>
            </a:extLst>
          </p:cNvPr>
          <p:cNvSpPr/>
          <p:nvPr/>
        </p:nvSpPr>
        <p:spPr>
          <a:xfrm>
            <a:off x="2363366" y="-2972223"/>
            <a:ext cx="19660446" cy="19660446"/>
          </a:xfrm>
          <a:custGeom>
            <a:avLst/>
            <a:gdLst>
              <a:gd name="connsiteX0" fmla="*/ 6162384 w 6162383"/>
              <a:gd name="connsiteY0" fmla="*/ 3081192 h 6162383"/>
              <a:gd name="connsiteX1" fmla="*/ 3081192 w 6162383"/>
              <a:gd name="connsiteY1" fmla="*/ 6162384 h 6162383"/>
              <a:gd name="connsiteX2" fmla="*/ 0 w 6162383"/>
              <a:gd name="connsiteY2" fmla="*/ 3081192 h 6162383"/>
              <a:gd name="connsiteX3" fmla="*/ 3081192 w 6162383"/>
              <a:gd name="connsiteY3" fmla="*/ 0 h 6162383"/>
              <a:gd name="connsiteX4" fmla="*/ 6162384 w 6162383"/>
              <a:gd name="connsiteY4" fmla="*/ 3081192 h 61623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62383" h="6162383">
                <a:moveTo>
                  <a:pt x="6162384" y="3081192"/>
                </a:moveTo>
                <a:cubicBezTo>
                  <a:pt x="6162384" y="4782887"/>
                  <a:pt x="4782887" y="6162384"/>
                  <a:pt x="3081192" y="6162384"/>
                </a:cubicBezTo>
                <a:cubicBezTo>
                  <a:pt x="1379497" y="6162384"/>
                  <a:pt x="0" y="4782887"/>
                  <a:pt x="0" y="3081192"/>
                </a:cubicBezTo>
                <a:cubicBezTo>
                  <a:pt x="0" y="1379497"/>
                  <a:pt x="1379497" y="0"/>
                  <a:pt x="3081192" y="0"/>
                </a:cubicBezTo>
                <a:cubicBezTo>
                  <a:pt x="4782887" y="0"/>
                  <a:pt x="6162384" y="1379497"/>
                  <a:pt x="6162384" y="3081192"/>
                </a:cubicBezTo>
                <a:close/>
              </a:path>
            </a:pathLst>
          </a:custGeom>
          <a:solidFill>
            <a:schemeClr val="bg1">
              <a:alpha val="18224"/>
            </a:schemeClr>
          </a:solidFill>
          <a:ln w="12700" cap="flat">
            <a:noFill/>
            <a:prstDash val="solid"/>
            <a:miter/>
          </a:ln>
          <a:effectLst>
            <a:outerShdw blurRad="444500" dist="190500" dir="5400000" algn="t" rotWithShape="0">
              <a:prstClr val="black">
                <a:alpha val="10000"/>
              </a:prstClr>
            </a:outerShdw>
          </a:effectLst>
        </p:spPr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 sz="360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D73E8B1B-7978-290E-2F52-D2978F551E4A}"/>
              </a:ext>
            </a:extLst>
          </p:cNvPr>
          <p:cNvSpPr/>
          <p:nvPr/>
        </p:nvSpPr>
        <p:spPr>
          <a:xfrm>
            <a:off x="4957372" y="-378217"/>
            <a:ext cx="14472438" cy="14472438"/>
          </a:xfrm>
          <a:custGeom>
            <a:avLst/>
            <a:gdLst>
              <a:gd name="connsiteX0" fmla="*/ 4536251 w 4536250"/>
              <a:gd name="connsiteY0" fmla="*/ 2268125 h 4536250"/>
              <a:gd name="connsiteX1" fmla="*/ 2268125 w 4536250"/>
              <a:gd name="connsiteY1" fmla="*/ 4536251 h 4536250"/>
              <a:gd name="connsiteX2" fmla="*/ 0 w 4536250"/>
              <a:gd name="connsiteY2" fmla="*/ 2268125 h 4536250"/>
              <a:gd name="connsiteX3" fmla="*/ 2268125 w 4536250"/>
              <a:gd name="connsiteY3" fmla="*/ 0 h 4536250"/>
              <a:gd name="connsiteX4" fmla="*/ 4536251 w 4536250"/>
              <a:gd name="connsiteY4" fmla="*/ 2268125 h 453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36250" h="4536250">
                <a:moveTo>
                  <a:pt x="4536251" y="2268125"/>
                </a:moveTo>
                <a:cubicBezTo>
                  <a:pt x="4536251" y="3520777"/>
                  <a:pt x="3520776" y="4536251"/>
                  <a:pt x="2268125" y="4536251"/>
                </a:cubicBezTo>
                <a:cubicBezTo>
                  <a:pt x="1015474" y="4536251"/>
                  <a:pt x="0" y="3520776"/>
                  <a:pt x="0" y="2268125"/>
                </a:cubicBezTo>
                <a:cubicBezTo>
                  <a:pt x="0" y="1015474"/>
                  <a:pt x="1015474" y="0"/>
                  <a:pt x="2268125" y="0"/>
                </a:cubicBezTo>
                <a:cubicBezTo>
                  <a:pt x="3520777" y="0"/>
                  <a:pt x="4536251" y="1015474"/>
                  <a:pt x="4536251" y="2268125"/>
                </a:cubicBezTo>
                <a:close/>
              </a:path>
            </a:pathLst>
          </a:custGeom>
          <a:solidFill>
            <a:schemeClr val="bg1">
              <a:alpha val="18224"/>
            </a:schemeClr>
          </a:solidFill>
          <a:ln w="12700" cap="flat">
            <a:noFill/>
            <a:prstDash val="solid"/>
            <a:miter/>
          </a:ln>
          <a:effectLst>
            <a:outerShdw blurRad="444500" dist="190500" dir="5400000" algn="t" rotWithShape="0">
              <a:prstClr val="black">
                <a:alpha val="10000"/>
              </a:prstClr>
            </a:outerShdw>
          </a:effectLst>
        </p:spPr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 sz="360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30D89440-6364-91DC-60B3-EF8B7458B992}"/>
              </a:ext>
            </a:extLst>
          </p:cNvPr>
          <p:cNvSpPr/>
          <p:nvPr/>
        </p:nvSpPr>
        <p:spPr>
          <a:xfrm>
            <a:off x="17218385" y="1630810"/>
            <a:ext cx="240940" cy="240936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60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A8F5CB20-4B69-4DBB-5160-C18CCE31C51D}"/>
              </a:ext>
            </a:extLst>
          </p:cNvPr>
          <p:cNvSpPr/>
          <p:nvPr/>
        </p:nvSpPr>
        <p:spPr>
          <a:xfrm>
            <a:off x="17663305" y="11347898"/>
            <a:ext cx="240940" cy="240936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60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5FADBB03-07D7-D006-1EAB-9ACB5BCD2CD7}"/>
              </a:ext>
            </a:extLst>
          </p:cNvPr>
          <p:cNvSpPr/>
          <p:nvPr/>
        </p:nvSpPr>
        <p:spPr>
          <a:xfrm>
            <a:off x="3298959" y="11163930"/>
            <a:ext cx="240940" cy="240936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60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245B6101-D8A9-2685-69DD-41D867A7A760}"/>
              </a:ext>
            </a:extLst>
          </p:cNvPr>
          <p:cNvSpPr/>
          <p:nvPr/>
        </p:nvSpPr>
        <p:spPr>
          <a:xfrm flipH="1">
            <a:off x="7551372" y="2215785"/>
            <a:ext cx="9284426" cy="9284426"/>
          </a:xfrm>
          <a:custGeom>
            <a:avLst/>
            <a:gdLst>
              <a:gd name="connsiteX0" fmla="*/ 2910118 w 2910117"/>
              <a:gd name="connsiteY0" fmla="*/ 1455059 h 2910117"/>
              <a:gd name="connsiteX1" fmla="*/ 1455059 w 2910117"/>
              <a:gd name="connsiteY1" fmla="*/ 2910118 h 2910117"/>
              <a:gd name="connsiteX2" fmla="*/ 0 w 2910117"/>
              <a:gd name="connsiteY2" fmla="*/ 1455059 h 2910117"/>
              <a:gd name="connsiteX3" fmla="*/ 1455059 w 2910117"/>
              <a:gd name="connsiteY3" fmla="*/ 0 h 2910117"/>
              <a:gd name="connsiteX4" fmla="*/ 2910118 w 2910117"/>
              <a:gd name="connsiteY4" fmla="*/ 1455059 h 2910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10117" h="2910117">
                <a:moveTo>
                  <a:pt x="2910118" y="1455059"/>
                </a:moveTo>
                <a:cubicBezTo>
                  <a:pt x="2910118" y="2258666"/>
                  <a:pt x="2258666" y="2910118"/>
                  <a:pt x="1455059" y="2910118"/>
                </a:cubicBezTo>
                <a:cubicBezTo>
                  <a:pt x="651452" y="2910118"/>
                  <a:pt x="0" y="2258666"/>
                  <a:pt x="0" y="1455059"/>
                </a:cubicBezTo>
                <a:cubicBezTo>
                  <a:pt x="0" y="651452"/>
                  <a:pt x="651452" y="0"/>
                  <a:pt x="1455059" y="0"/>
                </a:cubicBezTo>
                <a:cubicBezTo>
                  <a:pt x="2258666" y="0"/>
                  <a:pt x="2910118" y="651452"/>
                  <a:pt x="2910118" y="1455059"/>
                </a:cubicBezTo>
                <a:close/>
              </a:path>
            </a:pathLst>
          </a:custGeom>
          <a:gradFill>
            <a:gsLst>
              <a:gs pos="0">
                <a:schemeClr val="bg1"/>
              </a:gs>
              <a:gs pos="85000">
                <a:schemeClr val="bg1"/>
              </a:gs>
            </a:gsLst>
            <a:path path="circle">
              <a:fillToRect l="50000" t="50000" r="50000" b="50000"/>
            </a:path>
          </a:gradFill>
          <a:ln w="12700" cap="flat">
            <a:noFill/>
            <a:prstDash val="solid"/>
            <a:miter/>
          </a:ln>
          <a:effectLst>
            <a:outerShdw blurRad="444500" dist="190500" dir="5400000" algn="t" rotWithShape="0">
              <a:prstClr val="black">
                <a:alpha val="10000"/>
              </a:prstClr>
            </a:outerShdw>
          </a:effectLst>
        </p:spPr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 sz="360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623C27D-FC72-26CE-0F62-B0690474C179}"/>
              </a:ext>
            </a:extLst>
          </p:cNvPr>
          <p:cNvGrpSpPr/>
          <p:nvPr/>
        </p:nvGrpSpPr>
        <p:grpSpPr>
          <a:xfrm>
            <a:off x="-35558413" y="-40894000"/>
            <a:ext cx="95504000" cy="95504000"/>
            <a:chOff x="-116114" y="-2783114"/>
            <a:chExt cx="12424228" cy="12424228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1ED418F8-CE1F-8279-FD09-819D0F56A391}"/>
                </a:ext>
              </a:extLst>
            </p:cNvPr>
            <p:cNvSpPr/>
            <p:nvPr/>
          </p:nvSpPr>
          <p:spPr>
            <a:xfrm>
              <a:off x="-116114" y="-2783114"/>
              <a:ext cx="12424228" cy="12424228"/>
            </a:xfrm>
            <a:custGeom>
              <a:avLst/>
              <a:gdLst>
                <a:gd name="connsiteX0" fmla="*/ 7788517 w 7788516"/>
                <a:gd name="connsiteY0" fmla="*/ 3894258 h 7788516"/>
                <a:gd name="connsiteX1" fmla="*/ 3894258 w 7788516"/>
                <a:gd name="connsiteY1" fmla="*/ 7788517 h 7788516"/>
                <a:gd name="connsiteX2" fmla="*/ 0 w 7788516"/>
                <a:gd name="connsiteY2" fmla="*/ 3894258 h 7788516"/>
                <a:gd name="connsiteX3" fmla="*/ 3894258 w 7788516"/>
                <a:gd name="connsiteY3" fmla="*/ 0 h 7788516"/>
                <a:gd name="connsiteX4" fmla="*/ 7788517 w 7788516"/>
                <a:gd name="connsiteY4" fmla="*/ 3894258 h 7788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88516" h="7788516">
                  <a:moveTo>
                    <a:pt x="7788517" y="3894258"/>
                  </a:moveTo>
                  <a:cubicBezTo>
                    <a:pt x="7788517" y="6044998"/>
                    <a:pt x="6044998" y="7788517"/>
                    <a:pt x="3894258" y="7788517"/>
                  </a:cubicBezTo>
                  <a:cubicBezTo>
                    <a:pt x="1743519" y="7788517"/>
                    <a:pt x="0" y="6044998"/>
                    <a:pt x="0" y="3894258"/>
                  </a:cubicBezTo>
                  <a:cubicBezTo>
                    <a:pt x="0" y="1743519"/>
                    <a:pt x="1743519" y="0"/>
                    <a:pt x="3894258" y="0"/>
                  </a:cubicBezTo>
                  <a:cubicBezTo>
                    <a:pt x="6044998" y="0"/>
                    <a:pt x="7788517" y="1743519"/>
                    <a:pt x="7788517" y="3894258"/>
                  </a:cubicBezTo>
                  <a:close/>
                </a:path>
              </a:pathLst>
            </a:custGeom>
            <a:noFill/>
            <a:ln w="12700" cap="flat"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10000"/>
                    </a:schemeClr>
                  </a:gs>
                </a:gsLst>
                <a:lin ang="5400000" scaled="1"/>
              </a:gradFill>
              <a:prstDash val="solid"/>
              <a:miter/>
            </a:ln>
            <a:effectLst>
              <a:outerShdw blurRad="444500" dist="190500" dir="5400000" algn="t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3600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EE879F98-1E52-C717-CB5B-AE86450CB5AE}"/>
                </a:ext>
              </a:extLst>
            </p:cNvPr>
            <p:cNvSpPr/>
            <p:nvPr/>
          </p:nvSpPr>
          <p:spPr>
            <a:xfrm>
              <a:off x="1180889" y="-1486112"/>
              <a:ext cx="9830223" cy="9830223"/>
            </a:xfrm>
            <a:custGeom>
              <a:avLst/>
              <a:gdLst>
                <a:gd name="connsiteX0" fmla="*/ 6162384 w 6162383"/>
                <a:gd name="connsiteY0" fmla="*/ 3081192 h 6162383"/>
                <a:gd name="connsiteX1" fmla="*/ 3081192 w 6162383"/>
                <a:gd name="connsiteY1" fmla="*/ 6162384 h 6162383"/>
                <a:gd name="connsiteX2" fmla="*/ 0 w 6162383"/>
                <a:gd name="connsiteY2" fmla="*/ 3081192 h 6162383"/>
                <a:gd name="connsiteX3" fmla="*/ 3081192 w 6162383"/>
                <a:gd name="connsiteY3" fmla="*/ 0 h 6162383"/>
                <a:gd name="connsiteX4" fmla="*/ 6162384 w 6162383"/>
                <a:gd name="connsiteY4" fmla="*/ 3081192 h 6162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62383" h="6162383">
                  <a:moveTo>
                    <a:pt x="6162384" y="3081192"/>
                  </a:moveTo>
                  <a:cubicBezTo>
                    <a:pt x="6162384" y="4782887"/>
                    <a:pt x="4782887" y="6162384"/>
                    <a:pt x="3081192" y="6162384"/>
                  </a:cubicBezTo>
                  <a:cubicBezTo>
                    <a:pt x="1379497" y="6162384"/>
                    <a:pt x="0" y="4782887"/>
                    <a:pt x="0" y="3081192"/>
                  </a:cubicBezTo>
                  <a:cubicBezTo>
                    <a:pt x="0" y="1379497"/>
                    <a:pt x="1379497" y="0"/>
                    <a:pt x="3081192" y="0"/>
                  </a:cubicBezTo>
                  <a:cubicBezTo>
                    <a:pt x="4782887" y="0"/>
                    <a:pt x="6162384" y="1379497"/>
                    <a:pt x="6162384" y="3081192"/>
                  </a:cubicBezTo>
                  <a:close/>
                </a:path>
              </a:pathLst>
            </a:custGeom>
            <a:noFill/>
            <a:ln w="12700" cap="flat"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10000"/>
                    </a:schemeClr>
                  </a:gs>
                </a:gsLst>
                <a:lin ang="5400000" scaled="1"/>
              </a:gradFill>
              <a:prstDash val="solid"/>
              <a:miter/>
            </a:ln>
            <a:effectLst>
              <a:outerShdw blurRad="444500" dist="190500" dir="5400000" algn="t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360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AF1BAF94-39AF-0AB0-AE8B-9654F80CFC27}"/>
                </a:ext>
              </a:extLst>
            </p:cNvPr>
            <p:cNvSpPr/>
            <p:nvPr/>
          </p:nvSpPr>
          <p:spPr>
            <a:xfrm>
              <a:off x="2477892" y="-189109"/>
              <a:ext cx="7236219" cy="7236219"/>
            </a:xfrm>
            <a:custGeom>
              <a:avLst/>
              <a:gdLst>
                <a:gd name="connsiteX0" fmla="*/ 4536251 w 4536250"/>
                <a:gd name="connsiteY0" fmla="*/ 2268125 h 4536250"/>
                <a:gd name="connsiteX1" fmla="*/ 2268125 w 4536250"/>
                <a:gd name="connsiteY1" fmla="*/ 4536251 h 4536250"/>
                <a:gd name="connsiteX2" fmla="*/ 0 w 4536250"/>
                <a:gd name="connsiteY2" fmla="*/ 2268125 h 4536250"/>
                <a:gd name="connsiteX3" fmla="*/ 2268125 w 4536250"/>
                <a:gd name="connsiteY3" fmla="*/ 0 h 4536250"/>
                <a:gd name="connsiteX4" fmla="*/ 4536251 w 4536250"/>
                <a:gd name="connsiteY4" fmla="*/ 2268125 h 453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36250" h="4536250">
                  <a:moveTo>
                    <a:pt x="4536251" y="2268125"/>
                  </a:moveTo>
                  <a:cubicBezTo>
                    <a:pt x="4536251" y="3520777"/>
                    <a:pt x="3520776" y="4536251"/>
                    <a:pt x="2268125" y="4536251"/>
                  </a:cubicBezTo>
                  <a:cubicBezTo>
                    <a:pt x="1015474" y="4536251"/>
                    <a:pt x="0" y="3520776"/>
                    <a:pt x="0" y="2268125"/>
                  </a:cubicBezTo>
                  <a:cubicBezTo>
                    <a:pt x="0" y="1015474"/>
                    <a:pt x="1015474" y="0"/>
                    <a:pt x="2268125" y="0"/>
                  </a:cubicBezTo>
                  <a:cubicBezTo>
                    <a:pt x="3520777" y="0"/>
                    <a:pt x="4536251" y="1015474"/>
                    <a:pt x="4536251" y="2268125"/>
                  </a:cubicBezTo>
                  <a:close/>
                </a:path>
              </a:pathLst>
            </a:custGeom>
            <a:noFill/>
            <a:ln w="12700" cap="flat"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10000"/>
                    </a:schemeClr>
                  </a:gs>
                </a:gsLst>
                <a:lin ang="5400000" scaled="1"/>
              </a:gradFill>
              <a:prstDash val="solid"/>
              <a:miter/>
            </a:ln>
            <a:effectLst>
              <a:outerShdw blurRad="444500" dist="190500" dir="5400000" algn="t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360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C03E98EC-0EF4-B109-CE1C-2AFFE8976F25}"/>
                </a:ext>
              </a:extLst>
            </p:cNvPr>
            <p:cNvSpPr/>
            <p:nvPr/>
          </p:nvSpPr>
          <p:spPr>
            <a:xfrm>
              <a:off x="3774892" y="1107892"/>
              <a:ext cx="4642213" cy="4642213"/>
            </a:xfrm>
            <a:custGeom>
              <a:avLst/>
              <a:gdLst>
                <a:gd name="connsiteX0" fmla="*/ 2910118 w 2910117"/>
                <a:gd name="connsiteY0" fmla="*/ 1455059 h 2910117"/>
                <a:gd name="connsiteX1" fmla="*/ 1455059 w 2910117"/>
                <a:gd name="connsiteY1" fmla="*/ 2910118 h 2910117"/>
                <a:gd name="connsiteX2" fmla="*/ 0 w 2910117"/>
                <a:gd name="connsiteY2" fmla="*/ 1455059 h 2910117"/>
                <a:gd name="connsiteX3" fmla="*/ 1455059 w 2910117"/>
                <a:gd name="connsiteY3" fmla="*/ 0 h 2910117"/>
                <a:gd name="connsiteX4" fmla="*/ 2910118 w 2910117"/>
                <a:gd name="connsiteY4" fmla="*/ 1455059 h 291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10117" h="2910117">
                  <a:moveTo>
                    <a:pt x="2910118" y="1455059"/>
                  </a:moveTo>
                  <a:cubicBezTo>
                    <a:pt x="2910118" y="2258666"/>
                    <a:pt x="2258666" y="2910118"/>
                    <a:pt x="1455059" y="2910118"/>
                  </a:cubicBezTo>
                  <a:cubicBezTo>
                    <a:pt x="651452" y="2910118"/>
                    <a:pt x="0" y="2258666"/>
                    <a:pt x="0" y="1455059"/>
                  </a:cubicBezTo>
                  <a:cubicBezTo>
                    <a:pt x="0" y="651452"/>
                    <a:pt x="651452" y="0"/>
                    <a:pt x="1455059" y="0"/>
                  </a:cubicBezTo>
                  <a:cubicBezTo>
                    <a:pt x="2258666" y="0"/>
                    <a:pt x="2910118" y="651452"/>
                    <a:pt x="2910118" y="1455059"/>
                  </a:cubicBezTo>
                  <a:close/>
                </a:path>
              </a:pathLst>
            </a:custGeom>
            <a:noFill/>
            <a:ln w="12700" cap="flat"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10000"/>
                    </a:schemeClr>
                  </a:gs>
                </a:gsLst>
                <a:lin ang="5400000" scaled="1"/>
              </a:gradFill>
              <a:prstDash val="solid"/>
              <a:miter/>
            </a:ln>
            <a:effectLst>
              <a:outerShdw blurRad="444500" dist="190500" dir="5400000" algn="t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3600"/>
            </a:p>
          </p:txBody>
        </p:sp>
      </p:grpSp>
      <p:sp>
        <p:nvSpPr>
          <p:cNvPr id="7" name="Freeform: Shape 30">
            <a:extLst>
              <a:ext uri="{FF2B5EF4-FFF2-40B4-BE49-F238E27FC236}">
                <a16:creationId xmlns:a16="http://schemas.microsoft.com/office/drawing/2014/main" id="{55155B28-38B4-C133-F74C-501ADBDD7746}"/>
              </a:ext>
            </a:extLst>
          </p:cNvPr>
          <p:cNvSpPr/>
          <p:nvPr/>
        </p:nvSpPr>
        <p:spPr>
          <a:xfrm>
            <a:off x="9037470" y="3701883"/>
            <a:ext cx="6312233" cy="6312233"/>
          </a:xfrm>
          <a:custGeom>
            <a:avLst/>
            <a:gdLst>
              <a:gd name="connsiteX0" fmla="*/ 2910118 w 2910117"/>
              <a:gd name="connsiteY0" fmla="*/ 1455059 h 2910117"/>
              <a:gd name="connsiteX1" fmla="*/ 1455059 w 2910117"/>
              <a:gd name="connsiteY1" fmla="*/ 2910118 h 2910117"/>
              <a:gd name="connsiteX2" fmla="*/ 0 w 2910117"/>
              <a:gd name="connsiteY2" fmla="*/ 1455059 h 2910117"/>
              <a:gd name="connsiteX3" fmla="*/ 1455059 w 2910117"/>
              <a:gd name="connsiteY3" fmla="*/ 0 h 2910117"/>
              <a:gd name="connsiteX4" fmla="*/ 2910118 w 2910117"/>
              <a:gd name="connsiteY4" fmla="*/ 1455059 h 2910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10117" h="2910117">
                <a:moveTo>
                  <a:pt x="2910118" y="1455059"/>
                </a:moveTo>
                <a:cubicBezTo>
                  <a:pt x="2910118" y="2258666"/>
                  <a:pt x="2258666" y="2910118"/>
                  <a:pt x="1455059" y="2910118"/>
                </a:cubicBezTo>
                <a:cubicBezTo>
                  <a:pt x="651452" y="2910118"/>
                  <a:pt x="0" y="2258666"/>
                  <a:pt x="0" y="1455059"/>
                </a:cubicBezTo>
                <a:cubicBezTo>
                  <a:pt x="0" y="651452"/>
                  <a:pt x="651452" y="0"/>
                  <a:pt x="1455059" y="0"/>
                </a:cubicBezTo>
                <a:cubicBezTo>
                  <a:pt x="2258666" y="0"/>
                  <a:pt x="2910118" y="651452"/>
                  <a:pt x="2910118" y="1455059"/>
                </a:cubicBezTo>
                <a:close/>
              </a:path>
            </a:pathLst>
          </a:custGeom>
          <a:solidFill>
            <a:schemeClr val="bg2"/>
          </a:solidFill>
          <a:ln w="12700" cap="flat">
            <a:noFill/>
            <a:prstDash val="solid"/>
            <a:miter/>
          </a:ln>
          <a:effectLst>
            <a:outerShdw blurRad="444500" dist="190500" dir="5400000" algn="t" rotWithShape="0">
              <a:prstClr val="black">
                <a:alpha val="10000"/>
              </a:prstClr>
            </a:outerShdw>
          </a:effectLst>
        </p:spPr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 sz="3600"/>
          </a:p>
        </p:txBody>
      </p:sp>
      <p:grpSp>
        <p:nvGrpSpPr>
          <p:cNvPr id="8" name="Graphic 29">
            <a:extLst>
              <a:ext uri="{FF2B5EF4-FFF2-40B4-BE49-F238E27FC236}">
                <a16:creationId xmlns:a16="http://schemas.microsoft.com/office/drawing/2014/main" id="{6998194D-2801-AA41-E623-3C42796D7E52}"/>
              </a:ext>
            </a:extLst>
          </p:cNvPr>
          <p:cNvGrpSpPr/>
          <p:nvPr/>
        </p:nvGrpSpPr>
        <p:grpSpPr>
          <a:xfrm>
            <a:off x="11233466" y="4658706"/>
            <a:ext cx="2257119" cy="4232847"/>
            <a:chOff x="1502100" y="653619"/>
            <a:chExt cx="2035484" cy="3817207"/>
          </a:xfrm>
          <a:solidFill>
            <a:schemeClr val="bg1"/>
          </a:solidFill>
        </p:grpSpPr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139F3B4D-8FA8-6646-D368-52996D5FFF4B}"/>
                </a:ext>
              </a:extLst>
            </p:cNvPr>
            <p:cNvSpPr/>
            <p:nvPr/>
          </p:nvSpPr>
          <p:spPr>
            <a:xfrm>
              <a:off x="1502100" y="653619"/>
              <a:ext cx="2035484" cy="3817207"/>
            </a:xfrm>
            <a:custGeom>
              <a:avLst/>
              <a:gdLst>
                <a:gd name="connsiteX0" fmla="*/ 1775452 w 2035484"/>
                <a:gd name="connsiteY0" fmla="*/ 2695942 h 3817207"/>
                <a:gd name="connsiteX1" fmla="*/ 1556377 w 2035484"/>
                <a:gd name="connsiteY1" fmla="*/ 2695942 h 3817207"/>
                <a:gd name="connsiteX2" fmla="*/ 1516372 w 2035484"/>
                <a:gd name="connsiteY2" fmla="*/ 2664509 h 3817207"/>
                <a:gd name="connsiteX3" fmla="*/ 1423027 w 2035484"/>
                <a:gd name="connsiteY3" fmla="*/ 2477819 h 3817207"/>
                <a:gd name="connsiteX4" fmla="*/ 1031549 w 2035484"/>
                <a:gd name="connsiteY4" fmla="*/ 2283509 h 3817207"/>
                <a:gd name="connsiteX5" fmla="*/ 508627 w 2035484"/>
                <a:gd name="connsiteY5" fmla="*/ 2785477 h 3817207"/>
                <a:gd name="connsiteX6" fmla="*/ 1010594 w 2035484"/>
                <a:gd name="connsiteY6" fmla="*/ 3308399 h 3817207"/>
                <a:gd name="connsiteX7" fmla="*/ 1515419 w 2035484"/>
                <a:gd name="connsiteY7" fmla="*/ 2931209 h 3817207"/>
                <a:gd name="connsiteX8" fmla="*/ 1518277 w 2035484"/>
                <a:gd name="connsiteY8" fmla="*/ 2917874 h 3817207"/>
                <a:gd name="connsiteX9" fmla="*/ 1546852 w 2035484"/>
                <a:gd name="connsiteY9" fmla="*/ 2895967 h 3817207"/>
                <a:gd name="connsiteX10" fmla="*/ 1985955 w 2035484"/>
                <a:gd name="connsiteY10" fmla="*/ 2895967 h 3817207"/>
                <a:gd name="connsiteX11" fmla="*/ 2022149 w 2035484"/>
                <a:gd name="connsiteY11" fmla="*/ 2895967 h 3817207"/>
                <a:gd name="connsiteX12" fmla="*/ 2035484 w 2035484"/>
                <a:gd name="connsiteY12" fmla="*/ 2909302 h 3817207"/>
                <a:gd name="connsiteX13" fmla="*/ 2035484 w 2035484"/>
                <a:gd name="connsiteY13" fmla="*/ 2912159 h 3817207"/>
                <a:gd name="connsiteX14" fmla="*/ 2033580 w 2035484"/>
                <a:gd name="connsiteY14" fmla="*/ 2935019 h 3817207"/>
                <a:gd name="connsiteX15" fmla="*/ 1294440 w 2035484"/>
                <a:gd name="connsiteY15" fmla="*/ 3779887 h 3817207"/>
                <a:gd name="connsiteX16" fmla="*/ 37139 w 2035484"/>
                <a:gd name="connsiteY16" fmla="*/ 3068369 h 3817207"/>
                <a:gd name="connsiteX17" fmla="*/ 65714 w 2035484"/>
                <a:gd name="connsiteY17" fmla="*/ 2434004 h 3817207"/>
                <a:gd name="connsiteX18" fmla="*/ 315269 w 2035484"/>
                <a:gd name="connsiteY18" fmla="*/ 1756777 h 3817207"/>
                <a:gd name="connsiteX19" fmla="*/ 944872 w 2035484"/>
                <a:gd name="connsiteY19" fmla="*/ 42277 h 3817207"/>
                <a:gd name="connsiteX20" fmla="*/ 1009642 w 2035484"/>
                <a:gd name="connsiteY20" fmla="*/ 20369 h 3817207"/>
                <a:gd name="connsiteX21" fmla="*/ 1340159 w 2035484"/>
                <a:gd name="connsiteY21" fmla="*/ 531862 h 3817207"/>
                <a:gd name="connsiteX22" fmla="*/ 1266817 w 2035484"/>
                <a:gd name="connsiteY22" fmla="*/ 1033829 h 3817207"/>
                <a:gd name="connsiteX23" fmla="*/ 929632 w 2035484"/>
                <a:gd name="connsiteY23" fmla="*/ 1708199 h 3817207"/>
                <a:gd name="connsiteX24" fmla="*/ 906772 w 2035484"/>
                <a:gd name="connsiteY24" fmla="*/ 1752967 h 3817207"/>
                <a:gd name="connsiteX25" fmla="*/ 923917 w 2035484"/>
                <a:gd name="connsiteY25" fmla="*/ 1779637 h 3817207"/>
                <a:gd name="connsiteX26" fmla="*/ 1038217 w 2035484"/>
                <a:gd name="connsiteY26" fmla="*/ 1776779 h 3817207"/>
                <a:gd name="connsiteX27" fmla="*/ 1658294 w 2035484"/>
                <a:gd name="connsiteY27" fmla="*/ 1999664 h 3817207"/>
                <a:gd name="connsiteX28" fmla="*/ 2023102 w 2035484"/>
                <a:gd name="connsiteY28" fmla="*/ 2599739 h 3817207"/>
                <a:gd name="connsiteX29" fmla="*/ 2034532 w 2035484"/>
                <a:gd name="connsiteY29" fmla="*/ 2672129 h 3817207"/>
                <a:gd name="connsiteX30" fmla="*/ 2013577 w 2035484"/>
                <a:gd name="connsiteY30" fmla="*/ 2697847 h 3817207"/>
                <a:gd name="connsiteX31" fmla="*/ 1774499 w 2035484"/>
                <a:gd name="connsiteY31" fmla="*/ 2697847 h 3817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035484" h="3817207">
                  <a:moveTo>
                    <a:pt x="1775452" y="2695942"/>
                  </a:moveTo>
                  <a:lnTo>
                    <a:pt x="1556377" y="2695942"/>
                  </a:lnTo>
                  <a:cubicBezTo>
                    <a:pt x="1525897" y="2695942"/>
                    <a:pt x="1524944" y="2695942"/>
                    <a:pt x="1516372" y="2664509"/>
                  </a:cubicBezTo>
                  <a:cubicBezTo>
                    <a:pt x="1499227" y="2595929"/>
                    <a:pt x="1466842" y="2533064"/>
                    <a:pt x="1423027" y="2477819"/>
                  </a:cubicBezTo>
                  <a:cubicBezTo>
                    <a:pt x="1322062" y="2353994"/>
                    <a:pt x="1191569" y="2287319"/>
                    <a:pt x="1031549" y="2283509"/>
                  </a:cubicBezTo>
                  <a:cubicBezTo>
                    <a:pt x="748657" y="2277794"/>
                    <a:pt x="514342" y="2502584"/>
                    <a:pt x="508627" y="2785477"/>
                  </a:cubicBezTo>
                  <a:cubicBezTo>
                    <a:pt x="502912" y="3068369"/>
                    <a:pt x="727702" y="3302684"/>
                    <a:pt x="1010594" y="3308399"/>
                  </a:cubicBezTo>
                  <a:cubicBezTo>
                    <a:pt x="1244909" y="3313162"/>
                    <a:pt x="1453507" y="3157904"/>
                    <a:pt x="1515419" y="2931209"/>
                  </a:cubicBezTo>
                  <a:cubicBezTo>
                    <a:pt x="1516372" y="2926447"/>
                    <a:pt x="1517324" y="2922637"/>
                    <a:pt x="1518277" y="2917874"/>
                  </a:cubicBezTo>
                  <a:cubicBezTo>
                    <a:pt x="1523992" y="2897872"/>
                    <a:pt x="1525897" y="2895967"/>
                    <a:pt x="1546852" y="2895967"/>
                  </a:cubicBezTo>
                  <a:lnTo>
                    <a:pt x="1985955" y="2895967"/>
                  </a:lnTo>
                  <a:cubicBezTo>
                    <a:pt x="1998337" y="2895967"/>
                    <a:pt x="2009767" y="2895967"/>
                    <a:pt x="2022149" y="2895967"/>
                  </a:cubicBezTo>
                  <a:cubicBezTo>
                    <a:pt x="2029769" y="2895967"/>
                    <a:pt x="2035484" y="2901682"/>
                    <a:pt x="2035484" y="2909302"/>
                  </a:cubicBezTo>
                  <a:cubicBezTo>
                    <a:pt x="2035484" y="2909302"/>
                    <a:pt x="2035484" y="2911207"/>
                    <a:pt x="2035484" y="2912159"/>
                  </a:cubicBezTo>
                  <a:cubicBezTo>
                    <a:pt x="2035484" y="2919779"/>
                    <a:pt x="2035484" y="2927399"/>
                    <a:pt x="2033580" y="2935019"/>
                  </a:cubicBezTo>
                  <a:cubicBezTo>
                    <a:pt x="1976430" y="3339832"/>
                    <a:pt x="1688774" y="3672254"/>
                    <a:pt x="1294440" y="3779887"/>
                  </a:cubicBezTo>
                  <a:cubicBezTo>
                    <a:pt x="750562" y="3930382"/>
                    <a:pt x="187634" y="3612247"/>
                    <a:pt x="37139" y="3068369"/>
                  </a:cubicBezTo>
                  <a:cubicBezTo>
                    <a:pt x="-20963" y="2858819"/>
                    <a:pt x="-10486" y="2636887"/>
                    <a:pt x="65714" y="2434004"/>
                  </a:cubicBezTo>
                  <a:cubicBezTo>
                    <a:pt x="148582" y="2208262"/>
                    <a:pt x="232402" y="1982519"/>
                    <a:pt x="315269" y="1756777"/>
                  </a:cubicBezTo>
                  <a:cubicBezTo>
                    <a:pt x="524819" y="1185277"/>
                    <a:pt x="735322" y="613777"/>
                    <a:pt x="944872" y="42277"/>
                  </a:cubicBezTo>
                  <a:cubicBezTo>
                    <a:pt x="963922" y="-9158"/>
                    <a:pt x="965827" y="-10111"/>
                    <a:pt x="1009642" y="20369"/>
                  </a:cubicBezTo>
                  <a:cubicBezTo>
                    <a:pt x="1189665" y="146099"/>
                    <a:pt x="1301107" y="316597"/>
                    <a:pt x="1340159" y="531862"/>
                  </a:cubicBezTo>
                  <a:cubicBezTo>
                    <a:pt x="1372544" y="702359"/>
                    <a:pt x="1346827" y="879524"/>
                    <a:pt x="1266817" y="1033829"/>
                  </a:cubicBezTo>
                  <a:cubicBezTo>
                    <a:pt x="1154422" y="1258619"/>
                    <a:pt x="1041074" y="1483409"/>
                    <a:pt x="929632" y="1708199"/>
                  </a:cubicBezTo>
                  <a:cubicBezTo>
                    <a:pt x="922012" y="1723439"/>
                    <a:pt x="914392" y="1737727"/>
                    <a:pt x="906772" y="1752967"/>
                  </a:cubicBezTo>
                  <a:cubicBezTo>
                    <a:pt x="897247" y="1774874"/>
                    <a:pt x="901057" y="1780589"/>
                    <a:pt x="923917" y="1779637"/>
                  </a:cubicBezTo>
                  <a:cubicBezTo>
                    <a:pt x="962017" y="1778684"/>
                    <a:pt x="1000117" y="1775827"/>
                    <a:pt x="1038217" y="1776779"/>
                  </a:cubicBezTo>
                  <a:cubicBezTo>
                    <a:pt x="1263959" y="1778684"/>
                    <a:pt x="1483034" y="1856789"/>
                    <a:pt x="1658294" y="1999664"/>
                  </a:cubicBezTo>
                  <a:cubicBezTo>
                    <a:pt x="1852605" y="2154922"/>
                    <a:pt x="1972619" y="2356852"/>
                    <a:pt x="2023102" y="2599739"/>
                  </a:cubicBezTo>
                  <a:cubicBezTo>
                    <a:pt x="2027865" y="2623552"/>
                    <a:pt x="2031674" y="2647364"/>
                    <a:pt x="2034532" y="2672129"/>
                  </a:cubicBezTo>
                  <a:cubicBezTo>
                    <a:pt x="2037390" y="2692132"/>
                    <a:pt x="2032627" y="2696894"/>
                    <a:pt x="2013577" y="2697847"/>
                  </a:cubicBezTo>
                  <a:lnTo>
                    <a:pt x="1774499" y="269784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8D19E80-EFE1-0F8B-FF61-C4539B3703A6}"/>
                </a:ext>
              </a:extLst>
            </p:cNvPr>
            <p:cNvSpPr/>
            <p:nvPr/>
          </p:nvSpPr>
          <p:spPr>
            <a:xfrm>
              <a:off x="1503045" y="1064002"/>
              <a:ext cx="291914" cy="1722631"/>
            </a:xfrm>
            <a:custGeom>
              <a:avLst/>
              <a:gdLst>
                <a:gd name="connsiteX0" fmla="*/ 952 w 291914"/>
                <a:gd name="connsiteY0" fmla="*/ 1722632 h 1722631"/>
                <a:gd name="connsiteX1" fmla="*/ 952 w 291914"/>
                <a:gd name="connsiteY1" fmla="*/ 1374969 h 1722631"/>
                <a:gd name="connsiteX2" fmla="*/ 952 w 291914"/>
                <a:gd name="connsiteY2" fmla="*/ 1342584 h 1722631"/>
                <a:gd name="connsiteX3" fmla="*/ 3810 w 291914"/>
                <a:gd name="connsiteY3" fmla="*/ 465331 h 1722631"/>
                <a:gd name="connsiteX4" fmla="*/ 3810 w 291914"/>
                <a:gd name="connsiteY4" fmla="*/ 40516 h 1722631"/>
                <a:gd name="connsiteX5" fmla="*/ 48577 w 291914"/>
                <a:gd name="connsiteY5" fmla="*/ 4321 h 1722631"/>
                <a:gd name="connsiteX6" fmla="*/ 271463 w 291914"/>
                <a:gd name="connsiteY6" fmla="*/ 96714 h 1722631"/>
                <a:gd name="connsiteX7" fmla="*/ 290513 w 291914"/>
                <a:gd name="connsiteY7" fmla="*/ 136719 h 1722631"/>
                <a:gd name="connsiteX8" fmla="*/ 211455 w 291914"/>
                <a:gd name="connsiteY8" fmla="*/ 576774 h 1722631"/>
                <a:gd name="connsiteX9" fmla="*/ 122872 w 291914"/>
                <a:gd name="connsiteY9" fmla="*/ 1071122 h 1722631"/>
                <a:gd name="connsiteX10" fmla="*/ 16192 w 291914"/>
                <a:gd name="connsiteY10" fmla="*/ 1664529 h 1722631"/>
                <a:gd name="connsiteX11" fmla="*/ 0 w 291914"/>
                <a:gd name="connsiteY11" fmla="*/ 1720726 h 1722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1914" h="1722631">
                  <a:moveTo>
                    <a:pt x="952" y="1722632"/>
                  </a:moveTo>
                  <a:lnTo>
                    <a:pt x="952" y="1374969"/>
                  </a:lnTo>
                  <a:cubicBezTo>
                    <a:pt x="952" y="1364491"/>
                    <a:pt x="952" y="1354014"/>
                    <a:pt x="952" y="1342584"/>
                  </a:cubicBezTo>
                  <a:cubicBezTo>
                    <a:pt x="1905" y="1050166"/>
                    <a:pt x="2858" y="757749"/>
                    <a:pt x="3810" y="465331"/>
                  </a:cubicBezTo>
                  <a:cubicBezTo>
                    <a:pt x="3810" y="323409"/>
                    <a:pt x="3810" y="182439"/>
                    <a:pt x="3810" y="40516"/>
                  </a:cubicBezTo>
                  <a:cubicBezTo>
                    <a:pt x="3810" y="-1394"/>
                    <a:pt x="8572" y="-5204"/>
                    <a:pt x="48577" y="4321"/>
                  </a:cubicBezTo>
                  <a:cubicBezTo>
                    <a:pt x="126683" y="24324"/>
                    <a:pt x="201930" y="54804"/>
                    <a:pt x="271463" y="96714"/>
                  </a:cubicBezTo>
                  <a:cubicBezTo>
                    <a:pt x="287655" y="103381"/>
                    <a:pt x="295275" y="120527"/>
                    <a:pt x="290513" y="136719"/>
                  </a:cubicBezTo>
                  <a:cubicBezTo>
                    <a:pt x="262890" y="283404"/>
                    <a:pt x="238125" y="430089"/>
                    <a:pt x="211455" y="576774"/>
                  </a:cubicBezTo>
                  <a:cubicBezTo>
                    <a:pt x="181927" y="741557"/>
                    <a:pt x="152400" y="906339"/>
                    <a:pt x="122872" y="1071122"/>
                  </a:cubicBezTo>
                  <a:cubicBezTo>
                    <a:pt x="87630" y="1269241"/>
                    <a:pt x="51435" y="1466409"/>
                    <a:pt x="16192" y="1664529"/>
                  </a:cubicBezTo>
                  <a:cubicBezTo>
                    <a:pt x="12383" y="1681674"/>
                    <a:pt x="10477" y="1692151"/>
                    <a:pt x="0" y="17207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3B7B53FD-6C1F-F9A7-5C63-1FBA54D0894B}"/>
                </a:ext>
              </a:extLst>
            </p:cNvPr>
            <p:cNvSpPr/>
            <p:nvPr/>
          </p:nvSpPr>
          <p:spPr>
            <a:xfrm>
              <a:off x="1683067" y="817105"/>
              <a:ext cx="541936" cy="1609483"/>
            </a:xfrm>
            <a:custGeom>
              <a:avLst/>
              <a:gdLst>
                <a:gd name="connsiteX0" fmla="*/ 953 w 541936"/>
                <a:gd name="connsiteY0" fmla="*/ 1608531 h 1609483"/>
                <a:gd name="connsiteX1" fmla="*/ 89535 w 541936"/>
                <a:gd name="connsiteY1" fmla="*/ 1138949 h 1609483"/>
                <a:gd name="connsiteX2" fmla="*/ 224790 w 541936"/>
                <a:gd name="connsiteY2" fmla="*/ 384568 h 1609483"/>
                <a:gd name="connsiteX3" fmla="*/ 285750 w 541936"/>
                <a:gd name="connsiteY3" fmla="*/ 43573 h 1609483"/>
                <a:gd name="connsiteX4" fmla="*/ 342900 w 541936"/>
                <a:gd name="connsiteY4" fmla="*/ 13093 h 1609483"/>
                <a:gd name="connsiteX5" fmla="*/ 521017 w 541936"/>
                <a:gd name="connsiteY5" fmla="*/ 123583 h 1609483"/>
                <a:gd name="connsiteX6" fmla="*/ 535305 w 541936"/>
                <a:gd name="connsiteY6" fmla="*/ 173113 h 1609483"/>
                <a:gd name="connsiteX7" fmla="*/ 456248 w 541936"/>
                <a:gd name="connsiteY7" fmla="*/ 387426 h 1609483"/>
                <a:gd name="connsiteX8" fmla="*/ 200025 w 541936"/>
                <a:gd name="connsiteY8" fmla="*/ 1085608 h 1609483"/>
                <a:gd name="connsiteX9" fmla="*/ 35242 w 541936"/>
                <a:gd name="connsiteY9" fmla="*/ 1530426 h 1609483"/>
                <a:gd name="connsiteX10" fmla="*/ 0 w 541936"/>
                <a:gd name="connsiteY10" fmla="*/ 1609483 h 1609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1936" h="1609483">
                  <a:moveTo>
                    <a:pt x="953" y="1608531"/>
                  </a:moveTo>
                  <a:cubicBezTo>
                    <a:pt x="24765" y="1478038"/>
                    <a:pt x="66675" y="1268488"/>
                    <a:pt x="89535" y="1138949"/>
                  </a:cubicBezTo>
                  <a:cubicBezTo>
                    <a:pt x="134303" y="887488"/>
                    <a:pt x="180023" y="636028"/>
                    <a:pt x="224790" y="384568"/>
                  </a:cubicBezTo>
                  <a:cubicBezTo>
                    <a:pt x="244792" y="270268"/>
                    <a:pt x="264795" y="156921"/>
                    <a:pt x="285750" y="43573"/>
                  </a:cubicBezTo>
                  <a:cubicBezTo>
                    <a:pt x="294323" y="-1194"/>
                    <a:pt x="289560" y="-11672"/>
                    <a:pt x="342900" y="13093"/>
                  </a:cubicBezTo>
                  <a:cubicBezTo>
                    <a:pt x="406717" y="41668"/>
                    <a:pt x="466725" y="78816"/>
                    <a:pt x="521017" y="123583"/>
                  </a:cubicBezTo>
                  <a:cubicBezTo>
                    <a:pt x="545783" y="143586"/>
                    <a:pt x="545783" y="144538"/>
                    <a:pt x="535305" y="173113"/>
                  </a:cubicBezTo>
                  <a:cubicBezTo>
                    <a:pt x="509588" y="244551"/>
                    <a:pt x="482917" y="315988"/>
                    <a:pt x="456248" y="387426"/>
                  </a:cubicBezTo>
                  <a:cubicBezTo>
                    <a:pt x="370523" y="619836"/>
                    <a:pt x="284798" y="853199"/>
                    <a:pt x="200025" y="1085608"/>
                  </a:cubicBezTo>
                  <a:cubicBezTo>
                    <a:pt x="145733" y="1234199"/>
                    <a:pt x="90488" y="1382788"/>
                    <a:pt x="35242" y="1530426"/>
                  </a:cubicBezTo>
                  <a:lnTo>
                    <a:pt x="0" y="16094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E37BD8E9-F2F7-28E6-D5A1-4E7F1C5CCFB4}"/>
              </a:ext>
            </a:extLst>
          </p:cNvPr>
          <p:cNvSpPr txBox="1"/>
          <p:nvPr/>
        </p:nvSpPr>
        <p:spPr>
          <a:xfrm>
            <a:off x="6729451" y="22154960"/>
            <a:ext cx="11169212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>
              <a:defRPr/>
            </a:pPr>
            <a:r>
              <a:rPr lang="en-US" sz="9600" b="1" dirty="0">
                <a:solidFill>
                  <a:schemeClr val="bg2"/>
                </a:solidFill>
                <a:latin typeface="Futura Md BT" panose="020B0602020204020303" pitchFamily="34" charset="0"/>
              </a:rPr>
              <a:t>One more thing…</a:t>
            </a:r>
          </a:p>
        </p:txBody>
      </p:sp>
    </p:spTree>
    <p:extLst>
      <p:ext uri="{BB962C8B-B14F-4D97-AF65-F5344CB8AC3E}">
        <p14:creationId xmlns:p14="http://schemas.microsoft.com/office/powerpoint/2010/main" val="75803143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Click="0" advTm="0">
        <p159:morph option="byObject"/>
      </p:transition>
    </mc:Choice>
    <mc:Fallback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40C8C387-8537-A3CC-164F-F83EA5DE97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4763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3" progId="TCLayout.ActiveDocument.1">
                  <p:embed/>
                </p:oleObj>
              </mc:Choice>
              <mc:Fallback>
                <p:oleObj name="think-cell Slide" r:id="rId3" imgW="344" imgH="343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40C8C387-8537-A3CC-164F-F83EA5DE97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763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: Top Corners Rounded 28">
            <a:extLst>
              <a:ext uri="{FF2B5EF4-FFF2-40B4-BE49-F238E27FC236}">
                <a16:creationId xmlns:a16="http://schemas.microsoft.com/office/drawing/2014/main" id="{62D5108F-1D3B-75DD-A776-854232ED703F}"/>
              </a:ext>
            </a:extLst>
          </p:cNvPr>
          <p:cNvSpPr/>
          <p:nvPr/>
        </p:nvSpPr>
        <p:spPr>
          <a:xfrm rot="5400000">
            <a:off x="511129" y="609600"/>
            <a:ext cx="11477716" cy="12496800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100000">
                <a:schemeClr val="bg1">
                  <a:lumMod val="95000"/>
                </a:schemeClr>
              </a:gs>
              <a:gs pos="8000">
                <a:schemeClr val="bg1">
                  <a:lumMod val="95000"/>
                </a:schemeClr>
              </a:gs>
              <a:gs pos="49000">
                <a:schemeClr val="bg2">
                  <a:lumMod val="95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7BA3DD0D-97E1-FDFD-6CBB-DB46B23BC154}"/>
              </a:ext>
            </a:extLst>
          </p:cNvPr>
          <p:cNvGrpSpPr/>
          <p:nvPr/>
        </p:nvGrpSpPr>
        <p:grpSpPr>
          <a:xfrm>
            <a:off x="1601780" y="0"/>
            <a:ext cx="22783810" cy="13716000"/>
            <a:chOff x="800096" y="0"/>
            <a:chExt cx="11391905" cy="6858000"/>
          </a:xfrm>
        </p:grpSpPr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4403691E-7EBE-1DBE-C6BF-E64F783A298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13" t="4220" r="7735" b="4220"/>
            <a:stretch/>
          </p:blipFill>
          <p:spPr>
            <a:xfrm>
              <a:off x="800096" y="0"/>
              <a:ext cx="11391905" cy="6858000"/>
            </a:xfrm>
            <a:custGeom>
              <a:avLst/>
              <a:gdLst>
                <a:gd name="connsiteX0" fmla="*/ 10639049 w 11391905"/>
                <a:gd name="connsiteY0" fmla="*/ 0 h 6858000"/>
                <a:gd name="connsiteX1" fmla="*/ 11391905 w 11391905"/>
                <a:gd name="connsiteY1" fmla="*/ 0 h 6858000"/>
                <a:gd name="connsiteX2" fmla="*/ 11391905 w 11391905"/>
                <a:gd name="connsiteY2" fmla="*/ 6858000 h 6858000"/>
                <a:gd name="connsiteX3" fmla="*/ 10639049 w 11391905"/>
                <a:gd name="connsiteY3" fmla="*/ 6858000 h 6858000"/>
                <a:gd name="connsiteX4" fmla="*/ 9788658 w 11391905"/>
                <a:gd name="connsiteY4" fmla="*/ 6007608 h 6858000"/>
                <a:gd name="connsiteX5" fmla="*/ 2600712 w 11391905"/>
                <a:gd name="connsiteY5" fmla="*/ 6007608 h 6858000"/>
                <a:gd name="connsiteX6" fmla="*/ 5 w 11391905"/>
                <a:gd name="connsiteY6" fmla="*/ 3424175 h 6858000"/>
                <a:gd name="connsiteX7" fmla="*/ 2578613 w 11391905"/>
                <a:gd name="connsiteY7" fmla="*/ 850392 h 6858000"/>
                <a:gd name="connsiteX8" fmla="*/ 9788658 w 11391905"/>
                <a:gd name="connsiteY8" fmla="*/ 850392 h 6858000"/>
                <a:gd name="connsiteX9" fmla="*/ 10639049 w 11391905"/>
                <a:gd name="connsiteY9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391905" h="6858000">
                  <a:moveTo>
                    <a:pt x="10639049" y="0"/>
                  </a:moveTo>
                  <a:lnTo>
                    <a:pt x="11391905" y="0"/>
                  </a:lnTo>
                  <a:lnTo>
                    <a:pt x="11391905" y="6858000"/>
                  </a:lnTo>
                  <a:lnTo>
                    <a:pt x="10639049" y="6858000"/>
                  </a:lnTo>
                  <a:cubicBezTo>
                    <a:pt x="10639049" y="6388355"/>
                    <a:pt x="10258304" y="6007608"/>
                    <a:pt x="9788658" y="6007608"/>
                  </a:cubicBezTo>
                  <a:lnTo>
                    <a:pt x="2600712" y="6007608"/>
                  </a:lnTo>
                  <a:cubicBezTo>
                    <a:pt x="1179709" y="6007608"/>
                    <a:pt x="-2661" y="4845051"/>
                    <a:pt x="5" y="3424175"/>
                  </a:cubicBezTo>
                  <a:cubicBezTo>
                    <a:pt x="2673" y="2002155"/>
                    <a:pt x="1156087" y="850392"/>
                    <a:pt x="2578613" y="850392"/>
                  </a:cubicBezTo>
                  <a:lnTo>
                    <a:pt x="9788658" y="850392"/>
                  </a:lnTo>
                  <a:cubicBezTo>
                    <a:pt x="10258304" y="850392"/>
                    <a:pt x="10639049" y="469647"/>
                    <a:pt x="10639049" y="0"/>
                  </a:cubicBezTo>
                  <a:close/>
                </a:path>
              </a:pathLst>
            </a:custGeom>
          </p:spPr>
        </p:pic>
        <p:sp>
          <p:nvSpPr>
            <p:cNvPr id="27" name="Graphic 25">
              <a:extLst>
                <a:ext uri="{FF2B5EF4-FFF2-40B4-BE49-F238E27FC236}">
                  <a16:creationId xmlns:a16="http://schemas.microsoft.com/office/drawing/2014/main" id="{1875AB23-511E-3A17-B5CF-A9F291EE64D6}"/>
                </a:ext>
              </a:extLst>
            </p:cNvPr>
            <p:cNvSpPr/>
            <p:nvPr/>
          </p:nvSpPr>
          <p:spPr>
            <a:xfrm>
              <a:off x="800096" y="0"/>
              <a:ext cx="11391904" cy="6858000"/>
            </a:xfrm>
            <a:custGeom>
              <a:avLst/>
              <a:gdLst>
                <a:gd name="connsiteX0" fmla="*/ 8543928 w 8543928"/>
                <a:gd name="connsiteY0" fmla="*/ 0 h 5143500"/>
                <a:gd name="connsiteX1" fmla="*/ 8543928 w 8543928"/>
                <a:gd name="connsiteY1" fmla="*/ 5143500 h 5143500"/>
                <a:gd name="connsiteX2" fmla="*/ 7979286 w 8543928"/>
                <a:gd name="connsiteY2" fmla="*/ 5143500 h 5143500"/>
                <a:gd name="connsiteX3" fmla="*/ 7979286 w 8543928"/>
                <a:gd name="connsiteY3" fmla="*/ 5143500 h 5143500"/>
                <a:gd name="connsiteX4" fmla="*/ 7341493 w 8543928"/>
                <a:gd name="connsiteY4" fmla="*/ 4505706 h 5143500"/>
                <a:gd name="connsiteX5" fmla="*/ 1950533 w 8543928"/>
                <a:gd name="connsiteY5" fmla="*/ 4505706 h 5143500"/>
                <a:gd name="connsiteX6" fmla="*/ 3 w 8543928"/>
                <a:gd name="connsiteY6" fmla="*/ 2568131 h 5143500"/>
                <a:gd name="connsiteX7" fmla="*/ 1933959 w 8543928"/>
                <a:gd name="connsiteY7" fmla="*/ 637794 h 5143500"/>
                <a:gd name="connsiteX8" fmla="*/ 7341493 w 8543928"/>
                <a:gd name="connsiteY8" fmla="*/ 637794 h 5143500"/>
                <a:gd name="connsiteX9" fmla="*/ 7979286 w 8543928"/>
                <a:gd name="connsiteY9" fmla="*/ 0 h 5143500"/>
                <a:gd name="connsiteX10" fmla="*/ 7979286 w 8543928"/>
                <a:gd name="connsiteY10" fmla="*/ 0 h 5143500"/>
                <a:gd name="connsiteX11" fmla="*/ 8543928 w 8543928"/>
                <a:gd name="connsiteY11" fmla="*/ 0 h 514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543928" h="5143500">
                  <a:moveTo>
                    <a:pt x="8543928" y="0"/>
                  </a:moveTo>
                  <a:lnTo>
                    <a:pt x="8543928" y="5143500"/>
                  </a:lnTo>
                  <a:lnTo>
                    <a:pt x="7979286" y="5143500"/>
                  </a:lnTo>
                  <a:lnTo>
                    <a:pt x="7979286" y="5143500"/>
                  </a:lnTo>
                  <a:cubicBezTo>
                    <a:pt x="7979286" y="4791266"/>
                    <a:pt x="7693727" y="4505706"/>
                    <a:pt x="7341493" y="4505706"/>
                  </a:cubicBezTo>
                  <a:lnTo>
                    <a:pt x="1950533" y="4505706"/>
                  </a:lnTo>
                  <a:cubicBezTo>
                    <a:pt x="884781" y="4505706"/>
                    <a:pt x="-1997" y="3633788"/>
                    <a:pt x="3" y="2568131"/>
                  </a:cubicBezTo>
                  <a:cubicBezTo>
                    <a:pt x="2004" y="1501616"/>
                    <a:pt x="867064" y="637794"/>
                    <a:pt x="1933959" y="637794"/>
                  </a:cubicBezTo>
                  <a:lnTo>
                    <a:pt x="7341493" y="637794"/>
                  </a:lnTo>
                  <a:cubicBezTo>
                    <a:pt x="7693727" y="637794"/>
                    <a:pt x="7979286" y="352235"/>
                    <a:pt x="7979286" y="0"/>
                  </a:cubicBezTo>
                  <a:lnTo>
                    <a:pt x="7979286" y="0"/>
                  </a:lnTo>
                  <a:lnTo>
                    <a:pt x="8543928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1"/>
                </a:gs>
                <a:gs pos="99000">
                  <a:schemeClr val="tx1">
                    <a:alpha val="90027"/>
                  </a:schemeClr>
                </a:gs>
              </a:gsLst>
              <a:lin ang="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3600" dirty="0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AB8DBEB-7237-76F8-9E00-8B808F9E9422}"/>
              </a:ext>
            </a:extLst>
          </p:cNvPr>
          <p:cNvGrpSpPr/>
          <p:nvPr/>
        </p:nvGrpSpPr>
        <p:grpSpPr>
          <a:xfrm rot="5400000">
            <a:off x="-3094129" y="-2995658"/>
            <a:ext cx="19707316" cy="19707316"/>
            <a:chOff x="-116114" y="-2783114"/>
            <a:chExt cx="12424228" cy="12424228"/>
          </a:xfrm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FD60E771-8C18-2DBD-1B57-AFC72EE6D30C}"/>
                </a:ext>
              </a:extLst>
            </p:cNvPr>
            <p:cNvSpPr/>
            <p:nvPr/>
          </p:nvSpPr>
          <p:spPr>
            <a:xfrm>
              <a:off x="-116114" y="-2783114"/>
              <a:ext cx="12424228" cy="12424228"/>
            </a:xfrm>
            <a:custGeom>
              <a:avLst/>
              <a:gdLst>
                <a:gd name="connsiteX0" fmla="*/ 7788517 w 7788516"/>
                <a:gd name="connsiteY0" fmla="*/ 3894258 h 7788516"/>
                <a:gd name="connsiteX1" fmla="*/ 3894258 w 7788516"/>
                <a:gd name="connsiteY1" fmla="*/ 7788517 h 7788516"/>
                <a:gd name="connsiteX2" fmla="*/ 0 w 7788516"/>
                <a:gd name="connsiteY2" fmla="*/ 3894258 h 7788516"/>
                <a:gd name="connsiteX3" fmla="*/ 3894258 w 7788516"/>
                <a:gd name="connsiteY3" fmla="*/ 0 h 7788516"/>
                <a:gd name="connsiteX4" fmla="*/ 7788517 w 7788516"/>
                <a:gd name="connsiteY4" fmla="*/ 3894258 h 7788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88516" h="7788516">
                  <a:moveTo>
                    <a:pt x="7788517" y="3894258"/>
                  </a:moveTo>
                  <a:cubicBezTo>
                    <a:pt x="7788517" y="6044998"/>
                    <a:pt x="6044998" y="7788517"/>
                    <a:pt x="3894258" y="7788517"/>
                  </a:cubicBezTo>
                  <a:cubicBezTo>
                    <a:pt x="1743519" y="7788517"/>
                    <a:pt x="0" y="6044998"/>
                    <a:pt x="0" y="3894258"/>
                  </a:cubicBezTo>
                  <a:cubicBezTo>
                    <a:pt x="0" y="1743519"/>
                    <a:pt x="1743519" y="0"/>
                    <a:pt x="3894258" y="0"/>
                  </a:cubicBezTo>
                  <a:cubicBezTo>
                    <a:pt x="6044998" y="0"/>
                    <a:pt x="7788517" y="1743519"/>
                    <a:pt x="7788517" y="3894258"/>
                  </a:cubicBezTo>
                  <a:close/>
                </a:path>
              </a:pathLst>
            </a:custGeom>
            <a:noFill/>
            <a:ln w="12700" cap="flat">
              <a:gradFill>
                <a:gsLst>
                  <a:gs pos="0">
                    <a:srgbClr val="C80451">
                      <a:alpha val="0"/>
                    </a:srgbClr>
                  </a:gs>
                  <a:gs pos="100000">
                    <a:srgbClr val="C80451">
                      <a:alpha val="15000"/>
                    </a:srgbClr>
                  </a:gs>
                </a:gsLst>
                <a:lin ang="5400000" scaled="1"/>
              </a:gradFill>
              <a:prstDash val="solid"/>
              <a:miter/>
            </a:ln>
            <a:effectLst>
              <a:outerShdw blurRad="444500" dist="190500" dir="5400000" algn="t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3600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3F937D30-679F-22BB-F0E5-04D94A328ABC}"/>
                </a:ext>
              </a:extLst>
            </p:cNvPr>
            <p:cNvSpPr/>
            <p:nvPr/>
          </p:nvSpPr>
          <p:spPr>
            <a:xfrm>
              <a:off x="1180889" y="-1486112"/>
              <a:ext cx="9830223" cy="9830223"/>
            </a:xfrm>
            <a:custGeom>
              <a:avLst/>
              <a:gdLst>
                <a:gd name="connsiteX0" fmla="*/ 6162384 w 6162383"/>
                <a:gd name="connsiteY0" fmla="*/ 3081192 h 6162383"/>
                <a:gd name="connsiteX1" fmla="*/ 3081192 w 6162383"/>
                <a:gd name="connsiteY1" fmla="*/ 6162384 h 6162383"/>
                <a:gd name="connsiteX2" fmla="*/ 0 w 6162383"/>
                <a:gd name="connsiteY2" fmla="*/ 3081192 h 6162383"/>
                <a:gd name="connsiteX3" fmla="*/ 3081192 w 6162383"/>
                <a:gd name="connsiteY3" fmla="*/ 0 h 6162383"/>
                <a:gd name="connsiteX4" fmla="*/ 6162384 w 6162383"/>
                <a:gd name="connsiteY4" fmla="*/ 3081192 h 6162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62383" h="6162383">
                  <a:moveTo>
                    <a:pt x="6162384" y="3081192"/>
                  </a:moveTo>
                  <a:cubicBezTo>
                    <a:pt x="6162384" y="4782887"/>
                    <a:pt x="4782887" y="6162384"/>
                    <a:pt x="3081192" y="6162384"/>
                  </a:cubicBezTo>
                  <a:cubicBezTo>
                    <a:pt x="1379497" y="6162384"/>
                    <a:pt x="0" y="4782887"/>
                    <a:pt x="0" y="3081192"/>
                  </a:cubicBezTo>
                  <a:cubicBezTo>
                    <a:pt x="0" y="1379497"/>
                    <a:pt x="1379497" y="0"/>
                    <a:pt x="3081192" y="0"/>
                  </a:cubicBezTo>
                  <a:cubicBezTo>
                    <a:pt x="4782887" y="0"/>
                    <a:pt x="6162384" y="1379497"/>
                    <a:pt x="6162384" y="3081192"/>
                  </a:cubicBezTo>
                  <a:close/>
                </a:path>
              </a:pathLst>
            </a:custGeom>
            <a:noFill/>
            <a:ln w="12700" cap="flat">
              <a:gradFill>
                <a:gsLst>
                  <a:gs pos="0">
                    <a:srgbClr val="C80451">
                      <a:alpha val="0"/>
                    </a:srgbClr>
                  </a:gs>
                  <a:gs pos="100000">
                    <a:srgbClr val="C80451">
                      <a:alpha val="15000"/>
                    </a:srgbClr>
                  </a:gs>
                </a:gsLst>
                <a:lin ang="5400000" scaled="1"/>
              </a:gradFill>
              <a:prstDash val="solid"/>
              <a:miter/>
            </a:ln>
            <a:effectLst>
              <a:outerShdw blurRad="444500" dist="190500" dir="5400000" algn="t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360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9BBDDDF-4BCC-18B1-0A6D-452FEFC35488}"/>
                </a:ext>
              </a:extLst>
            </p:cNvPr>
            <p:cNvSpPr/>
            <p:nvPr/>
          </p:nvSpPr>
          <p:spPr>
            <a:xfrm>
              <a:off x="2477892" y="-189109"/>
              <a:ext cx="7236219" cy="7236219"/>
            </a:xfrm>
            <a:custGeom>
              <a:avLst/>
              <a:gdLst>
                <a:gd name="connsiteX0" fmla="*/ 4536251 w 4536250"/>
                <a:gd name="connsiteY0" fmla="*/ 2268125 h 4536250"/>
                <a:gd name="connsiteX1" fmla="*/ 2268125 w 4536250"/>
                <a:gd name="connsiteY1" fmla="*/ 4536251 h 4536250"/>
                <a:gd name="connsiteX2" fmla="*/ 0 w 4536250"/>
                <a:gd name="connsiteY2" fmla="*/ 2268125 h 4536250"/>
                <a:gd name="connsiteX3" fmla="*/ 2268125 w 4536250"/>
                <a:gd name="connsiteY3" fmla="*/ 0 h 4536250"/>
                <a:gd name="connsiteX4" fmla="*/ 4536251 w 4536250"/>
                <a:gd name="connsiteY4" fmla="*/ 2268125 h 453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36250" h="4536250">
                  <a:moveTo>
                    <a:pt x="4536251" y="2268125"/>
                  </a:moveTo>
                  <a:cubicBezTo>
                    <a:pt x="4536251" y="3520777"/>
                    <a:pt x="3520776" y="4536251"/>
                    <a:pt x="2268125" y="4536251"/>
                  </a:cubicBezTo>
                  <a:cubicBezTo>
                    <a:pt x="1015474" y="4536251"/>
                    <a:pt x="0" y="3520776"/>
                    <a:pt x="0" y="2268125"/>
                  </a:cubicBezTo>
                  <a:cubicBezTo>
                    <a:pt x="0" y="1015474"/>
                    <a:pt x="1015474" y="0"/>
                    <a:pt x="2268125" y="0"/>
                  </a:cubicBezTo>
                  <a:cubicBezTo>
                    <a:pt x="3520777" y="0"/>
                    <a:pt x="4536251" y="1015474"/>
                    <a:pt x="4536251" y="2268125"/>
                  </a:cubicBezTo>
                  <a:close/>
                </a:path>
              </a:pathLst>
            </a:custGeom>
            <a:noFill/>
            <a:ln w="12700" cap="flat">
              <a:gradFill>
                <a:gsLst>
                  <a:gs pos="0">
                    <a:srgbClr val="C80451">
                      <a:alpha val="0"/>
                    </a:srgbClr>
                  </a:gs>
                  <a:gs pos="100000">
                    <a:srgbClr val="C80451">
                      <a:alpha val="15000"/>
                    </a:srgbClr>
                  </a:gs>
                </a:gsLst>
                <a:lin ang="5400000" scaled="1"/>
              </a:gradFill>
              <a:prstDash val="solid"/>
              <a:miter/>
            </a:ln>
            <a:effectLst>
              <a:outerShdw blurRad="444500" dist="190500" dir="5400000" algn="t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360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4B126F6E-0CD5-C72E-AF9C-8530601B74FE}"/>
                </a:ext>
              </a:extLst>
            </p:cNvPr>
            <p:cNvSpPr/>
            <p:nvPr/>
          </p:nvSpPr>
          <p:spPr>
            <a:xfrm>
              <a:off x="3774892" y="1107892"/>
              <a:ext cx="4642213" cy="4642213"/>
            </a:xfrm>
            <a:custGeom>
              <a:avLst/>
              <a:gdLst>
                <a:gd name="connsiteX0" fmla="*/ 2910118 w 2910117"/>
                <a:gd name="connsiteY0" fmla="*/ 1455059 h 2910117"/>
                <a:gd name="connsiteX1" fmla="*/ 1455059 w 2910117"/>
                <a:gd name="connsiteY1" fmla="*/ 2910118 h 2910117"/>
                <a:gd name="connsiteX2" fmla="*/ 0 w 2910117"/>
                <a:gd name="connsiteY2" fmla="*/ 1455059 h 2910117"/>
                <a:gd name="connsiteX3" fmla="*/ 1455059 w 2910117"/>
                <a:gd name="connsiteY3" fmla="*/ 0 h 2910117"/>
                <a:gd name="connsiteX4" fmla="*/ 2910118 w 2910117"/>
                <a:gd name="connsiteY4" fmla="*/ 1455059 h 291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10117" h="2910117">
                  <a:moveTo>
                    <a:pt x="2910118" y="1455059"/>
                  </a:moveTo>
                  <a:cubicBezTo>
                    <a:pt x="2910118" y="2258666"/>
                    <a:pt x="2258666" y="2910118"/>
                    <a:pt x="1455059" y="2910118"/>
                  </a:cubicBezTo>
                  <a:cubicBezTo>
                    <a:pt x="651452" y="2910118"/>
                    <a:pt x="0" y="2258666"/>
                    <a:pt x="0" y="1455059"/>
                  </a:cubicBezTo>
                  <a:cubicBezTo>
                    <a:pt x="0" y="651452"/>
                    <a:pt x="651452" y="0"/>
                    <a:pt x="1455059" y="0"/>
                  </a:cubicBezTo>
                  <a:cubicBezTo>
                    <a:pt x="2258666" y="0"/>
                    <a:pt x="2910118" y="651452"/>
                    <a:pt x="2910118" y="1455059"/>
                  </a:cubicBezTo>
                  <a:close/>
                </a:path>
              </a:pathLst>
            </a:custGeom>
            <a:noFill/>
            <a:ln w="12700" cap="flat">
              <a:gradFill>
                <a:gsLst>
                  <a:gs pos="0">
                    <a:srgbClr val="C80451">
                      <a:alpha val="0"/>
                    </a:srgbClr>
                  </a:gs>
                  <a:gs pos="100000">
                    <a:srgbClr val="C80451">
                      <a:alpha val="15000"/>
                    </a:srgbClr>
                  </a:gs>
                </a:gsLst>
                <a:lin ang="5400000" scaled="1"/>
              </a:gradFill>
              <a:prstDash val="solid"/>
              <a:miter/>
            </a:ln>
            <a:effectLst>
              <a:outerShdw blurRad="444500" dist="190500" dir="5400000" algn="t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3600"/>
            </a:p>
          </p:txBody>
        </p:sp>
      </p:grp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1A2E8917-1019-7C5B-0C07-B397324515DA}"/>
              </a:ext>
            </a:extLst>
          </p:cNvPr>
          <p:cNvSpPr/>
          <p:nvPr/>
        </p:nvSpPr>
        <p:spPr>
          <a:xfrm>
            <a:off x="2117318" y="2215789"/>
            <a:ext cx="9284426" cy="9284426"/>
          </a:xfrm>
          <a:custGeom>
            <a:avLst/>
            <a:gdLst>
              <a:gd name="connsiteX0" fmla="*/ 2910118 w 2910117"/>
              <a:gd name="connsiteY0" fmla="*/ 1455059 h 2910117"/>
              <a:gd name="connsiteX1" fmla="*/ 1455059 w 2910117"/>
              <a:gd name="connsiteY1" fmla="*/ 2910118 h 2910117"/>
              <a:gd name="connsiteX2" fmla="*/ 0 w 2910117"/>
              <a:gd name="connsiteY2" fmla="*/ 1455059 h 2910117"/>
              <a:gd name="connsiteX3" fmla="*/ 1455059 w 2910117"/>
              <a:gd name="connsiteY3" fmla="*/ 0 h 2910117"/>
              <a:gd name="connsiteX4" fmla="*/ 2910118 w 2910117"/>
              <a:gd name="connsiteY4" fmla="*/ 1455059 h 2910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10117" h="2910117">
                <a:moveTo>
                  <a:pt x="2910118" y="1455059"/>
                </a:moveTo>
                <a:cubicBezTo>
                  <a:pt x="2910118" y="2258666"/>
                  <a:pt x="2258666" y="2910118"/>
                  <a:pt x="1455059" y="2910118"/>
                </a:cubicBezTo>
                <a:cubicBezTo>
                  <a:pt x="651452" y="2910118"/>
                  <a:pt x="0" y="2258666"/>
                  <a:pt x="0" y="1455059"/>
                </a:cubicBezTo>
                <a:cubicBezTo>
                  <a:pt x="0" y="651452"/>
                  <a:pt x="651452" y="0"/>
                  <a:pt x="1455059" y="0"/>
                </a:cubicBezTo>
                <a:cubicBezTo>
                  <a:pt x="2258666" y="0"/>
                  <a:pt x="2910118" y="651452"/>
                  <a:pt x="2910118" y="1455059"/>
                </a:cubicBezTo>
                <a:close/>
              </a:path>
            </a:pathLst>
          </a:custGeom>
          <a:gradFill flip="none" rotWithShape="1">
            <a:gsLst>
              <a:gs pos="18000">
                <a:schemeClr val="bg1"/>
              </a:gs>
              <a:gs pos="0">
                <a:schemeClr val="bg2">
                  <a:lumMod val="85000"/>
                </a:schemeClr>
              </a:gs>
              <a:gs pos="88000">
                <a:schemeClr val="bg1"/>
              </a:gs>
            </a:gsLst>
            <a:path path="circle">
              <a:fillToRect l="50000" t="50000" r="50000" b="50000"/>
            </a:path>
            <a:tileRect/>
          </a:gradFill>
          <a:ln w="12700" cap="flat">
            <a:noFill/>
            <a:prstDash val="solid"/>
            <a:miter/>
          </a:ln>
          <a:effectLst>
            <a:outerShdw blurRad="444500" dist="190500" dir="5400000" algn="t" rotWithShape="0">
              <a:prstClr val="black">
                <a:alpha val="10000"/>
              </a:prstClr>
            </a:outerShdw>
          </a:effectLst>
        </p:spPr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 sz="36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1BDF8B-A626-4B1D-8C8C-E4353CBAABEB}"/>
              </a:ext>
            </a:extLst>
          </p:cNvPr>
          <p:cNvSpPr txBox="1"/>
          <p:nvPr/>
        </p:nvSpPr>
        <p:spPr>
          <a:xfrm>
            <a:off x="12518919" y="3444681"/>
            <a:ext cx="9170649" cy="66479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b="1" dirty="0">
                <a:solidFill>
                  <a:schemeClr val="bg1"/>
                </a:solidFill>
                <a:latin typeface="Futura Md BT" panose="020B0602020204020303" pitchFamily="34" charset="0"/>
              </a:rPr>
              <a:t>We envision a world of data sovereignty, privacy, and transparency for individuals. </a:t>
            </a:r>
          </a:p>
          <a:p>
            <a:endParaRPr lang="en-US" sz="3000" dirty="0">
              <a:solidFill>
                <a:schemeClr val="bg1"/>
              </a:solidFill>
              <a:latin typeface="FUTURA MEDIUM BT" panose="020B0602020204020303" pitchFamily="34" charset="0"/>
            </a:endParaRPr>
          </a:p>
          <a:p>
            <a:r>
              <a:rPr lang="en-US" sz="3000" dirty="0">
                <a:solidFill>
                  <a:schemeClr val="bg1"/>
                </a:solidFill>
                <a:latin typeface="FUTURA MEDIUM BT" panose="020B0602020204020303" pitchFamily="34" charset="0"/>
              </a:rPr>
              <a:t>We believe that, in this future, people will be empowered to monetize their private information as they see fit. And we think the $500 billion that data brokers will make in 2028 belongs to the people who created the data, not to companies that steal it for a living.</a:t>
            </a:r>
          </a:p>
        </p:txBody>
      </p:sp>
      <p:sp>
        <p:nvSpPr>
          <p:cNvPr id="4" name="!!4.1">
            <a:extLst>
              <a:ext uri="{FF2B5EF4-FFF2-40B4-BE49-F238E27FC236}">
                <a16:creationId xmlns:a16="http://schemas.microsoft.com/office/drawing/2014/main" id="{E34EA04E-D152-08BB-44C1-7C375E9857B4}"/>
              </a:ext>
            </a:extLst>
          </p:cNvPr>
          <p:cNvSpPr/>
          <p:nvPr/>
        </p:nvSpPr>
        <p:spPr>
          <a:xfrm>
            <a:off x="3631077" y="3802304"/>
            <a:ext cx="6111392" cy="6111392"/>
          </a:xfrm>
          <a:prstGeom prst="ellipse">
            <a:avLst/>
          </a:prstGeom>
          <a:solidFill>
            <a:schemeClr val="bg1">
              <a:alpha val="47771"/>
            </a:schemeClr>
          </a:solidFill>
          <a:ln w="85725">
            <a:solidFill>
              <a:schemeClr val="bg2">
                <a:alpha val="1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/>
          </a:p>
        </p:txBody>
      </p:sp>
      <p:sp>
        <p:nvSpPr>
          <p:cNvPr id="3" name="Freeform: Shape 30">
            <a:extLst>
              <a:ext uri="{FF2B5EF4-FFF2-40B4-BE49-F238E27FC236}">
                <a16:creationId xmlns:a16="http://schemas.microsoft.com/office/drawing/2014/main" id="{DD47D00B-6BCE-E8AF-42E8-8822A9385483}"/>
              </a:ext>
            </a:extLst>
          </p:cNvPr>
          <p:cNvSpPr/>
          <p:nvPr/>
        </p:nvSpPr>
        <p:spPr>
          <a:xfrm>
            <a:off x="3057259" y="3089808"/>
            <a:ext cx="7357720" cy="7357720"/>
          </a:xfrm>
          <a:custGeom>
            <a:avLst/>
            <a:gdLst>
              <a:gd name="connsiteX0" fmla="*/ 2910118 w 2910117"/>
              <a:gd name="connsiteY0" fmla="*/ 1455059 h 2910117"/>
              <a:gd name="connsiteX1" fmla="*/ 1455059 w 2910117"/>
              <a:gd name="connsiteY1" fmla="*/ 2910118 h 2910117"/>
              <a:gd name="connsiteX2" fmla="*/ 0 w 2910117"/>
              <a:gd name="connsiteY2" fmla="*/ 1455059 h 2910117"/>
              <a:gd name="connsiteX3" fmla="*/ 1455059 w 2910117"/>
              <a:gd name="connsiteY3" fmla="*/ 0 h 2910117"/>
              <a:gd name="connsiteX4" fmla="*/ 2910118 w 2910117"/>
              <a:gd name="connsiteY4" fmla="*/ 1455059 h 2910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10117" h="2910117">
                <a:moveTo>
                  <a:pt x="2910118" y="1455059"/>
                </a:moveTo>
                <a:cubicBezTo>
                  <a:pt x="2910118" y="2258666"/>
                  <a:pt x="2258666" y="2910118"/>
                  <a:pt x="1455059" y="2910118"/>
                </a:cubicBezTo>
                <a:cubicBezTo>
                  <a:pt x="651452" y="2910118"/>
                  <a:pt x="0" y="2258666"/>
                  <a:pt x="0" y="1455059"/>
                </a:cubicBezTo>
                <a:cubicBezTo>
                  <a:pt x="0" y="651452"/>
                  <a:pt x="651452" y="0"/>
                  <a:pt x="1455059" y="0"/>
                </a:cubicBezTo>
                <a:cubicBezTo>
                  <a:pt x="2258666" y="0"/>
                  <a:pt x="2910118" y="651452"/>
                  <a:pt x="2910118" y="1455059"/>
                </a:cubicBezTo>
                <a:close/>
              </a:path>
            </a:pathLst>
          </a:custGeom>
          <a:solidFill>
            <a:schemeClr val="bg2"/>
          </a:solidFill>
          <a:ln w="12700" cap="flat">
            <a:noFill/>
            <a:prstDash val="solid"/>
            <a:miter/>
          </a:ln>
          <a:effectLst>
            <a:outerShdw blurRad="444500" dist="190500" dir="5400000" algn="t" rotWithShape="0">
              <a:prstClr val="black">
                <a:alpha val="10000"/>
              </a:prstClr>
            </a:outerShdw>
          </a:effectLst>
        </p:spPr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 sz="3600"/>
          </a:p>
        </p:txBody>
      </p:sp>
      <p:grpSp>
        <p:nvGrpSpPr>
          <p:cNvPr id="11" name="Graphic 29">
            <a:extLst>
              <a:ext uri="{FF2B5EF4-FFF2-40B4-BE49-F238E27FC236}">
                <a16:creationId xmlns:a16="http://schemas.microsoft.com/office/drawing/2014/main" id="{FFFA80A8-3EB5-B9B4-E7CD-B5C6527F8A18}"/>
              </a:ext>
            </a:extLst>
          </p:cNvPr>
          <p:cNvGrpSpPr/>
          <p:nvPr/>
        </p:nvGrpSpPr>
        <p:grpSpPr>
          <a:xfrm>
            <a:off x="5419162" y="4270164"/>
            <a:ext cx="2630963" cy="4933929"/>
            <a:chOff x="1502100" y="653619"/>
            <a:chExt cx="2035484" cy="3817207"/>
          </a:xfrm>
          <a:solidFill>
            <a:schemeClr val="bg1"/>
          </a:solidFill>
        </p:grpSpPr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1203CCC0-FB23-94BF-4393-51FAD603F612}"/>
                </a:ext>
              </a:extLst>
            </p:cNvPr>
            <p:cNvSpPr/>
            <p:nvPr/>
          </p:nvSpPr>
          <p:spPr>
            <a:xfrm>
              <a:off x="1502100" y="653619"/>
              <a:ext cx="2035484" cy="3817207"/>
            </a:xfrm>
            <a:custGeom>
              <a:avLst/>
              <a:gdLst>
                <a:gd name="connsiteX0" fmla="*/ 1775452 w 2035484"/>
                <a:gd name="connsiteY0" fmla="*/ 2695942 h 3817207"/>
                <a:gd name="connsiteX1" fmla="*/ 1556377 w 2035484"/>
                <a:gd name="connsiteY1" fmla="*/ 2695942 h 3817207"/>
                <a:gd name="connsiteX2" fmla="*/ 1516372 w 2035484"/>
                <a:gd name="connsiteY2" fmla="*/ 2664509 h 3817207"/>
                <a:gd name="connsiteX3" fmla="*/ 1423027 w 2035484"/>
                <a:gd name="connsiteY3" fmla="*/ 2477819 h 3817207"/>
                <a:gd name="connsiteX4" fmla="*/ 1031549 w 2035484"/>
                <a:gd name="connsiteY4" fmla="*/ 2283509 h 3817207"/>
                <a:gd name="connsiteX5" fmla="*/ 508627 w 2035484"/>
                <a:gd name="connsiteY5" fmla="*/ 2785477 h 3817207"/>
                <a:gd name="connsiteX6" fmla="*/ 1010594 w 2035484"/>
                <a:gd name="connsiteY6" fmla="*/ 3308399 h 3817207"/>
                <a:gd name="connsiteX7" fmla="*/ 1515419 w 2035484"/>
                <a:gd name="connsiteY7" fmla="*/ 2931209 h 3817207"/>
                <a:gd name="connsiteX8" fmla="*/ 1518277 w 2035484"/>
                <a:gd name="connsiteY8" fmla="*/ 2917874 h 3817207"/>
                <a:gd name="connsiteX9" fmla="*/ 1546852 w 2035484"/>
                <a:gd name="connsiteY9" fmla="*/ 2895967 h 3817207"/>
                <a:gd name="connsiteX10" fmla="*/ 1985955 w 2035484"/>
                <a:gd name="connsiteY10" fmla="*/ 2895967 h 3817207"/>
                <a:gd name="connsiteX11" fmla="*/ 2022149 w 2035484"/>
                <a:gd name="connsiteY11" fmla="*/ 2895967 h 3817207"/>
                <a:gd name="connsiteX12" fmla="*/ 2035484 w 2035484"/>
                <a:gd name="connsiteY12" fmla="*/ 2909302 h 3817207"/>
                <a:gd name="connsiteX13" fmla="*/ 2035484 w 2035484"/>
                <a:gd name="connsiteY13" fmla="*/ 2912159 h 3817207"/>
                <a:gd name="connsiteX14" fmla="*/ 2033580 w 2035484"/>
                <a:gd name="connsiteY14" fmla="*/ 2935019 h 3817207"/>
                <a:gd name="connsiteX15" fmla="*/ 1294440 w 2035484"/>
                <a:gd name="connsiteY15" fmla="*/ 3779887 h 3817207"/>
                <a:gd name="connsiteX16" fmla="*/ 37139 w 2035484"/>
                <a:gd name="connsiteY16" fmla="*/ 3068369 h 3817207"/>
                <a:gd name="connsiteX17" fmla="*/ 65714 w 2035484"/>
                <a:gd name="connsiteY17" fmla="*/ 2434004 h 3817207"/>
                <a:gd name="connsiteX18" fmla="*/ 315269 w 2035484"/>
                <a:gd name="connsiteY18" fmla="*/ 1756777 h 3817207"/>
                <a:gd name="connsiteX19" fmla="*/ 944872 w 2035484"/>
                <a:gd name="connsiteY19" fmla="*/ 42277 h 3817207"/>
                <a:gd name="connsiteX20" fmla="*/ 1009642 w 2035484"/>
                <a:gd name="connsiteY20" fmla="*/ 20369 h 3817207"/>
                <a:gd name="connsiteX21" fmla="*/ 1340159 w 2035484"/>
                <a:gd name="connsiteY21" fmla="*/ 531862 h 3817207"/>
                <a:gd name="connsiteX22" fmla="*/ 1266817 w 2035484"/>
                <a:gd name="connsiteY22" fmla="*/ 1033829 h 3817207"/>
                <a:gd name="connsiteX23" fmla="*/ 929632 w 2035484"/>
                <a:gd name="connsiteY23" fmla="*/ 1708199 h 3817207"/>
                <a:gd name="connsiteX24" fmla="*/ 906772 w 2035484"/>
                <a:gd name="connsiteY24" fmla="*/ 1752967 h 3817207"/>
                <a:gd name="connsiteX25" fmla="*/ 923917 w 2035484"/>
                <a:gd name="connsiteY25" fmla="*/ 1779637 h 3817207"/>
                <a:gd name="connsiteX26" fmla="*/ 1038217 w 2035484"/>
                <a:gd name="connsiteY26" fmla="*/ 1776779 h 3817207"/>
                <a:gd name="connsiteX27" fmla="*/ 1658294 w 2035484"/>
                <a:gd name="connsiteY27" fmla="*/ 1999664 h 3817207"/>
                <a:gd name="connsiteX28" fmla="*/ 2023102 w 2035484"/>
                <a:gd name="connsiteY28" fmla="*/ 2599739 h 3817207"/>
                <a:gd name="connsiteX29" fmla="*/ 2034532 w 2035484"/>
                <a:gd name="connsiteY29" fmla="*/ 2672129 h 3817207"/>
                <a:gd name="connsiteX30" fmla="*/ 2013577 w 2035484"/>
                <a:gd name="connsiteY30" fmla="*/ 2697847 h 3817207"/>
                <a:gd name="connsiteX31" fmla="*/ 1774499 w 2035484"/>
                <a:gd name="connsiteY31" fmla="*/ 2697847 h 3817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035484" h="3817207">
                  <a:moveTo>
                    <a:pt x="1775452" y="2695942"/>
                  </a:moveTo>
                  <a:lnTo>
                    <a:pt x="1556377" y="2695942"/>
                  </a:lnTo>
                  <a:cubicBezTo>
                    <a:pt x="1525897" y="2695942"/>
                    <a:pt x="1524944" y="2695942"/>
                    <a:pt x="1516372" y="2664509"/>
                  </a:cubicBezTo>
                  <a:cubicBezTo>
                    <a:pt x="1499227" y="2595929"/>
                    <a:pt x="1466842" y="2533064"/>
                    <a:pt x="1423027" y="2477819"/>
                  </a:cubicBezTo>
                  <a:cubicBezTo>
                    <a:pt x="1322062" y="2353994"/>
                    <a:pt x="1191569" y="2287319"/>
                    <a:pt x="1031549" y="2283509"/>
                  </a:cubicBezTo>
                  <a:cubicBezTo>
                    <a:pt x="748657" y="2277794"/>
                    <a:pt x="514342" y="2502584"/>
                    <a:pt x="508627" y="2785477"/>
                  </a:cubicBezTo>
                  <a:cubicBezTo>
                    <a:pt x="502912" y="3068369"/>
                    <a:pt x="727702" y="3302684"/>
                    <a:pt x="1010594" y="3308399"/>
                  </a:cubicBezTo>
                  <a:cubicBezTo>
                    <a:pt x="1244909" y="3313162"/>
                    <a:pt x="1453507" y="3157904"/>
                    <a:pt x="1515419" y="2931209"/>
                  </a:cubicBezTo>
                  <a:cubicBezTo>
                    <a:pt x="1516372" y="2926447"/>
                    <a:pt x="1517324" y="2922637"/>
                    <a:pt x="1518277" y="2917874"/>
                  </a:cubicBezTo>
                  <a:cubicBezTo>
                    <a:pt x="1523992" y="2897872"/>
                    <a:pt x="1525897" y="2895967"/>
                    <a:pt x="1546852" y="2895967"/>
                  </a:cubicBezTo>
                  <a:lnTo>
                    <a:pt x="1985955" y="2895967"/>
                  </a:lnTo>
                  <a:cubicBezTo>
                    <a:pt x="1998337" y="2895967"/>
                    <a:pt x="2009767" y="2895967"/>
                    <a:pt x="2022149" y="2895967"/>
                  </a:cubicBezTo>
                  <a:cubicBezTo>
                    <a:pt x="2029769" y="2895967"/>
                    <a:pt x="2035484" y="2901682"/>
                    <a:pt x="2035484" y="2909302"/>
                  </a:cubicBezTo>
                  <a:cubicBezTo>
                    <a:pt x="2035484" y="2909302"/>
                    <a:pt x="2035484" y="2911207"/>
                    <a:pt x="2035484" y="2912159"/>
                  </a:cubicBezTo>
                  <a:cubicBezTo>
                    <a:pt x="2035484" y="2919779"/>
                    <a:pt x="2035484" y="2927399"/>
                    <a:pt x="2033580" y="2935019"/>
                  </a:cubicBezTo>
                  <a:cubicBezTo>
                    <a:pt x="1976430" y="3339832"/>
                    <a:pt x="1688774" y="3672254"/>
                    <a:pt x="1294440" y="3779887"/>
                  </a:cubicBezTo>
                  <a:cubicBezTo>
                    <a:pt x="750562" y="3930382"/>
                    <a:pt x="187634" y="3612247"/>
                    <a:pt x="37139" y="3068369"/>
                  </a:cubicBezTo>
                  <a:cubicBezTo>
                    <a:pt x="-20963" y="2858819"/>
                    <a:pt x="-10486" y="2636887"/>
                    <a:pt x="65714" y="2434004"/>
                  </a:cubicBezTo>
                  <a:cubicBezTo>
                    <a:pt x="148582" y="2208262"/>
                    <a:pt x="232402" y="1982519"/>
                    <a:pt x="315269" y="1756777"/>
                  </a:cubicBezTo>
                  <a:cubicBezTo>
                    <a:pt x="524819" y="1185277"/>
                    <a:pt x="735322" y="613777"/>
                    <a:pt x="944872" y="42277"/>
                  </a:cubicBezTo>
                  <a:cubicBezTo>
                    <a:pt x="963922" y="-9158"/>
                    <a:pt x="965827" y="-10111"/>
                    <a:pt x="1009642" y="20369"/>
                  </a:cubicBezTo>
                  <a:cubicBezTo>
                    <a:pt x="1189665" y="146099"/>
                    <a:pt x="1301107" y="316597"/>
                    <a:pt x="1340159" y="531862"/>
                  </a:cubicBezTo>
                  <a:cubicBezTo>
                    <a:pt x="1372544" y="702359"/>
                    <a:pt x="1346827" y="879524"/>
                    <a:pt x="1266817" y="1033829"/>
                  </a:cubicBezTo>
                  <a:cubicBezTo>
                    <a:pt x="1154422" y="1258619"/>
                    <a:pt x="1041074" y="1483409"/>
                    <a:pt x="929632" y="1708199"/>
                  </a:cubicBezTo>
                  <a:cubicBezTo>
                    <a:pt x="922012" y="1723439"/>
                    <a:pt x="914392" y="1737727"/>
                    <a:pt x="906772" y="1752967"/>
                  </a:cubicBezTo>
                  <a:cubicBezTo>
                    <a:pt x="897247" y="1774874"/>
                    <a:pt x="901057" y="1780589"/>
                    <a:pt x="923917" y="1779637"/>
                  </a:cubicBezTo>
                  <a:cubicBezTo>
                    <a:pt x="962017" y="1778684"/>
                    <a:pt x="1000117" y="1775827"/>
                    <a:pt x="1038217" y="1776779"/>
                  </a:cubicBezTo>
                  <a:cubicBezTo>
                    <a:pt x="1263959" y="1778684"/>
                    <a:pt x="1483034" y="1856789"/>
                    <a:pt x="1658294" y="1999664"/>
                  </a:cubicBezTo>
                  <a:cubicBezTo>
                    <a:pt x="1852605" y="2154922"/>
                    <a:pt x="1972619" y="2356852"/>
                    <a:pt x="2023102" y="2599739"/>
                  </a:cubicBezTo>
                  <a:cubicBezTo>
                    <a:pt x="2027865" y="2623552"/>
                    <a:pt x="2031674" y="2647364"/>
                    <a:pt x="2034532" y="2672129"/>
                  </a:cubicBezTo>
                  <a:cubicBezTo>
                    <a:pt x="2037390" y="2692132"/>
                    <a:pt x="2032627" y="2696894"/>
                    <a:pt x="2013577" y="2697847"/>
                  </a:cubicBezTo>
                  <a:lnTo>
                    <a:pt x="1774499" y="269784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35185EDB-703A-FA40-F9AC-9C30F3B33378}"/>
                </a:ext>
              </a:extLst>
            </p:cNvPr>
            <p:cNvSpPr/>
            <p:nvPr/>
          </p:nvSpPr>
          <p:spPr>
            <a:xfrm>
              <a:off x="1503045" y="1064002"/>
              <a:ext cx="291914" cy="1722631"/>
            </a:xfrm>
            <a:custGeom>
              <a:avLst/>
              <a:gdLst>
                <a:gd name="connsiteX0" fmla="*/ 952 w 291914"/>
                <a:gd name="connsiteY0" fmla="*/ 1722632 h 1722631"/>
                <a:gd name="connsiteX1" fmla="*/ 952 w 291914"/>
                <a:gd name="connsiteY1" fmla="*/ 1374969 h 1722631"/>
                <a:gd name="connsiteX2" fmla="*/ 952 w 291914"/>
                <a:gd name="connsiteY2" fmla="*/ 1342584 h 1722631"/>
                <a:gd name="connsiteX3" fmla="*/ 3810 w 291914"/>
                <a:gd name="connsiteY3" fmla="*/ 465331 h 1722631"/>
                <a:gd name="connsiteX4" fmla="*/ 3810 w 291914"/>
                <a:gd name="connsiteY4" fmla="*/ 40516 h 1722631"/>
                <a:gd name="connsiteX5" fmla="*/ 48577 w 291914"/>
                <a:gd name="connsiteY5" fmla="*/ 4321 h 1722631"/>
                <a:gd name="connsiteX6" fmla="*/ 271463 w 291914"/>
                <a:gd name="connsiteY6" fmla="*/ 96714 h 1722631"/>
                <a:gd name="connsiteX7" fmla="*/ 290513 w 291914"/>
                <a:gd name="connsiteY7" fmla="*/ 136719 h 1722631"/>
                <a:gd name="connsiteX8" fmla="*/ 211455 w 291914"/>
                <a:gd name="connsiteY8" fmla="*/ 576774 h 1722631"/>
                <a:gd name="connsiteX9" fmla="*/ 122872 w 291914"/>
                <a:gd name="connsiteY9" fmla="*/ 1071122 h 1722631"/>
                <a:gd name="connsiteX10" fmla="*/ 16192 w 291914"/>
                <a:gd name="connsiteY10" fmla="*/ 1664529 h 1722631"/>
                <a:gd name="connsiteX11" fmla="*/ 0 w 291914"/>
                <a:gd name="connsiteY11" fmla="*/ 1720726 h 1722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1914" h="1722631">
                  <a:moveTo>
                    <a:pt x="952" y="1722632"/>
                  </a:moveTo>
                  <a:lnTo>
                    <a:pt x="952" y="1374969"/>
                  </a:lnTo>
                  <a:cubicBezTo>
                    <a:pt x="952" y="1364491"/>
                    <a:pt x="952" y="1354014"/>
                    <a:pt x="952" y="1342584"/>
                  </a:cubicBezTo>
                  <a:cubicBezTo>
                    <a:pt x="1905" y="1050166"/>
                    <a:pt x="2858" y="757749"/>
                    <a:pt x="3810" y="465331"/>
                  </a:cubicBezTo>
                  <a:cubicBezTo>
                    <a:pt x="3810" y="323409"/>
                    <a:pt x="3810" y="182439"/>
                    <a:pt x="3810" y="40516"/>
                  </a:cubicBezTo>
                  <a:cubicBezTo>
                    <a:pt x="3810" y="-1394"/>
                    <a:pt x="8572" y="-5204"/>
                    <a:pt x="48577" y="4321"/>
                  </a:cubicBezTo>
                  <a:cubicBezTo>
                    <a:pt x="126683" y="24324"/>
                    <a:pt x="201930" y="54804"/>
                    <a:pt x="271463" y="96714"/>
                  </a:cubicBezTo>
                  <a:cubicBezTo>
                    <a:pt x="287655" y="103381"/>
                    <a:pt x="295275" y="120527"/>
                    <a:pt x="290513" y="136719"/>
                  </a:cubicBezTo>
                  <a:cubicBezTo>
                    <a:pt x="262890" y="283404"/>
                    <a:pt x="238125" y="430089"/>
                    <a:pt x="211455" y="576774"/>
                  </a:cubicBezTo>
                  <a:cubicBezTo>
                    <a:pt x="181927" y="741557"/>
                    <a:pt x="152400" y="906339"/>
                    <a:pt x="122872" y="1071122"/>
                  </a:cubicBezTo>
                  <a:cubicBezTo>
                    <a:pt x="87630" y="1269241"/>
                    <a:pt x="51435" y="1466409"/>
                    <a:pt x="16192" y="1664529"/>
                  </a:cubicBezTo>
                  <a:cubicBezTo>
                    <a:pt x="12383" y="1681674"/>
                    <a:pt x="10477" y="1692151"/>
                    <a:pt x="0" y="17207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B7D273BA-472F-E9B2-F276-7C20400230A6}"/>
                </a:ext>
              </a:extLst>
            </p:cNvPr>
            <p:cNvSpPr/>
            <p:nvPr/>
          </p:nvSpPr>
          <p:spPr>
            <a:xfrm>
              <a:off x="1683067" y="817105"/>
              <a:ext cx="541936" cy="1609483"/>
            </a:xfrm>
            <a:custGeom>
              <a:avLst/>
              <a:gdLst>
                <a:gd name="connsiteX0" fmla="*/ 953 w 541936"/>
                <a:gd name="connsiteY0" fmla="*/ 1608531 h 1609483"/>
                <a:gd name="connsiteX1" fmla="*/ 89535 w 541936"/>
                <a:gd name="connsiteY1" fmla="*/ 1138949 h 1609483"/>
                <a:gd name="connsiteX2" fmla="*/ 224790 w 541936"/>
                <a:gd name="connsiteY2" fmla="*/ 384568 h 1609483"/>
                <a:gd name="connsiteX3" fmla="*/ 285750 w 541936"/>
                <a:gd name="connsiteY3" fmla="*/ 43573 h 1609483"/>
                <a:gd name="connsiteX4" fmla="*/ 342900 w 541936"/>
                <a:gd name="connsiteY4" fmla="*/ 13093 h 1609483"/>
                <a:gd name="connsiteX5" fmla="*/ 521017 w 541936"/>
                <a:gd name="connsiteY5" fmla="*/ 123583 h 1609483"/>
                <a:gd name="connsiteX6" fmla="*/ 535305 w 541936"/>
                <a:gd name="connsiteY6" fmla="*/ 173113 h 1609483"/>
                <a:gd name="connsiteX7" fmla="*/ 456248 w 541936"/>
                <a:gd name="connsiteY7" fmla="*/ 387426 h 1609483"/>
                <a:gd name="connsiteX8" fmla="*/ 200025 w 541936"/>
                <a:gd name="connsiteY8" fmla="*/ 1085608 h 1609483"/>
                <a:gd name="connsiteX9" fmla="*/ 35242 w 541936"/>
                <a:gd name="connsiteY9" fmla="*/ 1530426 h 1609483"/>
                <a:gd name="connsiteX10" fmla="*/ 0 w 541936"/>
                <a:gd name="connsiteY10" fmla="*/ 1609483 h 1609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1936" h="1609483">
                  <a:moveTo>
                    <a:pt x="953" y="1608531"/>
                  </a:moveTo>
                  <a:cubicBezTo>
                    <a:pt x="24765" y="1478038"/>
                    <a:pt x="66675" y="1268488"/>
                    <a:pt x="89535" y="1138949"/>
                  </a:cubicBezTo>
                  <a:cubicBezTo>
                    <a:pt x="134303" y="887488"/>
                    <a:pt x="180023" y="636028"/>
                    <a:pt x="224790" y="384568"/>
                  </a:cubicBezTo>
                  <a:cubicBezTo>
                    <a:pt x="244792" y="270268"/>
                    <a:pt x="264795" y="156921"/>
                    <a:pt x="285750" y="43573"/>
                  </a:cubicBezTo>
                  <a:cubicBezTo>
                    <a:pt x="294323" y="-1194"/>
                    <a:pt x="289560" y="-11672"/>
                    <a:pt x="342900" y="13093"/>
                  </a:cubicBezTo>
                  <a:cubicBezTo>
                    <a:pt x="406717" y="41668"/>
                    <a:pt x="466725" y="78816"/>
                    <a:pt x="521017" y="123583"/>
                  </a:cubicBezTo>
                  <a:cubicBezTo>
                    <a:pt x="545783" y="143586"/>
                    <a:pt x="545783" y="144538"/>
                    <a:pt x="535305" y="173113"/>
                  </a:cubicBezTo>
                  <a:cubicBezTo>
                    <a:pt x="509588" y="244551"/>
                    <a:pt x="482917" y="315988"/>
                    <a:pt x="456248" y="387426"/>
                  </a:cubicBezTo>
                  <a:cubicBezTo>
                    <a:pt x="370523" y="619836"/>
                    <a:pt x="284798" y="853199"/>
                    <a:pt x="200025" y="1085608"/>
                  </a:cubicBezTo>
                  <a:cubicBezTo>
                    <a:pt x="145733" y="1234199"/>
                    <a:pt x="90488" y="1382788"/>
                    <a:pt x="35242" y="1530426"/>
                  </a:cubicBezTo>
                  <a:lnTo>
                    <a:pt x="0" y="16094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77F7832B-7A90-603E-E953-C8F0320ADC15}"/>
              </a:ext>
            </a:extLst>
          </p:cNvPr>
          <p:cNvSpPr txBox="1"/>
          <p:nvPr/>
        </p:nvSpPr>
        <p:spPr>
          <a:xfrm>
            <a:off x="3707693" y="-1034661"/>
            <a:ext cx="1154482" cy="76944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4400" b="1" dirty="0">
                <a:latin typeface="+mj-lt"/>
              </a:rPr>
              <a:t>#01</a:t>
            </a:r>
          </a:p>
        </p:txBody>
      </p:sp>
      <p:sp>
        <p:nvSpPr>
          <p:cNvPr id="24" name="Isosceles Triangle 134">
            <a:extLst>
              <a:ext uri="{FF2B5EF4-FFF2-40B4-BE49-F238E27FC236}">
                <a16:creationId xmlns:a16="http://schemas.microsoft.com/office/drawing/2014/main" id="{D2FB839B-73B6-BEB0-6289-55EE6B8CDA7A}"/>
              </a:ext>
            </a:extLst>
          </p:cNvPr>
          <p:cNvSpPr/>
          <p:nvPr/>
        </p:nvSpPr>
        <p:spPr>
          <a:xfrm rot="10800000">
            <a:off x="4053837" y="-2646435"/>
            <a:ext cx="462195" cy="258712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61C0A00-91BD-8FAA-14F4-2F5C769B9CD7}"/>
              </a:ext>
            </a:extLst>
          </p:cNvPr>
          <p:cNvSpPr txBox="1"/>
          <p:nvPr/>
        </p:nvSpPr>
        <p:spPr>
          <a:xfrm>
            <a:off x="8952792" y="-1034661"/>
            <a:ext cx="1154483" cy="76944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4400" b="1" dirty="0">
                <a:latin typeface="+mj-lt"/>
              </a:rPr>
              <a:t>#02</a:t>
            </a:r>
          </a:p>
        </p:txBody>
      </p:sp>
      <p:sp>
        <p:nvSpPr>
          <p:cNvPr id="26" name="Isosceles Triangle 134">
            <a:extLst>
              <a:ext uri="{FF2B5EF4-FFF2-40B4-BE49-F238E27FC236}">
                <a16:creationId xmlns:a16="http://schemas.microsoft.com/office/drawing/2014/main" id="{D075BCC7-647A-C473-67AD-1BDF1573C580}"/>
              </a:ext>
            </a:extLst>
          </p:cNvPr>
          <p:cNvSpPr/>
          <p:nvPr/>
        </p:nvSpPr>
        <p:spPr>
          <a:xfrm rot="10800000">
            <a:off x="9298937" y="-2646435"/>
            <a:ext cx="462195" cy="258712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FB004D2-BFF9-3AFA-2C11-A8770A9334C7}"/>
              </a:ext>
            </a:extLst>
          </p:cNvPr>
          <p:cNvSpPr txBox="1"/>
          <p:nvPr/>
        </p:nvSpPr>
        <p:spPr>
          <a:xfrm>
            <a:off x="14223292" y="-1034661"/>
            <a:ext cx="1154483" cy="76944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4400" b="1" dirty="0">
                <a:latin typeface="+mj-lt"/>
              </a:rPr>
              <a:t>#03</a:t>
            </a:r>
          </a:p>
        </p:txBody>
      </p:sp>
      <p:sp>
        <p:nvSpPr>
          <p:cNvPr id="31" name="Isosceles Triangle 134">
            <a:extLst>
              <a:ext uri="{FF2B5EF4-FFF2-40B4-BE49-F238E27FC236}">
                <a16:creationId xmlns:a16="http://schemas.microsoft.com/office/drawing/2014/main" id="{8D08BFC5-5C4C-1B08-41D0-B063C86CB14E}"/>
              </a:ext>
            </a:extLst>
          </p:cNvPr>
          <p:cNvSpPr/>
          <p:nvPr/>
        </p:nvSpPr>
        <p:spPr>
          <a:xfrm rot="10800000">
            <a:off x="14569437" y="-2646435"/>
            <a:ext cx="462195" cy="258712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B034E56-40DB-0F3E-779D-6BF449616AD6}"/>
              </a:ext>
            </a:extLst>
          </p:cNvPr>
          <p:cNvSpPr txBox="1"/>
          <p:nvPr/>
        </p:nvSpPr>
        <p:spPr>
          <a:xfrm>
            <a:off x="19519192" y="-1034661"/>
            <a:ext cx="1154483" cy="76944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4400" b="1" dirty="0">
                <a:latin typeface="+mj-lt"/>
              </a:rPr>
              <a:t>#04</a:t>
            </a:r>
          </a:p>
        </p:txBody>
      </p:sp>
      <p:sp>
        <p:nvSpPr>
          <p:cNvPr id="34" name="Isosceles Triangle 134">
            <a:extLst>
              <a:ext uri="{FF2B5EF4-FFF2-40B4-BE49-F238E27FC236}">
                <a16:creationId xmlns:a16="http://schemas.microsoft.com/office/drawing/2014/main" id="{E6284E1F-F44F-CCC7-50B0-166E0590564D}"/>
              </a:ext>
            </a:extLst>
          </p:cNvPr>
          <p:cNvSpPr/>
          <p:nvPr/>
        </p:nvSpPr>
        <p:spPr>
          <a:xfrm rot="10800000">
            <a:off x="19865337" y="-2646435"/>
            <a:ext cx="462195" cy="258712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2051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25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4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>
            <a:extLst>
              <a:ext uri="{FF2B5EF4-FFF2-40B4-BE49-F238E27FC236}">
                <a16:creationId xmlns:a16="http://schemas.microsoft.com/office/drawing/2014/main" id="{8CD0EAE1-B0E7-ABAE-9409-739A352581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4763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3" progId="TCLayout.ActiveDocument.1">
                  <p:embed/>
                </p:oleObj>
              </mc:Choice>
              <mc:Fallback>
                <p:oleObj name="think-cell Slide" r:id="rId4" imgW="344" imgH="343" progId="TCLayout.ActiveDocument.1">
                  <p:embed/>
                  <p:pic>
                    <p:nvPicPr>
                      <p:cNvPr id="12" name="Object 11">
                        <a:extLst>
                          <a:ext uri="{FF2B5EF4-FFF2-40B4-BE49-F238E27FC236}">
                            <a16:creationId xmlns:a16="http://schemas.microsoft.com/office/drawing/2014/main" id="{8CD0EAE1-B0E7-ABAE-9409-739A352581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763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Rectangle 46">
            <a:extLst>
              <a:ext uri="{FF2B5EF4-FFF2-40B4-BE49-F238E27FC236}">
                <a16:creationId xmlns:a16="http://schemas.microsoft.com/office/drawing/2014/main" id="{ABBDF40E-48E2-9B72-7E46-67071B657821}"/>
              </a:ext>
            </a:extLst>
          </p:cNvPr>
          <p:cNvSpPr/>
          <p:nvPr/>
        </p:nvSpPr>
        <p:spPr>
          <a:xfrm>
            <a:off x="1587" y="10020301"/>
            <a:ext cx="24384000" cy="369569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>
              <a:gradFill>
                <a:gsLst>
                  <a:gs pos="0">
                    <a:schemeClr val="bg2">
                      <a:lumMod val="50000"/>
                    </a:schemeClr>
                  </a:gs>
                  <a:gs pos="100000">
                    <a:schemeClr val="bg2">
                      <a:lumMod val="50000"/>
                    </a:schemeClr>
                  </a:gs>
                  <a:gs pos="37000">
                    <a:schemeClr val="bg2">
                      <a:lumMod val="95000"/>
                    </a:schemeClr>
                  </a:gs>
                </a:gsLst>
                <a:lin ang="0" scaled="1"/>
              </a:gra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2E3760C-5608-AD70-7D87-8DCFC4AFCB20}"/>
              </a:ext>
            </a:extLst>
          </p:cNvPr>
          <p:cNvSpPr txBox="1"/>
          <p:nvPr/>
        </p:nvSpPr>
        <p:spPr>
          <a:xfrm>
            <a:off x="1927637" y="3027142"/>
            <a:ext cx="205319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800" b="1" dirty="0">
                <a:latin typeface="Futura Md BT" panose="020B0602020204020303" pitchFamily="34" charset="0"/>
              </a:rPr>
              <a:t>Personal Data Marketplace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C9C4E13F-9109-8A49-7963-B6DE475AF4B7}"/>
              </a:ext>
            </a:extLst>
          </p:cNvPr>
          <p:cNvCxnSpPr>
            <a:cxnSpLocks/>
          </p:cNvCxnSpPr>
          <p:nvPr/>
        </p:nvCxnSpPr>
        <p:spPr>
          <a:xfrm>
            <a:off x="4284934" y="7547344"/>
            <a:ext cx="15817310" cy="0"/>
          </a:xfrm>
          <a:prstGeom prst="line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1" name="Group 60">
            <a:extLst>
              <a:ext uri="{FF2B5EF4-FFF2-40B4-BE49-F238E27FC236}">
                <a16:creationId xmlns:a16="http://schemas.microsoft.com/office/drawing/2014/main" id="{12B011DD-25C5-3E2C-3B58-46269B7234A2}"/>
              </a:ext>
            </a:extLst>
          </p:cNvPr>
          <p:cNvGrpSpPr/>
          <p:nvPr/>
        </p:nvGrpSpPr>
        <p:grpSpPr>
          <a:xfrm>
            <a:off x="1927637" y="7325921"/>
            <a:ext cx="4788980" cy="4745800"/>
            <a:chOff x="963025" y="3662960"/>
            <a:chExt cx="2394490" cy="2372900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0A037438-5748-DA83-4282-AC1F1FB7C81B}"/>
                </a:ext>
              </a:extLst>
            </p:cNvPr>
            <p:cNvSpPr/>
            <p:nvPr/>
          </p:nvSpPr>
          <p:spPr>
            <a:xfrm>
              <a:off x="963025" y="4000450"/>
              <a:ext cx="2394490" cy="2035410"/>
            </a:xfrm>
            <a:prstGeom prst="roundRect">
              <a:avLst>
                <a:gd name="adj" fmla="val 9539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444500" dist="190500" dir="5400000" algn="t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3600" dirty="0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22C9D4D1-B2FE-DD7E-86D8-020D1053B7EA}"/>
                </a:ext>
              </a:extLst>
            </p:cNvPr>
            <p:cNvSpPr txBox="1"/>
            <p:nvPr/>
          </p:nvSpPr>
          <p:spPr>
            <a:xfrm>
              <a:off x="1117851" y="4275064"/>
              <a:ext cx="2043083" cy="9134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2400" dirty="0">
                  <a:latin typeface="FUTURA MEDIUM BT" panose="020B0602020204020303" pitchFamily="34" charset="0"/>
                </a:rPr>
                <a:t>We've positioned Breadcrumbs to become the world's first Personal Data Marketplace.</a:t>
              </a:r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2E940C6F-FE24-1C5E-E885-108DFC5B750D}"/>
                </a:ext>
              </a:extLst>
            </p:cNvPr>
            <p:cNvGrpSpPr/>
            <p:nvPr/>
          </p:nvGrpSpPr>
          <p:grpSpPr>
            <a:xfrm>
              <a:off x="2049558" y="3662960"/>
              <a:ext cx="221424" cy="221424"/>
              <a:chOff x="1851660" y="2468880"/>
              <a:chExt cx="281940" cy="281940"/>
            </a:xfrm>
          </p:grpSpPr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8CB4E2C6-5626-5B6C-E4AB-40F9C046BDF5}"/>
                  </a:ext>
                </a:extLst>
              </p:cNvPr>
              <p:cNvSpPr/>
              <p:nvPr/>
            </p:nvSpPr>
            <p:spPr>
              <a:xfrm>
                <a:off x="1851660" y="2468880"/>
                <a:ext cx="281940" cy="281940"/>
              </a:xfrm>
              <a:prstGeom prst="ellipse">
                <a:avLst/>
              </a:prstGeom>
              <a:solidFill>
                <a:schemeClr val="bg2"/>
              </a:solidFill>
              <a:ln w="19050" cap="flat">
                <a:solidFill>
                  <a:schemeClr val="tx1"/>
                </a:solidFill>
                <a:prstDash val="solid"/>
                <a:miter/>
              </a:ln>
              <a:effectLst>
                <a:outerShdw blurRad="444500" dist="190500" dir="5400000" algn="t" rotWithShape="0">
                  <a:prstClr val="black">
                    <a:alpha val="22000"/>
                  </a:prstClr>
                </a:outerShdw>
              </a:effectLst>
            </p:spPr>
            <p:txBody>
  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3600"/>
              </a:p>
            </p:txBody>
          </p: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81255475-0FF9-7A15-2EDC-10EEDF89EC93}"/>
                  </a:ext>
                </a:extLst>
              </p:cNvPr>
              <p:cNvSpPr/>
              <p:nvPr/>
            </p:nvSpPr>
            <p:spPr>
              <a:xfrm>
                <a:off x="1908665" y="2525885"/>
                <a:ext cx="167930" cy="16793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600"/>
              </a:p>
            </p:txBody>
          </p:sp>
        </p:grp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4F97F9A0-707C-88E3-556B-2FEDA33D74BD}"/>
              </a:ext>
            </a:extLst>
          </p:cNvPr>
          <p:cNvGrpSpPr/>
          <p:nvPr/>
        </p:nvGrpSpPr>
        <p:grpSpPr>
          <a:xfrm>
            <a:off x="7175277" y="7325921"/>
            <a:ext cx="4788980" cy="4745800"/>
            <a:chOff x="3586845" y="3662960"/>
            <a:chExt cx="2394490" cy="2372900"/>
          </a:xfrm>
        </p:grpSpPr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1E5F3207-2267-FF26-F0F5-0635A61E1BBD}"/>
                </a:ext>
              </a:extLst>
            </p:cNvPr>
            <p:cNvSpPr/>
            <p:nvPr/>
          </p:nvSpPr>
          <p:spPr>
            <a:xfrm>
              <a:off x="3586845" y="4000450"/>
              <a:ext cx="2394490" cy="2035410"/>
            </a:xfrm>
            <a:prstGeom prst="roundRect">
              <a:avLst>
                <a:gd name="adj" fmla="val 9539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444500" dist="190500" dir="5400000" algn="t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3600"/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97C0C4A8-C7BF-E29B-0A12-0D06B750BD11}"/>
                </a:ext>
              </a:extLst>
            </p:cNvPr>
            <p:cNvSpPr txBox="1"/>
            <p:nvPr/>
          </p:nvSpPr>
          <p:spPr>
            <a:xfrm>
              <a:off x="3842190" y="4103711"/>
              <a:ext cx="1984567" cy="17998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2400" dirty="0">
                  <a:latin typeface="FUTURA MEDIUM BT" panose="020B0602020204020303" pitchFamily="34" charset="0"/>
                </a:rPr>
                <a:t>Imagine being able to look up how many users purchased your competitor’s product in the past week, and then offer incentives, surveys, and directly purchase data from those users.</a:t>
              </a: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C6A453B3-CCB8-B8F4-06E7-F78940B027AA}"/>
                </a:ext>
              </a:extLst>
            </p:cNvPr>
            <p:cNvGrpSpPr/>
            <p:nvPr/>
          </p:nvGrpSpPr>
          <p:grpSpPr>
            <a:xfrm>
              <a:off x="4673378" y="3662960"/>
              <a:ext cx="221424" cy="221424"/>
              <a:chOff x="1851660" y="2468880"/>
              <a:chExt cx="281940" cy="281940"/>
            </a:xfrm>
          </p:grpSpPr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9C23235D-CC77-42B5-69B1-AE042370D095}"/>
                  </a:ext>
                </a:extLst>
              </p:cNvPr>
              <p:cNvSpPr/>
              <p:nvPr/>
            </p:nvSpPr>
            <p:spPr>
              <a:xfrm>
                <a:off x="1851660" y="2468880"/>
                <a:ext cx="281940" cy="281940"/>
              </a:xfrm>
              <a:prstGeom prst="ellipse">
                <a:avLst/>
              </a:prstGeom>
              <a:solidFill>
                <a:schemeClr val="bg2"/>
              </a:solidFill>
              <a:ln w="19050" cap="flat">
                <a:solidFill>
                  <a:schemeClr val="tx1"/>
                </a:solidFill>
                <a:prstDash val="solid"/>
                <a:miter/>
              </a:ln>
              <a:effectLst>
                <a:outerShdw blurRad="444500" dist="190500" dir="5400000" algn="t" rotWithShape="0">
                  <a:prstClr val="black">
                    <a:alpha val="22000"/>
                  </a:prstClr>
                </a:outerShdw>
              </a:effectLst>
            </p:spPr>
            <p:txBody>
  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3600"/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0AF7ADC6-6659-0D98-CA72-50E0FBECD9A3}"/>
                  </a:ext>
                </a:extLst>
              </p:cNvPr>
              <p:cNvSpPr/>
              <p:nvPr/>
            </p:nvSpPr>
            <p:spPr>
              <a:xfrm>
                <a:off x="1908665" y="2525885"/>
                <a:ext cx="167930" cy="16793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600"/>
              </a:p>
            </p:txBody>
          </p:sp>
        </p:grp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34F31D7D-8EB5-1B57-BFAA-52F025DEEFD9}"/>
              </a:ext>
            </a:extLst>
          </p:cNvPr>
          <p:cNvGrpSpPr/>
          <p:nvPr/>
        </p:nvGrpSpPr>
        <p:grpSpPr>
          <a:xfrm>
            <a:off x="12422917" y="7325921"/>
            <a:ext cx="4788980" cy="4745800"/>
            <a:chOff x="6210665" y="3662960"/>
            <a:chExt cx="2394490" cy="2372900"/>
          </a:xfrm>
        </p:grpSpPr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D6D02EBA-E2EC-AAFB-C7B9-E70208F315C9}"/>
                </a:ext>
              </a:extLst>
            </p:cNvPr>
            <p:cNvSpPr/>
            <p:nvPr/>
          </p:nvSpPr>
          <p:spPr>
            <a:xfrm>
              <a:off x="6210665" y="4000450"/>
              <a:ext cx="2394490" cy="2035410"/>
            </a:xfrm>
            <a:prstGeom prst="roundRect">
              <a:avLst>
                <a:gd name="adj" fmla="val 9539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444500" dist="190500" dir="5400000" algn="t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3600"/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4C87976D-0484-3F9C-DE8E-25DBF21E1DFC}"/>
                </a:ext>
              </a:extLst>
            </p:cNvPr>
            <p:cNvSpPr txBox="1"/>
            <p:nvPr/>
          </p:nvSpPr>
          <p:spPr>
            <a:xfrm>
              <a:off x="6365491" y="4229012"/>
              <a:ext cx="2043083" cy="9177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2400" dirty="0">
                  <a:latin typeface="FUTURA MEDIUM BT" panose="020B0602020204020303" pitchFamily="34" charset="0"/>
                </a:rPr>
                <a:t>This level of hyper-targeted data access is unprecedented, even for Google, Meta, or the CIA.</a:t>
              </a: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9E90C23D-32F4-2D69-0715-4897870C2816}"/>
                </a:ext>
              </a:extLst>
            </p:cNvPr>
            <p:cNvGrpSpPr/>
            <p:nvPr/>
          </p:nvGrpSpPr>
          <p:grpSpPr>
            <a:xfrm>
              <a:off x="7297198" y="3662960"/>
              <a:ext cx="221424" cy="221424"/>
              <a:chOff x="1851660" y="2468880"/>
              <a:chExt cx="281940" cy="281940"/>
            </a:xfrm>
          </p:grpSpPr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0C100C8D-6918-807D-865C-448954496676}"/>
                  </a:ext>
                </a:extLst>
              </p:cNvPr>
              <p:cNvSpPr/>
              <p:nvPr/>
            </p:nvSpPr>
            <p:spPr>
              <a:xfrm>
                <a:off x="1851660" y="2468880"/>
                <a:ext cx="281940" cy="281940"/>
              </a:xfrm>
              <a:prstGeom prst="ellipse">
                <a:avLst/>
              </a:prstGeom>
              <a:solidFill>
                <a:schemeClr val="bg2"/>
              </a:solidFill>
              <a:ln w="19050" cap="flat">
                <a:solidFill>
                  <a:schemeClr val="tx1"/>
                </a:solidFill>
                <a:prstDash val="solid"/>
                <a:miter/>
              </a:ln>
              <a:effectLst>
                <a:outerShdw blurRad="444500" dist="190500" dir="5400000" algn="t" rotWithShape="0">
                  <a:prstClr val="black">
                    <a:alpha val="22000"/>
                  </a:prstClr>
                </a:outerShdw>
              </a:effectLst>
            </p:spPr>
            <p:txBody>
  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3600"/>
              </a:p>
            </p:txBody>
          </p:sp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8A809DD0-ACC1-A190-22C1-5D74EADCD04F}"/>
                  </a:ext>
                </a:extLst>
              </p:cNvPr>
              <p:cNvSpPr/>
              <p:nvPr/>
            </p:nvSpPr>
            <p:spPr>
              <a:xfrm>
                <a:off x="1908665" y="2525885"/>
                <a:ext cx="167930" cy="16793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600"/>
              </a:p>
            </p:txBody>
          </p:sp>
        </p:grpSp>
      </p:grpSp>
      <p:grpSp>
        <p:nvGrpSpPr>
          <p:cNvPr id="4096" name="Group 4095">
            <a:extLst>
              <a:ext uri="{FF2B5EF4-FFF2-40B4-BE49-F238E27FC236}">
                <a16:creationId xmlns:a16="http://schemas.microsoft.com/office/drawing/2014/main" id="{F7AA7490-4988-5654-4FEC-4F03640F7664}"/>
              </a:ext>
            </a:extLst>
          </p:cNvPr>
          <p:cNvGrpSpPr/>
          <p:nvPr/>
        </p:nvGrpSpPr>
        <p:grpSpPr>
          <a:xfrm>
            <a:off x="17670557" y="7325920"/>
            <a:ext cx="4788980" cy="4745800"/>
            <a:chOff x="8834485" y="3662960"/>
            <a:chExt cx="2394490" cy="2372900"/>
          </a:xfrm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AA662F51-2ADB-800C-0438-9E1B15532E9E}"/>
                </a:ext>
              </a:extLst>
            </p:cNvPr>
            <p:cNvSpPr/>
            <p:nvPr/>
          </p:nvSpPr>
          <p:spPr>
            <a:xfrm>
              <a:off x="8834485" y="4000450"/>
              <a:ext cx="2394490" cy="2035410"/>
            </a:xfrm>
            <a:prstGeom prst="roundRect">
              <a:avLst>
                <a:gd name="adj" fmla="val 9539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444500" dist="190500" dir="5400000" algn="t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3600"/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ACEB271F-2ACA-6541-0281-FB8CBE06F305}"/>
                </a:ext>
              </a:extLst>
            </p:cNvPr>
            <p:cNvSpPr txBox="1"/>
            <p:nvPr/>
          </p:nvSpPr>
          <p:spPr>
            <a:xfrm>
              <a:off x="8989311" y="4217631"/>
              <a:ext cx="2043083" cy="11350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2400" dirty="0">
                  <a:latin typeface="FUTURA MEDIUM BT" panose="020B0602020204020303" pitchFamily="34" charset="0"/>
                </a:rPr>
                <a:t>Not to mention, our marketplace will generate passive income</a:t>
              </a:r>
            </a:p>
            <a:p>
              <a:pPr>
                <a:lnSpc>
                  <a:spcPct val="120000"/>
                </a:lnSpc>
              </a:pPr>
              <a:r>
                <a:rPr lang="en-US" sz="2400" dirty="0">
                  <a:latin typeface="FUTURA MEDIUM BT" panose="020B0602020204020303" pitchFamily="34" charset="0"/>
                </a:rPr>
                <a:t>for our users seemingly out of thin air.</a:t>
              </a:r>
            </a:p>
          </p:txBody>
        </p: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FEB5C1BA-AAC6-3ABA-40E9-30E48F8AF944}"/>
                </a:ext>
              </a:extLst>
            </p:cNvPr>
            <p:cNvGrpSpPr/>
            <p:nvPr/>
          </p:nvGrpSpPr>
          <p:grpSpPr>
            <a:xfrm>
              <a:off x="9921018" y="3662960"/>
              <a:ext cx="221424" cy="221424"/>
              <a:chOff x="1851660" y="2468880"/>
              <a:chExt cx="281940" cy="281940"/>
            </a:xfrm>
          </p:grpSpPr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10E2CCAE-3BA0-0838-9E92-C2CACFD0A4FB}"/>
                  </a:ext>
                </a:extLst>
              </p:cNvPr>
              <p:cNvSpPr/>
              <p:nvPr/>
            </p:nvSpPr>
            <p:spPr>
              <a:xfrm>
                <a:off x="1851660" y="2468880"/>
                <a:ext cx="281940" cy="281940"/>
              </a:xfrm>
              <a:prstGeom prst="ellipse">
                <a:avLst/>
              </a:prstGeom>
              <a:solidFill>
                <a:schemeClr val="bg2"/>
              </a:solidFill>
              <a:ln w="19050" cap="flat">
                <a:solidFill>
                  <a:schemeClr val="tx1"/>
                </a:solidFill>
                <a:prstDash val="solid"/>
                <a:miter/>
              </a:ln>
              <a:effectLst>
                <a:outerShdw blurRad="444500" dist="190500" dir="5400000" algn="t" rotWithShape="0">
                  <a:prstClr val="black">
                    <a:alpha val="22000"/>
                  </a:prstClr>
                </a:outerShdw>
              </a:effectLst>
            </p:spPr>
            <p:txBody>
  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3600"/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9E6534EB-D1E6-4E43-F93B-B4C976502650}"/>
                  </a:ext>
                </a:extLst>
              </p:cNvPr>
              <p:cNvSpPr/>
              <p:nvPr/>
            </p:nvSpPr>
            <p:spPr>
              <a:xfrm>
                <a:off x="1908665" y="2525885"/>
                <a:ext cx="167930" cy="16793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600"/>
              </a:p>
            </p:txBody>
          </p:sp>
        </p:grpSp>
      </p:grpSp>
      <p:grpSp>
        <p:nvGrpSpPr>
          <p:cNvPr id="4097" name="Group 4096">
            <a:extLst>
              <a:ext uri="{FF2B5EF4-FFF2-40B4-BE49-F238E27FC236}">
                <a16:creationId xmlns:a16="http://schemas.microsoft.com/office/drawing/2014/main" id="{D03FD761-4CFC-B0A7-5A60-3E6F8F601FFE}"/>
              </a:ext>
            </a:extLst>
          </p:cNvPr>
          <p:cNvGrpSpPr/>
          <p:nvPr/>
        </p:nvGrpSpPr>
        <p:grpSpPr>
          <a:xfrm rot="5400000">
            <a:off x="4725985" y="-13102864"/>
            <a:ext cx="14935204" cy="14935196"/>
            <a:chOff x="-116114" y="-2783114"/>
            <a:chExt cx="12424228" cy="12424228"/>
          </a:xfrm>
        </p:grpSpPr>
        <p:sp>
          <p:nvSpPr>
            <p:cNvPr id="4099" name="Freeform: Shape 4098">
              <a:extLst>
                <a:ext uri="{FF2B5EF4-FFF2-40B4-BE49-F238E27FC236}">
                  <a16:creationId xmlns:a16="http://schemas.microsoft.com/office/drawing/2014/main" id="{BB75245E-32FD-8427-AB74-A3C9F2C6E7CF}"/>
                </a:ext>
              </a:extLst>
            </p:cNvPr>
            <p:cNvSpPr/>
            <p:nvPr/>
          </p:nvSpPr>
          <p:spPr>
            <a:xfrm>
              <a:off x="-116114" y="-2783114"/>
              <a:ext cx="12424228" cy="12424228"/>
            </a:xfrm>
            <a:custGeom>
              <a:avLst/>
              <a:gdLst>
                <a:gd name="connsiteX0" fmla="*/ 7788517 w 7788516"/>
                <a:gd name="connsiteY0" fmla="*/ 3894258 h 7788516"/>
                <a:gd name="connsiteX1" fmla="*/ 3894258 w 7788516"/>
                <a:gd name="connsiteY1" fmla="*/ 7788517 h 7788516"/>
                <a:gd name="connsiteX2" fmla="*/ 0 w 7788516"/>
                <a:gd name="connsiteY2" fmla="*/ 3894258 h 7788516"/>
                <a:gd name="connsiteX3" fmla="*/ 3894258 w 7788516"/>
                <a:gd name="connsiteY3" fmla="*/ 0 h 7788516"/>
                <a:gd name="connsiteX4" fmla="*/ 7788517 w 7788516"/>
                <a:gd name="connsiteY4" fmla="*/ 3894258 h 7788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88516" h="7788516">
                  <a:moveTo>
                    <a:pt x="7788517" y="3894258"/>
                  </a:moveTo>
                  <a:cubicBezTo>
                    <a:pt x="7788517" y="6044998"/>
                    <a:pt x="6044998" y="7788517"/>
                    <a:pt x="3894258" y="7788517"/>
                  </a:cubicBezTo>
                  <a:cubicBezTo>
                    <a:pt x="1743519" y="7788517"/>
                    <a:pt x="0" y="6044998"/>
                    <a:pt x="0" y="3894258"/>
                  </a:cubicBezTo>
                  <a:cubicBezTo>
                    <a:pt x="0" y="1743519"/>
                    <a:pt x="1743519" y="0"/>
                    <a:pt x="3894258" y="0"/>
                  </a:cubicBezTo>
                  <a:cubicBezTo>
                    <a:pt x="6044998" y="0"/>
                    <a:pt x="7788517" y="1743519"/>
                    <a:pt x="7788517" y="3894258"/>
                  </a:cubicBezTo>
                  <a:close/>
                </a:path>
              </a:pathLst>
            </a:custGeom>
            <a:noFill/>
            <a:ln w="12700" cap="flat">
              <a:gradFill>
                <a:gsLst>
                  <a:gs pos="0">
                    <a:srgbClr val="B50D4D">
                      <a:alpha val="0"/>
                    </a:srgbClr>
                  </a:gs>
                  <a:gs pos="100000">
                    <a:srgbClr val="B50D4D">
                      <a:alpha val="10750"/>
                    </a:srgbClr>
                  </a:gs>
                </a:gsLst>
                <a:lin ang="5400000" scaled="1"/>
              </a:gradFill>
              <a:prstDash val="solid"/>
              <a:miter/>
            </a:ln>
            <a:effectLst>
              <a:outerShdw blurRad="444500" dist="190500" dir="5400000" algn="t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3600" dirty="0"/>
            </a:p>
          </p:txBody>
        </p:sp>
        <p:sp>
          <p:nvSpPr>
            <p:cNvPr id="4101" name="Freeform: Shape 4100">
              <a:extLst>
                <a:ext uri="{FF2B5EF4-FFF2-40B4-BE49-F238E27FC236}">
                  <a16:creationId xmlns:a16="http://schemas.microsoft.com/office/drawing/2014/main" id="{CB204CBF-11AC-8B62-B19C-0B6CF0170D42}"/>
                </a:ext>
              </a:extLst>
            </p:cNvPr>
            <p:cNvSpPr/>
            <p:nvPr/>
          </p:nvSpPr>
          <p:spPr>
            <a:xfrm>
              <a:off x="1180889" y="-1486112"/>
              <a:ext cx="9830223" cy="9830223"/>
            </a:xfrm>
            <a:custGeom>
              <a:avLst/>
              <a:gdLst>
                <a:gd name="connsiteX0" fmla="*/ 6162384 w 6162383"/>
                <a:gd name="connsiteY0" fmla="*/ 3081192 h 6162383"/>
                <a:gd name="connsiteX1" fmla="*/ 3081192 w 6162383"/>
                <a:gd name="connsiteY1" fmla="*/ 6162384 h 6162383"/>
                <a:gd name="connsiteX2" fmla="*/ 0 w 6162383"/>
                <a:gd name="connsiteY2" fmla="*/ 3081192 h 6162383"/>
                <a:gd name="connsiteX3" fmla="*/ 3081192 w 6162383"/>
                <a:gd name="connsiteY3" fmla="*/ 0 h 6162383"/>
                <a:gd name="connsiteX4" fmla="*/ 6162384 w 6162383"/>
                <a:gd name="connsiteY4" fmla="*/ 3081192 h 6162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62383" h="6162383">
                  <a:moveTo>
                    <a:pt x="6162384" y="3081192"/>
                  </a:moveTo>
                  <a:cubicBezTo>
                    <a:pt x="6162384" y="4782887"/>
                    <a:pt x="4782887" y="6162384"/>
                    <a:pt x="3081192" y="6162384"/>
                  </a:cubicBezTo>
                  <a:cubicBezTo>
                    <a:pt x="1379497" y="6162384"/>
                    <a:pt x="0" y="4782887"/>
                    <a:pt x="0" y="3081192"/>
                  </a:cubicBezTo>
                  <a:cubicBezTo>
                    <a:pt x="0" y="1379497"/>
                    <a:pt x="1379497" y="0"/>
                    <a:pt x="3081192" y="0"/>
                  </a:cubicBezTo>
                  <a:cubicBezTo>
                    <a:pt x="4782887" y="0"/>
                    <a:pt x="6162384" y="1379497"/>
                    <a:pt x="6162384" y="3081192"/>
                  </a:cubicBezTo>
                  <a:close/>
                </a:path>
              </a:pathLst>
            </a:custGeom>
            <a:noFill/>
            <a:ln w="12700" cap="flat">
              <a:gradFill>
                <a:gsLst>
                  <a:gs pos="0">
                    <a:srgbClr val="B50D4D">
                      <a:alpha val="0"/>
                    </a:srgbClr>
                  </a:gs>
                  <a:gs pos="100000">
                    <a:srgbClr val="B50D4D">
                      <a:alpha val="10750"/>
                    </a:srgbClr>
                  </a:gs>
                </a:gsLst>
                <a:lin ang="5400000" scaled="1"/>
              </a:gradFill>
              <a:prstDash val="solid"/>
              <a:miter/>
            </a:ln>
            <a:effectLst>
              <a:outerShdw blurRad="444500" dist="190500" dir="5400000" algn="t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3600"/>
            </a:p>
          </p:txBody>
        </p:sp>
        <p:sp>
          <p:nvSpPr>
            <p:cNvPr id="4103" name="Freeform: Shape 4102">
              <a:extLst>
                <a:ext uri="{FF2B5EF4-FFF2-40B4-BE49-F238E27FC236}">
                  <a16:creationId xmlns:a16="http://schemas.microsoft.com/office/drawing/2014/main" id="{45DF4902-06FD-EFDE-389D-0D57CA9225B4}"/>
                </a:ext>
              </a:extLst>
            </p:cNvPr>
            <p:cNvSpPr/>
            <p:nvPr/>
          </p:nvSpPr>
          <p:spPr>
            <a:xfrm>
              <a:off x="2477892" y="-189109"/>
              <a:ext cx="7236219" cy="7236219"/>
            </a:xfrm>
            <a:custGeom>
              <a:avLst/>
              <a:gdLst>
                <a:gd name="connsiteX0" fmla="*/ 4536251 w 4536250"/>
                <a:gd name="connsiteY0" fmla="*/ 2268125 h 4536250"/>
                <a:gd name="connsiteX1" fmla="*/ 2268125 w 4536250"/>
                <a:gd name="connsiteY1" fmla="*/ 4536251 h 4536250"/>
                <a:gd name="connsiteX2" fmla="*/ 0 w 4536250"/>
                <a:gd name="connsiteY2" fmla="*/ 2268125 h 4536250"/>
                <a:gd name="connsiteX3" fmla="*/ 2268125 w 4536250"/>
                <a:gd name="connsiteY3" fmla="*/ 0 h 4536250"/>
                <a:gd name="connsiteX4" fmla="*/ 4536251 w 4536250"/>
                <a:gd name="connsiteY4" fmla="*/ 2268125 h 453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36250" h="4536250">
                  <a:moveTo>
                    <a:pt x="4536251" y="2268125"/>
                  </a:moveTo>
                  <a:cubicBezTo>
                    <a:pt x="4536251" y="3520777"/>
                    <a:pt x="3520776" y="4536251"/>
                    <a:pt x="2268125" y="4536251"/>
                  </a:cubicBezTo>
                  <a:cubicBezTo>
                    <a:pt x="1015474" y="4536251"/>
                    <a:pt x="0" y="3520776"/>
                    <a:pt x="0" y="2268125"/>
                  </a:cubicBezTo>
                  <a:cubicBezTo>
                    <a:pt x="0" y="1015474"/>
                    <a:pt x="1015474" y="0"/>
                    <a:pt x="2268125" y="0"/>
                  </a:cubicBezTo>
                  <a:cubicBezTo>
                    <a:pt x="3520777" y="0"/>
                    <a:pt x="4536251" y="1015474"/>
                    <a:pt x="4536251" y="2268125"/>
                  </a:cubicBezTo>
                  <a:close/>
                </a:path>
              </a:pathLst>
            </a:custGeom>
            <a:noFill/>
            <a:ln w="12700" cap="flat">
              <a:gradFill>
                <a:gsLst>
                  <a:gs pos="0">
                    <a:srgbClr val="B50D4D">
                      <a:alpha val="0"/>
                    </a:srgbClr>
                  </a:gs>
                  <a:gs pos="100000">
                    <a:srgbClr val="B50D4D">
                      <a:alpha val="10750"/>
                    </a:srgbClr>
                  </a:gs>
                </a:gsLst>
                <a:lin ang="5400000" scaled="1"/>
              </a:gradFill>
              <a:prstDash val="solid"/>
              <a:miter/>
            </a:ln>
            <a:effectLst>
              <a:outerShdw blurRad="444500" dist="190500" dir="5400000" algn="t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3600"/>
            </a:p>
          </p:txBody>
        </p:sp>
        <p:sp>
          <p:nvSpPr>
            <p:cNvPr id="4105" name="Freeform: Shape 4104">
              <a:extLst>
                <a:ext uri="{FF2B5EF4-FFF2-40B4-BE49-F238E27FC236}">
                  <a16:creationId xmlns:a16="http://schemas.microsoft.com/office/drawing/2014/main" id="{152FD3AD-B8C1-0194-DF90-CB154CC4AB94}"/>
                </a:ext>
              </a:extLst>
            </p:cNvPr>
            <p:cNvSpPr/>
            <p:nvPr/>
          </p:nvSpPr>
          <p:spPr>
            <a:xfrm>
              <a:off x="3774892" y="1107892"/>
              <a:ext cx="4642213" cy="4642213"/>
            </a:xfrm>
            <a:custGeom>
              <a:avLst/>
              <a:gdLst>
                <a:gd name="connsiteX0" fmla="*/ 2910118 w 2910117"/>
                <a:gd name="connsiteY0" fmla="*/ 1455059 h 2910117"/>
                <a:gd name="connsiteX1" fmla="*/ 1455059 w 2910117"/>
                <a:gd name="connsiteY1" fmla="*/ 2910118 h 2910117"/>
                <a:gd name="connsiteX2" fmla="*/ 0 w 2910117"/>
                <a:gd name="connsiteY2" fmla="*/ 1455059 h 2910117"/>
                <a:gd name="connsiteX3" fmla="*/ 1455059 w 2910117"/>
                <a:gd name="connsiteY3" fmla="*/ 0 h 2910117"/>
                <a:gd name="connsiteX4" fmla="*/ 2910118 w 2910117"/>
                <a:gd name="connsiteY4" fmla="*/ 1455059 h 291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10117" h="2910117">
                  <a:moveTo>
                    <a:pt x="2910118" y="1455059"/>
                  </a:moveTo>
                  <a:cubicBezTo>
                    <a:pt x="2910118" y="2258666"/>
                    <a:pt x="2258666" y="2910118"/>
                    <a:pt x="1455059" y="2910118"/>
                  </a:cubicBezTo>
                  <a:cubicBezTo>
                    <a:pt x="651452" y="2910118"/>
                    <a:pt x="0" y="2258666"/>
                    <a:pt x="0" y="1455059"/>
                  </a:cubicBezTo>
                  <a:cubicBezTo>
                    <a:pt x="0" y="651452"/>
                    <a:pt x="651452" y="0"/>
                    <a:pt x="1455059" y="0"/>
                  </a:cubicBezTo>
                  <a:cubicBezTo>
                    <a:pt x="2258666" y="0"/>
                    <a:pt x="2910118" y="651452"/>
                    <a:pt x="2910118" y="1455059"/>
                  </a:cubicBezTo>
                  <a:close/>
                </a:path>
              </a:pathLst>
            </a:custGeom>
            <a:noFill/>
            <a:ln w="12700" cap="flat">
              <a:gradFill>
                <a:gsLst>
                  <a:gs pos="0">
                    <a:srgbClr val="B50D4D">
                      <a:alpha val="0"/>
                    </a:srgbClr>
                  </a:gs>
                  <a:gs pos="100000">
                    <a:srgbClr val="B50D4D">
                      <a:alpha val="10750"/>
                    </a:srgbClr>
                  </a:gs>
                </a:gsLst>
                <a:lin ang="5400000" scaled="1"/>
              </a:gradFill>
              <a:prstDash val="solid"/>
              <a:miter/>
            </a:ln>
            <a:effectLst>
              <a:outerShdw blurRad="444500" dist="190500" dir="5400000" algn="t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3600"/>
            </a:p>
          </p:txBody>
        </p:sp>
      </p:grpSp>
      <p:grpSp>
        <p:nvGrpSpPr>
          <p:cNvPr id="4108" name="Group 4107">
            <a:extLst>
              <a:ext uri="{FF2B5EF4-FFF2-40B4-BE49-F238E27FC236}">
                <a16:creationId xmlns:a16="http://schemas.microsoft.com/office/drawing/2014/main" id="{1701C3B9-F47A-9BB5-F3DC-23C559645AEB}"/>
              </a:ext>
            </a:extLst>
          </p:cNvPr>
          <p:cNvGrpSpPr/>
          <p:nvPr/>
        </p:nvGrpSpPr>
        <p:grpSpPr>
          <a:xfrm>
            <a:off x="30294372" y="10510266"/>
            <a:ext cx="15500907" cy="1026976"/>
            <a:chOff x="-4061495" y="6590632"/>
            <a:chExt cx="32506652" cy="2153652"/>
          </a:xfrm>
        </p:grpSpPr>
        <p:pic>
          <p:nvPicPr>
            <p:cNvPr id="4109" name="Picture 4108">
              <a:extLst>
                <a:ext uri="{FF2B5EF4-FFF2-40B4-BE49-F238E27FC236}">
                  <a16:creationId xmlns:a16="http://schemas.microsoft.com/office/drawing/2014/main" id="{C09E9BCB-5D64-53B7-1CEF-13F1B864A97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53826" y="6590632"/>
              <a:ext cx="2045368" cy="2045368"/>
            </a:xfrm>
            <a:prstGeom prst="rect">
              <a:avLst/>
            </a:prstGeom>
          </p:spPr>
        </p:pic>
        <p:pic>
          <p:nvPicPr>
            <p:cNvPr id="4110" name="Picture 4109">
              <a:extLst>
                <a:ext uri="{FF2B5EF4-FFF2-40B4-BE49-F238E27FC236}">
                  <a16:creationId xmlns:a16="http://schemas.microsoft.com/office/drawing/2014/main" id="{0B6AA85F-A1C1-7AF0-A161-A0C180791EB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061495" y="6698916"/>
              <a:ext cx="2045368" cy="2045368"/>
            </a:xfrm>
            <a:prstGeom prst="rect">
              <a:avLst/>
            </a:prstGeom>
          </p:spPr>
        </p:pic>
        <p:pic>
          <p:nvPicPr>
            <p:cNvPr id="4111" name="Picture 4110">
              <a:extLst>
                <a:ext uri="{FF2B5EF4-FFF2-40B4-BE49-F238E27FC236}">
                  <a16:creationId xmlns:a16="http://schemas.microsoft.com/office/drawing/2014/main" id="{F248EEE4-5C24-CE49-627E-6512C12403C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61487" y="6590632"/>
              <a:ext cx="2045368" cy="2045368"/>
            </a:xfrm>
            <a:prstGeom prst="rect">
              <a:avLst/>
            </a:prstGeom>
          </p:spPr>
        </p:pic>
        <p:pic>
          <p:nvPicPr>
            <p:cNvPr id="4129" name="Picture 4128">
              <a:extLst>
                <a:ext uri="{FF2B5EF4-FFF2-40B4-BE49-F238E27FC236}">
                  <a16:creationId xmlns:a16="http://schemas.microsoft.com/office/drawing/2014/main" id="{5DF37A28-5638-53E7-5590-E631C47D474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253835" y="6590632"/>
              <a:ext cx="2045368" cy="2045368"/>
            </a:xfrm>
            <a:prstGeom prst="rect">
              <a:avLst/>
            </a:prstGeom>
          </p:spPr>
        </p:pic>
        <p:pic>
          <p:nvPicPr>
            <p:cNvPr id="4130" name="Picture 4129">
              <a:extLst>
                <a:ext uri="{FF2B5EF4-FFF2-40B4-BE49-F238E27FC236}">
                  <a16:creationId xmlns:a16="http://schemas.microsoft.com/office/drawing/2014/main" id="{DD420462-6EDC-9AFD-F244-DB8EE11CEAC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69148" y="6590632"/>
              <a:ext cx="2045368" cy="2045368"/>
            </a:xfrm>
            <a:prstGeom prst="rect">
              <a:avLst/>
            </a:prstGeom>
          </p:spPr>
        </p:pic>
        <p:pic>
          <p:nvPicPr>
            <p:cNvPr id="4131" name="Picture 4130">
              <a:extLst>
                <a:ext uri="{FF2B5EF4-FFF2-40B4-BE49-F238E27FC236}">
                  <a16:creationId xmlns:a16="http://schemas.microsoft.com/office/drawing/2014/main" id="{7D345585-6249-86E9-D687-2F1FF1AA6AA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976809" y="6590632"/>
              <a:ext cx="2045368" cy="2045368"/>
            </a:xfrm>
            <a:prstGeom prst="rect">
              <a:avLst/>
            </a:prstGeom>
          </p:spPr>
        </p:pic>
        <p:pic>
          <p:nvPicPr>
            <p:cNvPr id="4143" name="Picture 4142">
              <a:extLst>
                <a:ext uri="{FF2B5EF4-FFF2-40B4-BE49-F238E27FC236}">
                  <a16:creationId xmlns:a16="http://schemas.microsoft.com/office/drawing/2014/main" id="{5A02D696-9C22-37D4-8860-C8171FE2D1D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784470" y="6590632"/>
              <a:ext cx="2045368" cy="2045368"/>
            </a:xfrm>
            <a:prstGeom prst="rect">
              <a:avLst/>
            </a:prstGeom>
          </p:spPr>
        </p:pic>
        <p:pic>
          <p:nvPicPr>
            <p:cNvPr id="4144" name="Picture 4143">
              <a:extLst>
                <a:ext uri="{FF2B5EF4-FFF2-40B4-BE49-F238E27FC236}">
                  <a16:creationId xmlns:a16="http://schemas.microsoft.com/office/drawing/2014/main" id="{FCC6C4CE-ADB2-42C6-F17B-A5B26CE283D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592131" y="6590632"/>
              <a:ext cx="2045368" cy="2045368"/>
            </a:xfrm>
            <a:prstGeom prst="rect">
              <a:avLst/>
            </a:prstGeom>
          </p:spPr>
        </p:pic>
        <p:pic>
          <p:nvPicPr>
            <p:cNvPr id="4145" name="Picture 4144">
              <a:extLst>
                <a:ext uri="{FF2B5EF4-FFF2-40B4-BE49-F238E27FC236}">
                  <a16:creationId xmlns:a16="http://schemas.microsoft.com/office/drawing/2014/main" id="{684271C9-2705-472D-AA47-8731E9C36379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399789" y="6590632"/>
              <a:ext cx="2045368" cy="2045368"/>
            </a:xfrm>
            <a:prstGeom prst="rect">
              <a:avLst/>
            </a:prstGeom>
          </p:spPr>
        </p:pic>
      </p:grpSp>
      <p:grpSp>
        <p:nvGrpSpPr>
          <p:cNvPr id="4146" name="Group 4145">
            <a:extLst>
              <a:ext uri="{FF2B5EF4-FFF2-40B4-BE49-F238E27FC236}">
                <a16:creationId xmlns:a16="http://schemas.microsoft.com/office/drawing/2014/main" id="{EFBCC43E-3E15-4AED-1A14-9FF8CEE999CC}"/>
              </a:ext>
            </a:extLst>
          </p:cNvPr>
          <p:cNvGrpSpPr/>
          <p:nvPr/>
        </p:nvGrpSpPr>
        <p:grpSpPr>
          <a:xfrm>
            <a:off x="-20391089" y="8033620"/>
            <a:ext cx="17380243" cy="1129114"/>
            <a:chOff x="-3038811" y="1790032"/>
            <a:chExt cx="31483968" cy="2045368"/>
          </a:xfrm>
        </p:grpSpPr>
        <p:pic>
          <p:nvPicPr>
            <p:cNvPr id="4150" name="Picture 4149">
              <a:extLst>
                <a:ext uri="{FF2B5EF4-FFF2-40B4-BE49-F238E27FC236}">
                  <a16:creationId xmlns:a16="http://schemas.microsoft.com/office/drawing/2014/main" id="{CFA318FC-8CC7-5531-EC06-F937AC391EAA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399789" y="1790032"/>
              <a:ext cx="2045368" cy="2045368"/>
            </a:xfrm>
            <a:prstGeom prst="rect">
              <a:avLst/>
            </a:prstGeom>
          </p:spPr>
        </p:pic>
        <p:pic>
          <p:nvPicPr>
            <p:cNvPr id="4152" name="Picture 4151">
              <a:extLst>
                <a:ext uri="{FF2B5EF4-FFF2-40B4-BE49-F238E27FC236}">
                  <a16:creationId xmlns:a16="http://schemas.microsoft.com/office/drawing/2014/main" id="{5587BF6A-A665-773A-5B69-EB2D461A48D8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3038811" y="1790032"/>
              <a:ext cx="2045368" cy="2045368"/>
            </a:xfrm>
            <a:prstGeom prst="rect">
              <a:avLst/>
            </a:prstGeom>
          </p:spPr>
        </p:pic>
        <p:pic>
          <p:nvPicPr>
            <p:cNvPr id="4153" name="Picture 4152">
              <a:extLst>
                <a:ext uri="{FF2B5EF4-FFF2-40B4-BE49-F238E27FC236}">
                  <a16:creationId xmlns:a16="http://schemas.microsoft.com/office/drawing/2014/main" id="{CE2A53B6-FD7D-D1C4-E993-7DB26E034831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66703" y="1790032"/>
              <a:ext cx="2045368" cy="2045368"/>
            </a:xfrm>
            <a:prstGeom prst="rect">
              <a:avLst/>
            </a:prstGeom>
          </p:spPr>
        </p:pic>
        <p:pic>
          <p:nvPicPr>
            <p:cNvPr id="4154" name="Picture 4153">
              <a:extLst>
                <a:ext uri="{FF2B5EF4-FFF2-40B4-BE49-F238E27FC236}">
                  <a16:creationId xmlns:a16="http://schemas.microsoft.com/office/drawing/2014/main" id="{F9DB954F-97DB-69E8-4537-0CDCF5207AF0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72217" y="1790032"/>
              <a:ext cx="2045368" cy="2045368"/>
            </a:xfrm>
            <a:prstGeom prst="rect">
              <a:avLst/>
            </a:prstGeom>
          </p:spPr>
        </p:pic>
        <p:pic>
          <p:nvPicPr>
            <p:cNvPr id="4155" name="Picture 4154">
              <a:extLst>
                <a:ext uri="{FF2B5EF4-FFF2-40B4-BE49-F238E27FC236}">
                  <a16:creationId xmlns:a16="http://schemas.microsoft.com/office/drawing/2014/main" id="{13557867-2A67-5B46-1689-2FF467881697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77731" y="1790032"/>
              <a:ext cx="2045368" cy="2045368"/>
            </a:xfrm>
            <a:prstGeom prst="rect">
              <a:avLst/>
            </a:prstGeom>
          </p:spPr>
        </p:pic>
        <p:pic>
          <p:nvPicPr>
            <p:cNvPr id="4156" name="Picture 4155">
              <a:extLst>
                <a:ext uri="{FF2B5EF4-FFF2-40B4-BE49-F238E27FC236}">
                  <a16:creationId xmlns:a16="http://schemas.microsoft.com/office/drawing/2014/main" id="{472EED10-4359-C957-0731-9502FC70C306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83245" y="1790032"/>
              <a:ext cx="2045368" cy="2045368"/>
            </a:xfrm>
            <a:prstGeom prst="rect">
              <a:avLst/>
            </a:prstGeom>
          </p:spPr>
        </p:pic>
        <p:pic>
          <p:nvPicPr>
            <p:cNvPr id="4157" name="Picture 4156">
              <a:extLst>
                <a:ext uri="{FF2B5EF4-FFF2-40B4-BE49-F238E27FC236}">
                  <a16:creationId xmlns:a16="http://schemas.microsoft.com/office/drawing/2014/main" id="{54BD5C1C-FBF1-BE47-2387-C3A81A1DFAF3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988759" y="1790032"/>
              <a:ext cx="2045368" cy="2045368"/>
            </a:xfrm>
            <a:prstGeom prst="rect">
              <a:avLst/>
            </a:prstGeom>
          </p:spPr>
        </p:pic>
        <p:pic>
          <p:nvPicPr>
            <p:cNvPr id="4158" name="Picture 4157">
              <a:extLst>
                <a:ext uri="{FF2B5EF4-FFF2-40B4-BE49-F238E27FC236}">
                  <a16:creationId xmlns:a16="http://schemas.microsoft.com/office/drawing/2014/main" id="{EF284829-B547-E8BD-0913-A7ED27A1D520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194273" y="1790032"/>
              <a:ext cx="2045368" cy="2045368"/>
            </a:xfrm>
            <a:prstGeom prst="rect">
              <a:avLst/>
            </a:prstGeom>
          </p:spPr>
        </p:pic>
      </p:grpSp>
      <p:grpSp>
        <p:nvGrpSpPr>
          <p:cNvPr id="4159" name="Group 4158">
            <a:extLst>
              <a:ext uri="{FF2B5EF4-FFF2-40B4-BE49-F238E27FC236}">
                <a16:creationId xmlns:a16="http://schemas.microsoft.com/office/drawing/2014/main" id="{A713CC34-84E0-94B9-D83A-02DE2E19736A}"/>
              </a:ext>
            </a:extLst>
          </p:cNvPr>
          <p:cNvGrpSpPr/>
          <p:nvPr/>
        </p:nvGrpSpPr>
        <p:grpSpPr>
          <a:xfrm>
            <a:off x="27680225" y="5686862"/>
            <a:ext cx="17252771" cy="1180376"/>
            <a:chOff x="-1700213" y="-2553368"/>
            <a:chExt cx="29895800" cy="2045368"/>
          </a:xfrm>
        </p:grpSpPr>
        <p:pic>
          <p:nvPicPr>
            <p:cNvPr id="4160" name="Picture 4159">
              <a:extLst>
                <a:ext uri="{FF2B5EF4-FFF2-40B4-BE49-F238E27FC236}">
                  <a16:creationId xmlns:a16="http://schemas.microsoft.com/office/drawing/2014/main" id="{E5DC6A0B-5F5C-E411-1737-633B87353029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700213" y="-2553368"/>
              <a:ext cx="2045368" cy="2045368"/>
            </a:xfrm>
            <a:prstGeom prst="rect">
              <a:avLst/>
            </a:prstGeom>
          </p:spPr>
        </p:pic>
        <p:pic>
          <p:nvPicPr>
            <p:cNvPr id="4161" name="Picture 4160">
              <a:extLst>
                <a:ext uri="{FF2B5EF4-FFF2-40B4-BE49-F238E27FC236}">
                  <a16:creationId xmlns:a16="http://schemas.microsoft.com/office/drawing/2014/main" id="{C71F373A-DD72-1D47-5CDC-DE6862DBE413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78420" y="-2553368"/>
              <a:ext cx="2045368" cy="2045368"/>
            </a:xfrm>
            <a:prstGeom prst="rect">
              <a:avLst/>
            </a:prstGeom>
          </p:spPr>
        </p:pic>
        <p:pic>
          <p:nvPicPr>
            <p:cNvPr id="4162" name="Picture 4161">
              <a:extLst>
                <a:ext uri="{FF2B5EF4-FFF2-40B4-BE49-F238E27FC236}">
                  <a16:creationId xmlns:a16="http://schemas.microsoft.com/office/drawing/2014/main" id="{D516C516-5557-19E0-FD6F-DFDFCC0F18BF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57053" y="-2553368"/>
              <a:ext cx="2045368" cy="2045368"/>
            </a:xfrm>
            <a:prstGeom prst="rect">
              <a:avLst/>
            </a:prstGeom>
          </p:spPr>
        </p:pic>
        <p:pic>
          <p:nvPicPr>
            <p:cNvPr id="4163" name="Picture 4162">
              <a:extLst>
                <a:ext uri="{FF2B5EF4-FFF2-40B4-BE49-F238E27FC236}">
                  <a16:creationId xmlns:a16="http://schemas.microsoft.com/office/drawing/2014/main" id="{51A38261-1B40-97B4-3118-0DA82320F75A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35686" y="-2553368"/>
              <a:ext cx="2045368" cy="2045368"/>
            </a:xfrm>
            <a:prstGeom prst="rect">
              <a:avLst/>
            </a:prstGeom>
          </p:spPr>
        </p:pic>
        <p:pic>
          <p:nvPicPr>
            <p:cNvPr id="4164" name="Picture 4163">
              <a:extLst>
                <a:ext uri="{FF2B5EF4-FFF2-40B4-BE49-F238E27FC236}">
                  <a16:creationId xmlns:a16="http://schemas.microsoft.com/office/drawing/2014/main" id="{02A32A91-8E98-3688-2755-9FD5E2B696D9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214319" y="-2553368"/>
              <a:ext cx="2045368" cy="2045368"/>
            </a:xfrm>
            <a:prstGeom prst="rect">
              <a:avLst/>
            </a:prstGeom>
          </p:spPr>
        </p:pic>
        <p:pic>
          <p:nvPicPr>
            <p:cNvPr id="4165" name="Picture 4164">
              <a:extLst>
                <a:ext uri="{FF2B5EF4-FFF2-40B4-BE49-F238E27FC236}">
                  <a16:creationId xmlns:a16="http://schemas.microsoft.com/office/drawing/2014/main" id="{47070F4D-0589-5ADE-4A15-1E3726F24B22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192952" y="-2553368"/>
              <a:ext cx="2045368" cy="2045368"/>
            </a:xfrm>
            <a:prstGeom prst="rect">
              <a:avLst/>
            </a:prstGeom>
          </p:spPr>
        </p:pic>
        <p:pic>
          <p:nvPicPr>
            <p:cNvPr id="4166" name="Picture 4165">
              <a:extLst>
                <a:ext uri="{FF2B5EF4-FFF2-40B4-BE49-F238E27FC236}">
                  <a16:creationId xmlns:a16="http://schemas.microsoft.com/office/drawing/2014/main" id="{7C0FACD9-D51C-BB91-4F24-BD3E646C8AC3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171585" y="-2553368"/>
              <a:ext cx="2045368" cy="2045368"/>
            </a:xfrm>
            <a:prstGeom prst="rect">
              <a:avLst/>
            </a:prstGeom>
          </p:spPr>
        </p:pic>
        <p:pic>
          <p:nvPicPr>
            <p:cNvPr id="4167" name="Picture 4166">
              <a:extLst>
                <a:ext uri="{FF2B5EF4-FFF2-40B4-BE49-F238E27FC236}">
                  <a16:creationId xmlns:a16="http://schemas.microsoft.com/office/drawing/2014/main" id="{1A6445EC-DC9D-D168-3C20-AB59DAAF1FC7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150219" y="-2553368"/>
              <a:ext cx="2045368" cy="2045368"/>
            </a:xfrm>
            <a:prstGeom prst="rect">
              <a:avLst/>
            </a:prstGeom>
          </p:spPr>
        </p:pic>
      </p:grpSp>
      <p:sp>
        <p:nvSpPr>
          <p:cNvPr id="4168" name="TextBox 4167">
            <a:extLst>
              <a:ext uri="{FF2B5EF4-FFF2-40B4-BE49-F238E27FC236}">
                <a16:creationId xmlns:a16="http://schemas.microsoft.com/office/drawing/2014/main" id="{9CFE231E-A971-0FF3-6486-94312C236B83}"/>
              </a:ext>
            </a:extLst>
          </p:cNvPr>
          <p:cNvSpPr txBox="1"/>
          <p:nvPr/>
        </p:nvSpPr>
        <p:spPr>
          <a:xfrm>
            <a:off x="3707693" y="6320587"/>
            <a:ext cx="1154482" cy="76944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4400" b="1" dirty="0">
                <a:latin typeface="+mj-lt"/>
              </a:rPr>
              <a:t>#01</a:t>
            </a:r>
          </a:p>
        </p:txBody>
      </p:sp>
      <p:sp>
        <p:nvSpPr>
          <p:cNvPr id="4169" name="Isosceles Triangle 134">
            <a:extLst>
              <a:ext uri="{FF2B5EF4-FFF2-40B4-BE49-F238E27FC236}">
                <a16:creationId xmlns:a16="http://schemas.microsoft.com/office/drawing/2014/main" id="{0EE9DAFC-8881-C66C-9FA6-5E9119D222F9}"/>
              </a:ext>
            </a:extLst>
          </p:cNvPr>
          <p:cNvSpPr/>
          <p:nvPr/>
        </p:nvSpPr>
        <p:spPr>
          <a:xfrm rot="10800000">
            <a:off x="4053837" y="5759262"/>
            <a:ext cx="462195" cy="258712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172" name="TextBox 4171">
            <a:extLst>
              <a:ext uri="{FF2B5EF4-FFF2-40B4-BE49-F238E27FC236}">
                <a16:creationId xmlns:a16="http://schemas.microsoft.com/office/drawing/2014/main" id="{08BFF4D3-472B-3FA8-A7A3-9B4165EF44BC}"/>
              </a:ext>
            </a:extLst>
          </p:cNvPr>
          <p:cNvSpPr txBox="1"/>
          <p:nvPr/>
        </p:nvSpPr>
        <p:spPr>
          <a:xfrm>
            <a:off x="8952792" y="6320587"/>
            <a:ext cx="1154483" cy="76944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4400" b="1" dirty="0">
                <a:latin typeface="+mj-lt"/>
              </a:rPr>
              <a:t>#02</a:t>
            </a:r>
          </a:p>
        </p:txBody>
      </p:sp>
      <p:sp>
        <p:nvSpPr>
          <p:cNvPr id="4173" name="Isosceles Triangle 134">
            <a:extLst>
              <a:ext uri="{FF2B5EF4-FFF2-40B4-BE49-F238E27FC236}">
                <a16:creationId xmlns:a16="http://schemas.microsoft.com/office/drawing/2014/main" id="{D5D283DF-89B1-8B2B-195D-7FBA3B16E6E0}"/>
              </a:ext>
            </a:extLst>
          </p:cNvPr>
          <p:cNvSpPr/>
          <p:nvPr/>
        </p:nvSpPr>
        <p:spPr>
          <a:xfrm rot="10800000">
            <a:off x="9298937" y="5759262"/>
            <a:ext cx="462195" cy="258712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174" name="TextBox 4173">
            <a:extLst>
              <a:ext uri="{FF2B5EF4-FFF2-40B4-BE49-F238E27FC236}">
                <a16:creationId xmlns:a16="http://schemas.microsoft.com/office/drawing/2014/main" id="{DC728926-F100-6B76-F0A3-A3F311DD1959}"/>
              </a:ext>
            </a:extLst>
          </p:cNvPr>
          <p:cNvSpPr txBox="1"/>
          <p:nvPr/>
        </p:nvSpPr>
        <p:spPr>
          <a:xfrm>
            <a:off x="14223292" y="6320587"/>
            <a:ext cx="1154483" cy="76944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4400" b="1" dirty="0">
                <a:latin typeface="+mj-lt"/>
              </a:rPr>
              <a:t>#03</a:t>
            </a:r>
          </a:p>
        </p:txBody>
      </p:sp>
      <p:sp>
        <p:nvSpPr>
          <p:cNvPr id="4175" name="Isosceles Triangle 134">
            <a:extLst>
              <a:ext uri="{FF2B5EF4-FFF2-40B4-BE49-F238E27FC236}">
                <a16:creationId xmlns:a16="http://schemas.microsoft.com/office/drawing/2014/main" id="{04C6A80F-C24A-9ACB-8E48-5893F5B88809}"/>
              </a:ext>
            </a:extLst>
          </p:cNvPr>
          <p:cNvSpPr/>
          <p:nvPr/>
        </p:nvSpPr>
        <p:spPr>
          <a:xfrm rot="10800000">
            <a:off x="14569437" y="5759262"/>
            <a:ext cx="462195" cy="258712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176" name="TextBox 4175">
            <a:extLst>
              <a:ext uri="{FF2B5EF4-FFF2-40B4-BE49-F238E27FC236}">
                <a16:creationId xmlns:a16="http://schemas.microsoft.com/office/drawing/2014/main" id="{4569B903-29C9-DD04-3FA3-703697E9659C}"/>
              </a:ext>
            </a:extLst>
          </p:cNvPr>
          <p:cNvSpPr txBox="1"/>
          <p:nvPr/>
        </p:nvSpPr>
        <p:spPr>
          <a:xfrm>
            <a:off x="19519192" y="6320587"/>
            <a:ext cx="1154483" cy="76944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4400" b="1" dirty="0">
                <a:latin typeface="+mj-lt"/>
              </a:rPr>
              <a:t>#04</a:t>
            </a:r>
          </a:p>
        </p:txBody>
      </p:sp>
      <p:sp>
        <p:nvSpPr>
          <p:cNvPr id="4177" name="Isosceles Triangle 134">
            <a:extLst>
              <a:ext uri="{FF2B5EF4-FFF2-40B4-BE49-F238E27FC236}">
                <a16:creationId xmlns:a16="http://schemas.microsoft.com/office/drawing/2014/main" id="{5D589934-B3E0-ADFE-9CD0-BE2BF802ABC9}"/>
              </a:ext>
            </a:extLst>
          </p:cNvPr>
          <p:cNvSpPr/>
          <p:nvPr/>
        </p:nvSpPr>
        <p:spPr>
          <a:xfrm rot="10800000">
            <a:off x="19865337" y="5759262"/>
            <a:ext cx="462195" cy="258712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894161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25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40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40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2" presetClass="entr" presetSubtype="8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oup 55">
            <a:extLst>
              <a:ext uri="{FF2B5EF4-FFF2-40B4-BE49-F238E27FC236}">
                <a16:creationId xmlns:a16="http://schemas.microsoft.com/office/drawing/2014/main" id="{9B31F31C-2F7E-B6F4-487A-3BA43A17949C}"/>
              </a:ext>
            </a:extLst>
          </p:cNvPr>
          <p:cNvGrpSpPr/>
          <p:nvPr/>
        </p:nvGrpSpPr>
        <p:grpSpPr>
          <a:xfrm>
            <a:off x="4753859" y="10510266"/>
            <a:ext cx="15500907" cy="1026976"/>
            <a:chOff x="-4061495" y="6590632"/>
            <a:chExt cx="32506652" cy="2153652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F29C7467-365F-4211-DE00-4EE0552942B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53826" y="6590632"/>
              <a:ext cx="2045368" cy="2045368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666A0D4D-4EE8-6F26-C0CF-7FF9F46CEB2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061495" y="6698916"/>
              <a:ext cx="2045368" cy="2045368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17F1D5DE-BBF5-7D6B-BE90-5831A1D6E09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61487" y="6590632"/>
              <a:ext cx="2045368" cy="2045368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AF50B60-7FBA-DEC6-38C3-538DEA60584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253835" y="6590632"/>
              <a:ext cx="2045368" cy="2045368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42E9A525-FD47-43E9-16F8-9E08E68CAFC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69148" y="6590632"/>
              <a:ext cx="2045368" cy="2045368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157EC566-FB8C-C3D6-F373-511CFCBEBAB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976809" y="6590632"/>
              <a:ext cx="2045368" cy="2045368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20468F17-5D6F-73AF-C4D0-FD564A0BC7D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784470" y="6590632"/>
              <a:ext cx="2045368" cy="2045368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1B2E543E-C07A-5BBA-413E-4C4CC20FF0F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592131" y="6590632"/>
              <a:ext cx="2045368" cy="2045368"/>
            </a:xfrm>
            <a:prstGeom prst="rect">
              <a:avLst/>
            </a:prstGeom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5CE5D90F-B7E5-17E4-A422-99A177B5305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399789" y="6590632"/>
              <a:ext cx="2045368" cy="2045368"/>
            </a:xfrm>
            <a:prstGeom prst="rect">
              <a:avLst/>
            </a:prstGeom>
          </p:spPr>
        </p:pic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DFB71024-C11A-7676-FCA8-3017BC47264F}"/>
              </a:ext>
            </a:extLst>
          </p:cNvPr>
          <p:cNvGrpSpPr/>
          <p:nvPr/>
        </p:nvGrpSpPr>
        <p:grpSpPr>
          <a:xfrm>
            <a:off x="3709882" y="8033620"/>
            <a:ext cx="17380243" cy="1129114"/>
            <a:chOff x="-3038811" y="1790032"/>
            <a:chExt cx="31483968" cy="2045368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131A38F4-25F4-7169-D89C-AC9221BE6F02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399789" y="1790032"/>
              <a:ext cx="2045368" cy="2045368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2D3E73A8-BD8F-5CD8-E04E-58F81665574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3038811" y="1790032"/>
              <a:ext cx="2045368" cy="2045368"/>
            </a:xfrm>
            <a:prstGeom prst="rect">
              <a:avLst/>
            </a:pr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26323FD-DB9C-5FDF-E530-582BD8643A68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66703" y="1790032"/>
              <a:ext cx="2045368" cy="2045368"/>
            </a:xfrm>
            <a:prstGeom prst="rect">
              <a:avLst/>
            </a:prstGeom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9E16858E-12E2-5247-F642-EA1486ADFECC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72217" y="1790032"/>
              <a:ext cx="2045368" cy="2045368"/>
            </a:xfrm>
            <a:prstGeom prst="rect">
              <a:avLst/>
            </a:prstGeom>
          </p:spPr>
        </p:pic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9BF61215-2D1C-05D8-6967-42009330FC04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77731" y="1790032"/>
              <a:ext cx="2045368" cy="2045368"/>
            </a:xfrm>
            <a:prstGeom prst="rect">
              <a:avLst/>
            </a:prstGeom>
          </p:spPr>
        </p:pic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6695DAA6-1E6A-1D6C-6A4D-0B269E97550A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83245" y="1790032"/>
              <a:ext cx="2045368" cy="2045368"/>
            </a:xfrm>
            <a:prstGeom prst="rect">
              <a:avLst/>
            </a:prstGeom>
          </p:spPr>
        </p:pic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64807DC4-B891-E373-0920-D544F6CDAE4E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988759" y="1790032"/>
              <a:ext cx="2045368" cy="2045368"/>
            </a:xfrm>
            <a:prstGeom prst="rect">
              <a:avLst/>
            </a:prstGeom>
          </p:spPr>
        </p:pic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7A7B9095-46EE-D86B-5C28-5E0770BDDF1A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194273" y="1790032"/>
              <a:ext cx="2045368" cy="2045368"/>
            </a:xfrm>
            <a:prstGeom prst="rect">
              <a:avLst/>
            </a:prstGeom>
          </p:spPr>
        </p:pic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2CB1062-1818-5FB4-2774-17341555DE30}"/>
              </a:ext>
            </a:extLst>
          </p:cNvPr>
          <p:cNvGrpSpPr/>
          <p:nvPr/>
        </p:nvGrpSpPr>
        <p:grpSpPr>
          <a:xfrm>
            <a:off x="3709882" y="5686862"/>
            <a:ext cx="17252771" cy="1180376"/>
            <a:chOff x="-1700213" y="-2553368"/>
            <a:chExt cx="29895800" cy="2045368"/>
          </a:xfrm>
        </p:grpSpPr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AC81B942-3A14-3976-7A43-5EE0C79A1DC4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700213" y="-2553368"/>
              <a:ext cx="2045368" cy="2045368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91492A59-1770-AD7C-A664-AB105D66C3B5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78420" y="-2553368"/>
              <a:ext cx="2045368" cy="2045368"/>
            </a:xfrm>
            <a:prstGeom prst="rect">
              <a:avLst/>
            </a:prstGeom>
          </p:spPr>
        </p:pic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4AFFAB40-CA4B-B3C5-A440-1E1A27D1DF9A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57053" y="-2553368"/>
              <a:ext cx="2045368" cy="2045368"/>
            </a:xfrm>
            <a:prstGeom prst="rect">
              <a:avLst/>
            </a:prstGeom>
          </p:spPr>
        </p:pic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4057A878-4603-FB1F-B8A5-6E7E6384F4A0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35686" y="-2553368"/>
              <a:ext cx="2045368" cy="2045368"/>
            </a:xfrm>
            <a:prstGeom prst="rect">
              <a:avLst/>
            </a:prstGeom>
          </p:spPr>
        </p:pic>
        <p:pic>
          <p:nvPicPr>
            <p:cNvPr id="45" name="Picture 44">
              <a:extLst>
                <a:ext uri="{FF2B5EF4-FFF2-40B4-BE49-F238E27FC236}">
                  <a16:creationId xmlns:a16="http://schemas.microsoft.com/office/drawing/2014/main" id="{E3EFB607-A419-D6BB-5FD1-A53A0D30527E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214319" y="-2553368"/>
              <a:ext cx="2045368" cy="2045368"/>
            </a:xfrm>
            <a:prstGeom prst="rect">
              <a:avLst/>
            </a:prstGeom>
          </p:spPr>
        </p:pic>
        <p:pic>
          <p:nvPicPr>
            <p:cNvPr id="47" name="Picture 46">
              <a:extLst>
                <a:ext uri="{FF2B5EF4-FFF2-40B4-BE49-F238E27FC236}">
                  <a16:creationId xmlns:a16="http://schemas.microsoft.com/office/drawing/2014/main" id="{E0CE85CC-E468-4CC8-54CF-4BADCF9CBA36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192952" y="-2553368"/>
              <a:ext cx="2045368" cy="2045368"/>
            </a:xfrm>
            <a:prstGeom prst="rect">
              <a:avLst/>
            </a:prstGeom>
          </p:spPr>
        </p:pic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808AA806-96EA-E057-17A8-A5A92E16C859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171585" y="-2553368"/>
              <a:ext cx="2045368" cy="2045368"/>
            </a:xfrm>
            <a:prstGeom prst="rect">
              <a:avLst/>
            </a:prstGeom>
          </p:spPr>
        </p:pic>
        <p:pic>
          <p:nvPicPr>
            <p:cNvPr id="53" name="Picture 52">
              <a:extLst>
                <a:ext uri="{FF2B5EF4-FFF2-40B4-BE49-F238E27FC236}">
                  <a16:creationId xmlns:a16="http://schemas.microsoft.com/office/drawing/2014/main" id="{E4F0BF7D-5971-931B-C1D8-0B293BB786D5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150219" y="-2553368"/>
              <a:ext cx="2045368" cy="2045368"/>
            </a:xfrm>
            <a:prstGeom prst="rect">
              <a:avLst/>
            </a:prstGeom>
          </p:spPr>
        </p:pic>
      </p:grpSp>
      <p:sp>
        <p:nvSpPr>
          <p:cNvPr id="59" name="TextBox 58">
            <a:extLst>
              <a:ext uri="{FF2B5EF4-FFF2-40B4-BE49-F238E27FC236}">
                <a16:creationId xmlns:a16="http://schemas.microsoft.com/office/drawing/2014/main" id="{2E021A20-1A74-CEEB-632A-7546AF73C52F}"/>
              </a:ext>
            </a:extLst>
          </p:cNvPr>
          <p:cNvSpPr txBox="1"/>
          <p:nvPr/>
        </p:nvSpPr>
        <p:spPr>
          <a:xfrm>
            <a:off x="1927637" y="1004525"/>
            <a:ext cx="205319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800" b="1" dirty="0">
                <a:latin typeface="Futura Md BT" panose="020B0602020204020303" pitchFamily="34" charset="0"/>
              </a:rPr>
              <a:t>Our Partnerships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E4173372-4228-4BF0-196F-3B7F406CF86D}"/>
              </a:ext>
            </a:extLst>
          </p:cNvPr>
          <p:cNvSpPr txBox="1"/>
          <p:nvPr/>
        </p:nvSpPr>
        <p:spPr>
          <a:xfrm>
            <a:off x="3690257" y="2861188"/>
            <a:ext cx="1766751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latin typeface="FUTURA MEDIUM BT" panose="020B0602020204020303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We've partnered with dozens of companies to help you capture your data and provide the Breadcrumbs experience available on App Stores today.</a:t>
            </a:r>
          </a:p>
        </p:txBody>
      </p:sp>
    </p:spTree>
    <p:extLst>
      <p:ext uri="{BB962C8B-B14F-4D97-AF65-F5344CB8AC3E}">
        <p14:creationId xmlns:p14="http://schemas.microsoft.com/office/powerpoint/2010/main" val="116005553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" grpId="0"/>
      <p:bldP spid="60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phone11">
            <a:extLst>
              <a:ext uri="{FF2B5EF4-FFF2-40B4-BE49-F238E27FC236}">
                <a16:creationId xmlns:a16="http://schemas.microsoft.com/office/drawing/2014/main" id="{075F39E4-6D68-474D-92C7-2AAD0EE295F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355" t="28761" r="23658" b="26096"/>
          <a:stretch/>
        </p:blipFill>
        <p:spPr>
          <a:xfrm>
            <a:off x="8620006" y="3706244"/>
            <a:ext cx="13502058" cy="879364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E7CC2B0-8D27-9FD7-D6E5-1C8EC8F954E9}"/>
              </a:ext>
            </a:extLst>
          </p:cNvPr>
          <p:cNvSpPr txBox="1"/>
          <p:nvPr/>
        </p:nvSpPr>
        <p:spPr>
          <a:xfrm>
            <a:off x="3544349" y="2940716"/>
            <a:ext cx="1179190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d BT" panose="020B0602020204020303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Next</a:t>
            </a:r>
            <a:r>
              <a:rPr kumimoji="0" lang="en-US" sz="9600" b="1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utura Md BT" panose="020B0602020204020303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 Gen UI/UX</a:t>
            </a:r>
            <a:endParaRPr kumimoji="0" lang="en-US" sz="9600" b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utura Md BT" panose="020B0602020204020303" pitchFamily="34" charset="0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B089C7-702F-BA08-AAFE-B7EF4B35D72D}"/>
              </a:ext>
            </a:extLst>
          </p:cNvPr>
          <p:cNvSpPr txBox="1"/>
          <p:nvPr/>
        </p:nvSpPr>
        <p:spPr>
          <a:xfrm>
            <a:off x="3544350" y="4658812"/>
            <a:ext cx="7877630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4400" dirty="0">
                <a:solidFill>
                  <a:schemeClr val="bg1"/>
                </a:solidFill>
                <a:latin typeface="FUTURA MEDIUM BT" panose="020B0602020204020303" pitchFamily="34" charset="0"/>
              </a:rPr>
              <a:t>We enhanced the Breadcrumbs experience based on early user feedback.</a:t>
            </a:r>
          </a:p>
          <a:p>
            <a:endParaRPr lang="en-GB" sz="4400" dirty="0">
              <a:solidFill>
                <a:schemeClr val="bg1"/>
              </a:solidFill>
              <a:latin typeface="FUTURA MEDIUM BT" panose="020B0602020204020303" pitchFamily="34" charset="0"/>
            </a:endParaRPr>
          </a:p>
        </p:txBody>
      </p:sp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79533BFF-4337-DDAD-4A35-B6BFF5C0A6A3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09" r="4209"/>
          <a:stretch>
            <a:fillRect/>
          </a:stretch>
        </p:blipFill>
        <p:spPr>
          <a:xfrm>
            <a:off x="12419909" y="1569091"/>
            <a:ext cx="5689059" cy="12146909"/>
          </a:xfrm>
        </p:spPr>
      </p:pic>
    </p:spTree>
    <p:extLst>
      <p:ext uri="{BB962C8B-B14F-4D97-AF65-F5344CB8AC3E}">
        <p14:creationId xmlns:p14="http://schemas.microsoft.com/office/powerpoint/2010/main" val="1157173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2159759_Digital_Technology_1920x1080">
            <a:hlinkClick r:id="" action="ppaction://media"/>
            <a:extLst>
              <a:ext uri="{FF2B5EF4-FFF2-40B4-BE49-F238E27FC236}">
                <a16:creationId xmlns:a16="http://schemas.microsoft.com/office/drawing/2014/main" id="{9B29083F-B3B6-E776-EAD0-4331B90308F2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>
            <a:duotone>
              <a:prstClr val="black"/>
              <a:schemeClr val="accent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4763" y="4763"/>
            <a:ext cx="24384000" cy="13716000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FE7929AC-895A-4355-9025-B1CD8FBAC379}"/>
              </a:ext>
            </a:extLst>
          </p:cNvPr>
          <p:cNvGrpSpPr/>
          <p:nvPr/>
        </p:nvGrpSpPr>
        <p:grpSpPr>
          <a:xfrm>
            <a:off x="9769513" y="4433926"/>
            <a:ext cx="4848149" cy="4848149"/>
            <a:chOff x="9989883" y="4654296"/>
            <a:chExt cx="4407408" cy="4407408"/>
          </a:xfrm>
          <a:effectLst>
            <a:outerShdw blurRad="50800" dist="50800" dir="5400000" algn="ctr" rotWithShape="0">
              <a:srgbClr val="000000"/>
            </a:outerShdw>
          </a:effectLst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1311C088-D982-4226-B167-252BCA98ECF9}"/>
                </a:ext>
              </a:extLst>
            </p:cNvPr>
            <p:cNvSpPr/>
            <p:nvPr/>
          </p:nvSpPr>
          <p:spPr>
            <a:xfrm>
              <a:off x="9989883" y="4654296"/>
              <a:ext cx="4407408" cy="440740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" name="Arc 2">
              <a:extLst>
                <a:ext uri="{FF2B5EF4-FFF2-40B4-BE49-F238E27FC236}">
                  <a16:creationId xmlns:a16="http://schemas.microsoft.com/office/drawing/2014/main" id="{38A01CA3-205F-4BD0-B433-8E4E9FBFE9C1}"/>
                </a:ext>
              </a:extLst>
            </p:cNvPr>
            <p:cNvSpPr/>
            <p:nvPr/>
          </p:nvSpPr>
          <p:spPr>
            <a:xfrm>
              <a:off x="9991545" y="4654296"/>
              <a:ext cx="4405746" cy="4405746"/>
            </a:xfrm>
            <a:prstGeom prst="arc">
              <a:avLst>
                <a:gd name="adj1" fmla="val 16200000"/>
                <a:gd name="adj2" fmla="val 20775565"/>
              </a:avLst>
            </a:prstGeom>
            <a:ln w="50800">
              <a:gradFill flip="none" rotWithShape="1">
                <a:gsLst>
                  <a:gs pos="23000">
                    <a:schemeClr val="bg2"/>
                  </a:gs>
                  <a:gs pos="100000">
                    <a:schemeClr val="bg1"/>
                  </a:gs>
                </a:gsLst>
                <a:lin ang="0" scaled="1"/>
                <a:tileRect/>
              </a:gra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813A274C-E13C-4D39-96DF-C5BA2B2A72B9}"/>
              </a:ext>
            </a:extLst>
          </p:cNvPr>
          <p:cNvSpPr txBox="1"/>
          <p:nvPr/>
        </p:nvSpPr>
        <p:spPr>
          <a:xfrm>
            <a:off x="2513260" y="5770599"/>
            <a:ext cx="19358954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>
              <a:defRPr/>
            </a:pPr>
            <a:r>
              <a:rPr lang="en-US" sz="9600" b="1" dirty="0">
                <a:solidFill>
                  <a:srgbClr val="FFFFFF"/>
                </a:solidFill>
                <a:effectLst>
                  <a:outerShdw blurRad="190500" dist="38100" dir="5400000" sx="103000" sy="103000" algn="t" rotWithShape="0">
                    <a:srgbClr val="377DFF">
                      <a:lumMod val="50000"/>
                      <a:alpha val="53000"/>
                    </a:srgbClr>
                  </a:outerShdw>
                </a:effectLst>
                <a:latin typeface="Futura Md BT" panose="020B0602020204020303" pitchFamily="34" charset="0"/>
              </a:rPr>
              <a:t>What exactly is a </a:t>
            </a:r>
            <a:r>
              <a:rPr lang="en-US" sz="9600" b="1" dirty="0">
                <a:solidFill>
                  <a:schemeClr val="bg2"/>
                </a:solidFill>
                <a:effectLst>
                  <a:outerShdw blurRad="190500" dist="38100" dir="5400000" sx="103000" sy="103000" algn="t" rotWithShape="0">
                    <a:srgbClr val="377DFF">
                      <a:lumMod val="50000"/>
                      <a:alpha val="53000"/>
                    </a:srgbClr>
                  </a:outerShdw>
                </a:effectLst>
                <a:latin typeface="Futura Md BT" panose="020B0602020204020303" pitchFamily="34" charset="0"/>
              </a:rPr>
              <a:t>breadcrumb?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12F8C9F-BED7-4E5C-94FE-7269FBFE52E3}"/>
              </a:ext>
            </a:extLst>
          </p:cNvPr>
          <p:cNvGrpSpPr/>
          <p:nvPr/>
        </p:nvGrpSpPr>
        <p:grpSpPr>
          <a:xfrm rot="15300000" flipH="1">
            <a:off x="9527105" y="4191518"/>
            <a:ext cx="5332964" cy="5332964"/>
            <a:chOff x="9989883" y="4654296"/>
            <a:chExt cx="4407408" cy="4407408"/>
          </a:xfrm>
          <a:effectLst>
            <a:outerShdw blurRad="50800" dist="50800" dir="5400000" algn="ctr" rotWithShape="0">
              <a:srgbClr val="000000"/>
            </a:outerShdw>
          </a:effectLst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F2453F8C-5855-4737-87AB-E74913B63CAC}"/>
                </a:ext>
              </a:extLst>
            </p:cNvPr>
            <p:cNvSpPr/>
            <p:nvPr/>
          </p:nvSpPr>
          <p:spPr>
            <a:xfrm>
              <a:off x="9989883" y="4654296"/>
              <a:ext cx="4407408" cy="440740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Arc 9">
              <a:extLst>
                <a:ext uri="{FF2B5EF4-FFF2-40B4-BE49-F238E27FC236}">
                  <a16:creationId xmlns:a16="http://schemas.microsoft.com/office/drawing/2014/main" id="{8E20C951-8FC1-42C5-A17B-CFD1271C33D0}"/>
                </a:ext>
              </a:extLst>
            </p:cNvPr>
            <p:cNvSpPr/>
            <p:nvPr/>
          </p:nvSpPr>
          <p:spPr>
            <a:xfrm>
              <a:off x="9991545" y="4654296"/>
              <a:ext cx="4405746" cy="4405746"/>
            </a:xfrm>
            <a:prstGeom prst="arc">
              <a:avLst>
                <a:gd name="adj1" fmla="val 16200000"/>
                <a:gd name="adj2" fmla="val 20775565"/>
              </a:avLst>
            </a:prstGeom>
            <a:ln w="44450">
              <a:gradFill flip="none" rotWithShape="1">
                <a:gsLst>
                  <a:gs pos="23000">
                    <a:schemeClr val="bg2"/>
                  </a:gs>
                  <a:gs pos="99000">
                    <a:schemeClr val="bg1"/>
                  </a:gs>
                </a:gsLst>
                <a:lin ang="0" scaled="1"/>
                <a:tileRect/>
              </a:gra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F9AB356-5BFC-40AE-B58E-F94D6453C2F7}"/>
              </a:ext>
            </a:extLst>
          </p:cNvPr>
          <p:cNvGrpSpPr/>
          <p:nvPr/>
        </p:nvGrpSpPr>
        <p:grpSpPr>
          <a:xfrm>
            <a:off x="9260457" y="3924870"/>
            <a:ext cx="5866260" cy="5866260"/>
            <a:chOff x="9989883" y="4654296"/>
            <a:chExt cx="4407408" cy="4407408"/>
          </a:xfrm>
          <a:effectLst>
            <a:outerShdw blurRad="50800" dist="50800" dir="5400000" algn="ctr" rotWithShape="0">
              <a:srgbClr val="000000"/>
            </a:outerShdw>
          </a:effectLst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CC75AEA2-07CA-4390-9880-3A4EF185183A}"/>
                </a:ext>
              </a:extLst>
            </p:cNvPr>
            <p:cNvSpPr/>
            <p:nvPr/>
          </p:nvSpPr>
          <p:spPr>
            <a:xfrm>
              <a:off x="9989883" y="4654296"/>
              <a:ext cx="4407408" cy="440740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Arc 16">
              <a:extLst>
                <a:ext uri="{FF2B5EF4-FFF2-40B4-BE49-F238E27FC236}">
                  <a16:creationId xmlns:a16="http://schemas.microsoft.com/office/drawing/2014/main" id="{37330191-19CD-413C-BB04-2993D10A625E}"/>
                </a:ext>
              </a:extLst>
            </p:cNvPr>
            <p:cNvSpPr/>
            <p:nvPr/>
          </p:nvSpPr>
          <p:spPr>
            <a:xfrm>
              <a:off x="9991545" y="4654296"/>
              <a:ext cx="4405746" cy="4405746"/>
            </a:xfrm>
            <a:prstGeom prst="arc">
              <a:avLst>
                <a:gd name="adj1" fmla="val 1000099"/>
                <a:gd name="adj2" fmla="val 7299557"/>
              </a:avLst>
            </a:prstGeom>
            <a:ln w="44450">
              <a:gradFill flip="none" rotWithShape="1">
                <a:gsLst>
                  <a:gs pos="0">
                    <a:schemeClr val="bg2"/>
                  </a:gs>
                  <a:gs pos="48000">
                    <a:schemeClr val="bg1"/>
                  </a:gs>
                </a:gsLst>
                <a:lin ang="10800000" scaled="1"/>
                <a:tileRect/>
              </a:gra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3DE2AF3-4FE8-401C-946B-F8DA8F63359D}"/>
              </a:ext>
            </a:extLst>
          </p:cNvPr>
          <p:cNvGrpSpPr/>
          <p:nvPr/>
        </p:nvGrpSpPr>
        <p:grpSpPr>
          <a:xfrm rot="15300000" flipH="1">
            <a:off x="8967144" y="3631557"/>
            <a:ext cx="6452886" cy="6452886"/>
            <a:chOff x="9989883" y="4654296"/>
            <a:chExt cx="4407408" cy="4407408"/>
          </a:xfrm>
          <a:effectLst>
            <a:outerShdw blurRad="50800" dist="50800" dir="5400000" algn="ctr" rotWithShape="0">
              <a:srgbClr val="000000"/>
            </a:outerShdw>
          </a:effectLst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3AEBD042-CB66-48F9-A794-85E94DD1E9EA}"/>
                </a:ext>
              </a:extLst>
            </p:cNvPr>
            <p:cNvSpPr/>
            <p:nvPr/>
          </p:nvSpPr>
          <p:spPr>
            <a:xfrm>
              <a:off x="9989883" y="4654296"/>
              <a:ext cx="4407408" cy="440740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Arc 19">
              <a:extLst>
                <a:ext uri="{FF2B5EF4-FFF2-40B4-BE49-F238E27FC236}">
                  <a16:creationId xmlns:a16="http://schemas.microsoft.com/office/drawing/2014/main" id="{93A0AC6C-62BA-4DEB-8E50-0EA702FD55ED}"/>
                </a:ext>
              </a:extLst>
            </p:cNvPr>
            <p:cNvSpPr/>
            <p:nvPr/>
          </p:nvSpPr>
          <p:spPr>
            <a:xfrm>
              <a:off x="9991545" y="4654296"/>
              <a:ext cx="4405746" cy="4405746"/>
            </a:xfrm>
            <a:prstGeom prst="arc">
              <a:avLst>
                <a:gd name="adj1" fmla="val 96625"/>
                <a:gd name="adj2" fmla="val 4048638"/>
              </a:avLst>
            </a:prstGeom>
            <a:ln w="44450">
              <a:gradFill flip="none" rotWithShape="1">
                <a:gsLst>
                  <a:gs pos="22000">
                    <a:schemeClr val="bg2"/>
                  </a:gs>
                  <a:gs pos="99000">
                    <a:schemeClr val="bg1"/>
                  </a:gs>
                </a:gsLst>
                <a:lin ang="0" scaled="1"/>
                <a:tileRect/>
              </a:gra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45BF0F58-9FA6-F9EB-B018-F66729E0C6F3}"/>
              </a:ext>
            </a:extLst>
          </p:cNvPr>
          <p:cNvSpPr txBox="1">
            <a:spLocks/>
          </p:cNvSpPr>
          <p:nvPr/>
        </p:nvSpPr>
        <p:spPr>
          <a:xfrm>
            <a:off x="23408916" y="8877743"/>
            <a:ext cx="324565" cy="582761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2400" b="1" smtClean="0">
                <a:solidFill>
                  <a:schemeClr val="bg1"/>
                </a:solidFill>
                <a:latin typeface="+mj-lt"/>
              </a:rPr>
              <a:pPr algn="ctr"/>
              <a:t>26</a:t>
            </a:fld>
            <a:endParaRPr lang="en-US" sz="1400" b="1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26DCBE4C-F530-1AB2-CCC9-C7AF2BF2550E}"/>
              </a:ext>
            </a:extLst>
          </p:cNvPr>
          <p:cNvGrpSpPr/>
          <p:nvPr/>
        </p:nvGrpSpPr>
        <p:grpSpPr>
          <a:xfrm>
            <a:off x="23332870" y="446240"/>
            <a:ext cx="476655" cy="337457"/>
            <a:chOff x="6167336" y="2130357"/>
            <a:chExt cx="476655" cy="337457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2767F6AF-0314-CD17-A98F-808AE5192053}"/>
                </a:ext>
              </a:extLst>
            </p:cNvPr>
            <p:cNvCxnSpPr/>
            <p:nvPr userDrawn="1"/>
          </p:nvCxnSpPr>
          <p:spPr>
            <a:xfrm>
              <a:off x="6167336" y="2130357"/>
              <a:ext cx="4766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B0A7F14F-382A-9755-5924-DB2E2C1B1B5E}"/>
                </a:ext>
              </a:extLst>
            </p:cNvPr>
            <p:cNvCxnSpPr/>
            <p:nvPr userDrawn="1"/>
          </p:nvCxnSpPr>
          <p:spPr>
            <a:xfrm>
              <a:off x="6167336" y="2299086"/>
              <a:ext cx="4766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6C4B4436-C853-9C55-09D7-70FCE97CFE4E}"/>
                </a:ext>
              </a:extLst>
            </p:cNvPr>
            <p:cNvCxnSpPr/>
            <p:nvPr userDrawn="1"/>
          </p:nvCxnSpPr>
          <p:spPr>
            <a:xfrm>
              <a:off x="6167336" y="2467814"/>
              <a:ext cx="4766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5909E566-3C06-0FCB-A9A3-033ED93FEC2B}"/>
              </a:ext>
            </a:extLst>
          </p:cNvPr>
          <p:cNvGrpSpPr/>
          <p:nvPr/>
        </p:nvGrpSpPr>
        <p:grpSpPr>
          <a:xfrm>
            <a:off x="23519785" y="12234167"/>
            <a:ext cx="102824" cy="698136"/>
            <a:chOff x="729638" y="739163"/>
            <a:chExt cx="102824" cy="698136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B39FA729-9C52-05D9-1A0D-F99BFDEC9A18}"/>
                </a:ext>
              </a:extLst>
            </p:cNvPr>
            <p:cNvSpPr/>
            <p:nvPr userDrawn="1"/>
          </p:nvSpPr>
          <p:spPr>
            <a:xfrm>
              <a:off x="729638" y="739163"/>
              <a:ext cx="102824" cy="10282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C7FF70BF-48DC-3121-092E-581B80255B0F}"/>
                </a:ext>
              </a:extLst>
            </p:cNvPr>
            <p:cNvSpPr/>
            <p:nvPr userDrawn="1"/>
          </p:nvSpPr>
          <p:spPr>
            <a:xfrm>
              <a:off x="729638" y="1036819"/>
              <a:ext cx="102824" cy="10282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2222FE59-762C-C463-5258-E5B913ED5700}"/>
                </a:ext>
              </a:extLst>
            </p:cNvPr>
            <p:cNvSpPr/>
            <p:nvPr userDrawn="1"/>
          </p:nvSpPr>
          <p:spPr>
            <a:xfrm>
              <a:off x="729638" y="1334475"/>
              <a:ext cx="102824" cy="10282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6" name="Graphic 29">
            <a:extLst>
              <a:ext uri="{FF2B5EF4-FFF2-40B4-BE49-F238E27FC236}">
                <a16:creationId xmlns:a16="http://schemas.microsoft.com/office/drawing/2014/main" id="{B5C2BA1B-4332-64FF-1DFC-D6716A781CF0}"/>
              </a:ext>
            </a:extLst>
          </p:cNvPr>
          <p:cNvGrpSpPr/>
          <p:nvPr/>
        </p:nvGrpSpPr>
        <p:grpSpPr>
          <a:xfrm>
            <a:off x="631422" y="446240"/>
            <a:ext cx="589131" cy="1104816"/>
            <a:chOff x="1502100" y="653619"/>
            <a:chExt cx="2035484" cy="3817207"/>
          </a:xfrm>
          <a:solidFill>
            <a:schemeClr val="bg1"/>
          </a:solidFill>
        </p:grpSpPr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431E167F-96BD-8049-DA73-94B66D417F88}"/>
                </a:ext>
              </a:extLst>
            </p:cNvPr>
            <p:cNvSpPr/>
            <p:nvPr/>
          </p:nvSpPr>
          <p:spPr>
            <a:xfrm>
              <a:off x="1502100" y="653619"/>
              <a:ext cx="2035484" cy="3817207"/>
            </a:xfrm>
            <a:custGeom>
              <a:avLst/>
              <a:gdLst>
                <a:gd name="connsiteX0" fmla="*/ 1775452 w 2035484"/>
                <a:gd name="connsiteY0" fmla="*/ 2695942 h 3817207"/>
                <a:gd name="connsiteX1" fmla="*/ 1556377 w 2035484"/>
                <a:gd name="connsiteY1" fmla="*/ 2695942 h 3817207"/>
                <a:gd name="connsiteX2" fmla="*/ 1516372 w 2035484"/>
                <a:gd name="connsiteY2" fmla="*/ 2664509 h 3817207"/>
                <a:gd name="connsiteX3" fmla="*/ 1423027 w 2035484"/>
                <a:gd name="connsiteY3" fmla="*/ 2477819 h 3817207"/>
                <a:gd name="connsiteX4" fmla="*/ 1031549 w 2035484"/>
                <a:gd name="connsiteY4" fmla="*/ 2283509 h 3817207"/>
                <a:gd name="connsiteX5" fmla="*/ 508627 w 2035484"/>
                <a:gd name="connsiteY5" fmla="*/ 2785477 h 3817207"/>
                <a:gd name="connsiteX6" fmla="*/ 1010594 w 2035484"/>
                <a:gd name="connsiteY6" fmla="*/ 3308399 h 3817207"/>
                <a:gd name="connsiteX7" fmla="*/ 1515419 w 2035484"/>
                <a:gd name="connsiteY7" fmla="*/ 2931209 h 3817207"/>
                <a:gd name="connsiteX8" fmla="*/ 1518277 w 2035484"/>
                <a:gd name="connsiteY8" fmla="*/ 2917874 h 3817207"/>
                <a:gd name="connsiteX9" fmla="*/ 1546852 w 2035484"/>
                <a:gd name="connsiteY9" fmla="*/ 2895967 h 3817207"/>
                <a:gd name="connsiteX10" fmla="*/ 1985955 w 2035484"/>
                <a:gd name="connsiteY10" fmla="*/ 2895967 h 3817207"/>
                <a:gd name="connsiteX11" fmla="*/ 2022149 w 2035484"/>
                <a:gd name="connsiteY11" fmla="*/ 2895967 h 3817207"/>
                <a:gd name="connsiteX12" fmla="*/ 2035484 w 2035484"/>
                <a:gd name="connsiteY12" fmla="*/ 2909302 h 3817207"/>
                <a:gd name="connsiteX13" fmla="*/ 2035484 w 2035484"/>
                <a:gd name="connsiteY13" fmla="*/ 2912159 h 3817207"/>
                <a:gd name="connsiteX14" fmla="*/ 2033580 w 2035484"/>
                <a:gd name="connsiteY14" fmla="*/ 2935019 h 3817207"/>
                <a:gd name="connsiteX15" fmla="*/ 1294440 w 2035484"/>
                <a:gd name="connsiteY15" fmla="*/ 3779887 h 3817207"/>
                <a:gd name="connsiteX16" fmla="*/ 37139 w 2035484"/>
                <a:gd name="connsiteY16" fmla="*/ 3068369 h 3817207"/>
                <a:gd name="connsiteX17" fmla="*/ 65714 w 2035484"/>
                <a:gd name="connsiteY17" fmla="*/ 2434004 h 3817207"/>
                <a:gd name="connsiteX18" fmla="*/ 315269 w 2035484"/>
                <a:gd name="connsiteY18" fmla="*/ 1756777 h 3817207"/>
                <a:gd name="connsiteX19" fmla="*/ 944872 w 2035484"/>
                <a:gd name="connsiteY19" fmla="*/ 42277 h 3817207"/>
                <a:gd name="connsiteX20" fmla="*/ 1009642 w 2035484"/>
                <a:gd name="connsiteY20" fmla="*/ 20369 h 3817207"/>
                <a:gd name="connsiteX21" fmla="*/ 1340159 w 2035484"/>
                <a:gd name="connsiteY21" fmla="*/ 531862 h 3817207"/>
                <a:gd name="connsiteX22" fmla="*/ 1266817 w 2035484"/>
                <a:gd name="connsiteY22" fmla="*/ 1033829 h 3817207"/>
                <a:gd name="connsiteX23" fmla="*/ 929632 w 2035484"/>
                <a:gd name="connsiteY23" fmla="*/ 1708199 h 3817207"/>
                <a:gd name="connsiteX24" fmla="*/ 906772 w 2035484"/>
                <a:gd name="connsiteY24" fmla="*/ 1752967 h 3817207"/>
                <a:gd name="connsiteX25" fmla="*/ 923917 w 2035484"/>
                <a:gd name="connsiteY25" fmla="*/ 1779637 h 3817207"/>
                <a:gd name="connsiteX26" fmla="*/ 1038217 w 2035484"/>
                <a:gd name="connsiteY26" fmla="*/ 1776779 h 3817207"/>
                <a:gd name="connsiteX27" fmla="*/ 1658294 w 2035484"/>
                <a:gd name="connsiteY27" fmla="*/ 1999664 h 3817207"/>
                <a:gd name="connsiteX28" fmla="*/ 2023102 w 2035484"/>
                <a:gd name="connsiteY28" fmla="*/ 2599739 h 3817207"/>
                <a:gd name="connsiteX29" fmla="*/ 2034532 w 2035484"/>
                <a:gd name="connsiteY29" fmla="*/ 2672129 h 3817207"/>
                <a:gd name="connsiteX30" fmla="*/ 2013577 w 2035484"/>
                <a:gd name="connsiteY30" fmla="*/ 2697847 h 3817207"/>
                <a:gd name="connsiteX31" fmla="*/ 1774499 w 2035484"/>
                <a:gd name="connsiteY31" fmla="*/ 2697847 h 3817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035484" h="3817207">
                  <a:moveTo>
                    <a:pt x="1775452" y="2695942"/>
                  </a:moveTo>
                  <a:lnTo>
                    <a:pt x="1556377" y="2695942"/>
                  </a:lnTo>
                  <a:cubicBezTo>
                    <a:pt x="1525897" y="2695942"/>
                    <a:pt x="1524944" y="2695942"/>
                    <a:pt x="1516372" y="2664509"/>
                  </a:cubicBezTo>
                  <a:cubicBezTo>
                    <a:pt x="1499227" y="2595929"/>
                    <a:pt x="1466842" y="2533064"/>
                    <a:pt x="1423027" y="2477819"/>
                  </a:cubicBezTo>
                  <a:cubicBezTo>
                    <a:pt x="1322062" y="2353994"/>
                    <a:pt x="1191569" y="2287319"/>
                    <a:pt x="1031549" y="2283509"/>
                  </a:cubicBezTo>
                  <a:cubicBezTo>
                    <a:pt x="748657" y="2277794"/>
                    <a:pt x="514342" y="2502584"/>
                    <a:pt x="508627" y="2785477"/>
                  </a:cubicBezTo>
                  <a:cubicBezTo>
                    <a:pt x="502912" y="3068369"/>
                    <a:pt x="727702" y="3302684"/>
                    <a:pt x="1010594" y="3308399"/>
                  </a:cubicBezTo>
                  <a:cubicBezTo>
                    <a:pt x="1244909" y="3313162"/>
                    <a:pt x="1453507" y="3157904"/>
                    <a:pt x="1515419" y="2931209"/>
                  </a:cubicBezTo>
                  <a:cubicBezTo>
                    <a:pt x="1516372" y="2926447"/>
                    <a:pt x="1517324" y="2922637"/>
                    <a:pt x="1518277" y="2917874"/>
                  </a:cubicBezTo>
                  <a:cubicBezTo>
                    <a:pt x="1523992" y="2897872"/>
                    <a:pt x="1525897" y="2895967"/>
                    <a:pt x="1546852" y="2895967"/>
                  </a:cubicBezTo>
                  <a:lnTo>
                    <a:pt x="1985955" y="2895967"/>
                  </a:lnTo>
                  <a:cubicBezTo>
                    <a:pt x="1998337" y="2895967"/>
                    <a:pt x="2009767" y="2895967"/>
                    <a:pt x="2022149" y="2895967"/>
                  </a:cubicBezTo>
                  <a:cubicBezTo>
                    <a:pt x="2029769" y="2895967"/>
                    <a:pt x="2035484" y="2901682"/>
                    <a:pt x="2035484" y="2909302"/>
                  </a:cubicBezTo>
                  <a:cubicBezTo>
                    <a:pt x="2035484" y="2909302"/>
                    <a:pt x="2035484" y="2911207"/>
                    <a:pt x="2035484" y="2912159"/>
                  </a:cubicBezTo>
                  <a:cubicBezTo>
                    <a:pt x="2035484" y="2919779"/>
                    <a:pt x="2035484" y="2927399"/>
                    <a:pt x="2033580" y="2935019"/>
                  </a:cubicBezTo>
                  <a:cubicBezTo>
                    <a:pt x="1976430" y="3339832"/>
                    <a:pt x="1688774" y="3672254"/>
                    <a:pt x="1294440" y="3779887"/>
                  </a:cubicBezTo>
                  <a:cubicBezTo>
                    <a:pt x="750562" y="3930382"/>
                    <a:pt x="187634" y="3612247"/>
                    <a:pt x="37139" y="3068369"/>
                  </a:cubicBezTo>
                  <a:cubicBezTo>
                    <a:pt x="-20963" y="2858819"/>
                    <a:pt x="-10486" y="2636887"/>
                    <a:pt x="65714" y="2434004"/>
                  </a:cubicBezTo>
                  <a:cubicBezTo>
                    <a:pt x="148582" y="2208262"/>
                    <a:pt x="232402" y="1982519"/>
                    <a:pt x="315269" y="1756777"/>
                  </a:cubicBezTo>
                  <a:cubicBezTo>
                    <a:pt x="524819" y="1185277"/>
                    <a:pt x="735322" y="613777"/>
                    <a:pt x="944872" y="42277"/>
                  </a:cubicBezTo>
                  <a:cubicBezTo>
                    <a:pt x="963922" y="-9158"/>
                    <a:pt x="965827" y="-10111"/>
                    <a:pt x="1009642" y="20369"/>
                  </a:cubicBezTo>
                  <a:cubicBezTo>
                    <a:pt x="1189665" y="146099"/>
                    <a:pt x="1301107" y="316597"/>
                    <a:pt x="1340159" y="531862"/>
                  </a:cubicBezTo>
                  <a:cubicBezTo>
                    <a:pt x="1372544" y="702359"/>
                    <a:pt x="1346827" y="879524"/>
                    <a:pt x="1266817" y="1033829"/>
                  </a:cubicBezTo>
                  <a:cubicBezTo>
                    <a:pt x="1154422" y="1258619"/>
                    <a:pt x="1041074" y="1483409"/>
                    <a:pt x="929632" y="1708199"/>
                  </a:cubicBezTo>
                  <a:cubicBezTo>
                    <a:pt x="922012" y="1723439"/>
                    <a:pt x="914392" y="1737727"/>
                    <a:pt x="906772" y="1752967"/>
                  </a:cubicBezTo>
                  <a:cubicBezTo>
                    <a:pt x="897247" y="1774874"/>
                    <a:pt x="901057" y="1780589"/>
                    <a:pt x="923917" y="1779637"/>
                  </a:cubicBezTo>
                  <a:cubicBezTo>
                    <a:pt x="962017" y="1778684"/>
                    <a:pt x="1000117" y="1775827"/>
                    <a:pt x="1038217" y="1776779"/>
                  </a:cubicBezTo>
                  <a:cubicBezTo>
                    <a:pt x="1263959" y="1778684"/>
                    <a:pt x="1483034" y="1856789"/>
                    <a:pt x="1658294" y="1999664"/>
                  </a:cubicBezTo>
                  <a:cubicBezTo>
                    <a:pt x="1852605" y="2154922"/>
                    <a:pt x="1972619" y="2356852"/>
                    <a:pt x="2023102" y="2599739"/>
                  </a:cubicBezTo>
                  <a:cubicBezTo>
                    <a:pt x="2027865" y="2623552"/>
                    <a:pt x="2031674" y="2647364"/>
                    <a:pt x="2034532" y="2672129"/>
                  </a:cubicBezTo>
                  <a:cubicBezTo>
                    <a:pt x="2037390" y="2692132"/>
                    <a:pt x="2032627" y="2696894"/>
                    <a:pt x="2013577" y="2697847"/>
                  </a:cubicBezTo>
                  <a:lnTo>
                    <a:pt x="1774499" y="269784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18BBB283-2832-AC3F-F55C-3269A6B7E734}"/>
                </a:ext>
              </a:extLst>
            </p:cNvPr>
            <p:cNvSpPr/>
            <p:nvPr/>
          </p:nvSpPr>
          <p:spPr>
            <a:xfrm>
              <a:off x="1503045" y="1064002"/>
              <a:ext cx="291914" cy="1722631"/>
            </a:xfrm>
            <a:custGeom>
              <a:avLst/>
              <a:gdLst>
                <a:gd name="connsiteX0" fmla="*/ 952 w 291914"/>
                <a:gd name="connsiteY0" fmla="*/ 1722632 h 1722631"/>
                <a:gd name="connsiteX1" fmla="*/ 952 w 291914"/>
                <a:gd name="connsiteY1" fmla="*/ 1374969 h 1722631"/>
                <a:gd name="connsiteX2" fmla="*/ 952 w 291914"/>
                <a:gd name="connsiteY2" fmla="*/ 1342584 h 1722631"/>
                <a:gd name="connsiteX3" fmla="*/ 3810 w 291914"/>
                <a:gd name="connsiteY3" fmla="*/ 465331 h 1722631"/>
                <a:gd name="connsiteX4" fmla="*/ 3810 w 291914"/>
                <a:gd name="connsiteY4" fmla="*/ 40516 h 1722631"/>
                <a:gd name="connsiteX5" fmla="*/ 48577 w 291914"/>
                <a:gd name="connsiteY5" fmla="*/ 4321 h 1722631"/>
                <a:gd name="connsiteX6" fmla="*/ 271463 w 291914"/>
                <a:gd name="connsiteY6" fmla="*/ 96714 h 1722631"/>
                <a:gd name="connsiteX7" fmla="*/ 290513 w 291914"/>
                <a:gd name="connsiteY7" fmla="*/ 136719 h 1722631"/>
                <a:gd name="connsiteX8" fmla="*/ 211455 w 291914"/>
                <a:gd name="connsiteY8" fmla="*/ 576774 h 1722631"/>
                <a:gd name="connsiteX9" fmla="*/ 122872 w 291914"/>
                <a:gd name="connsiteY9" fmla="*/ 1071122 h 1722631"/>
                <a:gd name="connsiteX10" fmla="*/ 16192 w 291914"/>
                <a:gd name="connsiteY10" fmla="*/ 1664529 h 1722631"/>
                <a:gd name="connsiteX11" fmla="*/ 0 w 291914"/>
                <a:gd name="connsiteY11" fmla="*/ 1720726 h 1722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1914" h="1722631">
                  <a:moveTo>
                    <a:pt x="952" y="1722632"/>
                  </a:moveTo>
                  <a:lnTo>
                    <a:pt x="952" y="1374969"/>
                  </a:lnTo>
                  <a:cubicBezTo>
                    <a:pt x="952" y="1364491"/>
                    <a:pt x="952" y="1354014"/>
                    <a:pt x="952" y="1342584"/>
                  </a:cubicBezTo>
                  <a:cubicBezTo>
                    <a:pt x="1905" y="1050166"/>
                    <a:pt x="2858" y="757749"/>
                    <a:pt x="3810" y="465331"/>
                  </a:cubicBezTo>
                  <a:cubicBezTo>
                    <a:pt x="3810" y="323409"/>
                    <a:pt x="3810" y="182439"/>
                    <a:pt x="3810" y="40516"/>
                  </a:cubicBezTo>
                  <a:cubicBezTo>
                    <a:pt x="3810" y="-1394"/>
                    <a:pt x="8572" y="-5204"/>
                    <a:pt x="48577" y="4321"/>
                  </a:cubicBezTo>
                  <a:cubicBezTo>
                    <a:pt x="126683" y="24324"/>
                    <a:pt x="201930" y="54804"/>
                    <a:pt x="271463" y="96714"/>
                  </a:cubicBezTo>
                  <a:cubicBezTo>
                    <a:pt x="287655" y="103381"/>
                    <a:pt x="295275" y="120527"/>
                    <a:pt x="290513" y="136719"/>
                  </a:cubicBezTo>
                  <a:cubicBezTo>
                    <a:pt x="262890" y="283404"/>
                    <a:pt x="238125" y="430089"/>
                    <a:pt x="211455" y="576774"/>
                  </a:cubicBezTo>
                  <a:cubicBezTo>
                    <a:pt x="181927" y="741557"/>
                    <a:pt x="152400" y="906339"/>
                    <a:pt x="122872" y="1071122"/>
                  </a:cubicBezTo>
                  <a:cubicBezTo>
                    <a:pt x="87630" y="1269241"/>
                    <a:pt x="51435" y="1466409"/>
                    <a:pt x="16192" y="1664529"/>
                  </a:cubicBezTo>
                  <a:cubicBezTo>
                    <a:pt x="12383" y="1681674"/>
                    <a:pt x="10477" y="1692151"/>
                    <a:pt x="0" y="17207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B8E5F3AB-E66C-6CC6-162C-DFF15BE48B15}"/>
                </a:ext>
              </a:extLst>
            </p:cNvPr>
            <p:cNvSpPr/>
            <p:nvPr/>
          </p:nvSpPr>
          <p:spPr>
            <a:xfrm>
              <a:off x="1683067" y="817105"/>
              <a:ext cx="541936" cy="1609483"/>
            </a:xfrm>
            <a:custGeom>
              <a:avLst/>
              <a:gdLst>
                <a:gd name="connsiteX0" fmla="*/ 953 w 541936"/>
                <a:gd name="connsiteY0" fmla="*/ 1608531 h 1609483"/>
                <a:gd name="connsiteX1" fmla="*/ 89535 w 541936"/>
                <a:gd name="connsiteY1" fmla="*/ 1138949 h 1609483"/>
                <a:gd name="connsiteX2" fmla="*/ 224790 w 541936"/>
                <a:gd name="connsiteY2" fmla="*/ 384568 h 1609483"/>
                <a:gd name="connsiteX3" fmla="*/ 285750 w 541936"/>
                <a:gd name="connsiteY3" fmla="*/ 43573 h 1609483"/>
                <a:gd name="connsiteX4" fmla="*/ 342900 w 541936"/>
                <a:gd name="connsiteY4" fmla="*/ 13093 h 1609483"/>
                <a:gd name="connsiteX5" fmla="*/ 521017 w 541936"/>
                <a:gd name="connsiteY5" fmla="*/ 123583 h 1609483"/>
                <a:gd name="connsiteX6" fmla="*/ 535305 w 541936"/>
                <a:gd name="connsiteY6" fmla="*/ 173113 h 1609483"/>
                <a:gd name="connsiteX7" fmla="*/ 456248 w 541936"/>
                <a:gd name="connsiteY7" fmla="*/ 387426 h 1609483"/>
                <a:gd name="connsiteX8" fmla="*/ 200025 w 541936"/>
                <a:gd name="connsiteY8" fmla="*/ 1085608 h 1609483"/>
                <a:gd name="connsiteX9" fmla="*/ 35242 w 541936"/>
                <a:gd name="connsiteY9" fmla="*/ 1530426 h 1609483"/>
                <a:gd name="connsiteX10" fmla="*/ 0 w 541936"/>
                <a:gd name="connsiteY10" fmla="*/ 1609483 h 1609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1936" h="1609483">
                  <a:moveTo>
                    <a:pt x="953" y="1608531"/>
                  </a:moveTo>
                  <a:cubicBezTo>
                    <a:pt x="24765" y="1478038"/>
                    <a:pt x="66675" y="1268488"/>
                    <a:pt x="89535" y="1138949"/>
                  </a:cubicBezTo>
                  <a:cubicBezTo>
                    <a:pt x="134303" y="887488"/>
                    <a:pt x="180023" y="636028"/>
                    <a:pt x="224790" y="384568"/>
                  </a:cubicBezTo>
                  <a:cubicBezTo>
                    <a:pt x="244792" y="270268"/>
                    <a:pt x="264795" y="156921"/>
                    <a:pt x="285750" y="43573"/>
                  </a:cubicBezTo>
                  <a:cubicBezTo>
                    <a:pt x="294323" y="-1194"/>
                    <a:pt x="289560" y="-11672"/>
                    <a:pt x="342900" y="13093"/>
                  </a:cubicBezTo>
                  <a:cubicBezTo>
                    <a:pt x="406717" y="41668"/>
                    <a:pt x="466725" y="78816"/>
                    <a:pt x="521017" y="123583"/>
                  </a:cubicBezTo>
                  <a:cubicBezTo>
                    <a:pt x="545783" y="143586"/>
                    <a:pt x="545783" y="144538"/>
                    <a:pt x="535305" y="173113"/>
                  </a:cubicBezTo>
                  <a:cubicBezTo>
                    <a:pt x="509588" y="244551"/>
                    <a:pt x="482917" y="315988"/>
                    <a:pt x="456248" y="387426"/>
                  </a:cubicBezTo>
                  <a:cubicBezTo>
                    <a:pt x="370523" y="619836"/>
                    <a:pt x="284798" y="853199"/>
                    <a:pt x="200025" y="1085608"/>
                  </a:cubicBezTo>
                  <a:cubicBezTo>
                    <a:pt x="145733" y="1234199"/>
                    <a:pt x="90488" y="1382788"/>
                    <a:pt x="35242" y="1530426"/>
                  </a:cubicBezTo>
                  <a:lnTo>
                    <a:pt x="0" y="16094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0" name="TextBox 39">
            <a:extLst>
              <a:ext uri="{FF2B5EF4-FFF2-40B4-BE49-F238E27FC236}">
                <a16:creationId xmlns:a16="http://schemas.microsoft.com/office/drawing/2014/main" id="{661C30F6-7623-C050-B956-4FCD6455CF46}"/>
              </a:ext>
            </a:extLst>
          </p:cNvPr>
          <p:cNvSpPr txBox="1"/>
          <p:nvPr/>
        </p:nvSpPr>
        <p:spPr>
          <a:xfrm rot="16200000">
            <a:off x="-1444725" y="5332504"/>
            <a:ext cx="462952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3200" b="1" dirty="0" err="1">
                <a:solidFill>
                  <a:schemeClr val="bg1"/>
                </a:solidFill>
              </a:rPr>
              <a:t>breadcrumbsdata.com</a:t>
            </a:r>
            <a:endParaRPr lang="en-US" sz="3200" b="1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A272536-0BB6-2322-B8A8-4C3BE2F2ADED}"/>
              </a:ext>
            </a:extLst>
          </p:cNvPr>
          <p:cNvSpPr txBox="1"/>
          <p:nvPr/>
        </p:nvSpPr>
        <p:spPr>
          <a:xfrm>
            <a:off x="3358969" y="7557688"/>
            <a:ext cx="1766751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latin typeface="FUTURA MEDIUM BT" panose="020B0602020204020303" pitchFamily="34" charset="0"/>
                <a:ea typeface="Open Sans Extrabold" panose="020B0906030804020204" pitchFamily="34" charset="0"/>
                <a:cs typeface="Open Sans Extrabold" panose="020B0906030804020204" pitchFamily="34" charset="0"/>
              </a:rPr>
              <a:t>“Breadcrumbs" are anonymized, discrete pieces of information about a real-world event, i.e. a website, GPS coordinate, purchase, or social media interaction.</a:t>
            </a:r>
          </a:p>
        </p:txBody>
      </p:sp>
    </p:spTree>
    <p:extLst>
      <p:ext uri="{BB962C8B-B14F-4D97-AF65-F5344CB8AC3E}">
        <p14:creationId xmlns:p14="http://schemas.microsoft.com/office/powerpoint/2010/main" val="17560715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1000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10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16" presetClass="entr" presetSubtype="37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5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6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17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8" presetID="2" presetClass="entr" presetSubtype="2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1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1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22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23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4" fill="hold">
                      <p:stCondLst>
                        <p:cond delay="0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7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</p:childTnLst>
        </p:cTn>
      </p:par>
    </p:tnLst>
    <p:bldLst>
      <p:bldP spid="12" grpId="0"/>
      <p:bldP spid="5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>
            <a:extLst>
              <a:ext uri="{FF2B5EF4-FFF2-40B4-BE49-F238E27FC236}">
                <a16:creationId xmlns:a16="http://schemas.microsoft.com/office/drawing/2014/main" id="{B1AD9D79-3F9B-919B-EAA2-CAB5CE83CD1A}"/>
              </a:ext>
            </a:extLst>
          </p:cNvPr>
          <p:cNvGrpSpPr/>
          <p:nvPr/>
        </p:nvGrpSpPr>
        <p:grpSpPr>
          <a:xfrm>
            <a:off x="6302828" y="-6899932"/>
            <a:ext cx="46754992" cy="23367364"/>
            <a:chOff x="2132873" y="-10533614"/>
            <a:chExt cx="58338119" cy="29156418"/>
          </a:xfrm>
        </p:grpSpPr>
        <p:sp>
          <p:nvSpPr>
            <p:cNvPr id="3" name="Freeform 5">
              <a:extLst>
                <a:ext uri="{FF2B5EF4-FFF2-40B4-BE49-F238E27FC236}">
                  <a16:creationId xmlns:a16="http://schemas.microsoft.com/office/drawing/2014/main" id="{55DC3FD8-7EF1-B660-D0B3-2DBC7BEDD9E8}"/>
                </a:ext>
              </a:extLst>
            </p:cNvPr>
            <p:cNvSpPr>
              <a:spLocks/>
            </p:cNvSpPr>
            <p:nvPr/>
          </p:nvSpPr>
          <p:spPr bwMode="auto">
            <a:xfrm rot="2757414">
              <a:off x="19465991" y="-27866732"/>
              <a:ext cx="6481764" cy="41148000"/>
            </a:xfrm>
            <a:custGeom>
              <a:avLst/>
              <a:gdLst>
                <a:gd name="T0" fmla="*/ 913 w 2188"/>
                <a:gd name="T1" fmla="*/ 14034 h 14034"/>
                <a:gd name="T2" fmla="*/ 734 w 2188"/>
                <a:gd name="T3" fmla="*/ 13676 h 14034"/>
                <a:gd name="T4" fmla="*/ 373 w 2188"/>
                <a:gd name="T5" fmla="*/ 12854 h 14034"/>
                <a:gd name="T6" fmla="*/ 0 w 2188"/>
                <a:gd name="T7" fmla="*/ 11337 h 14034"/>
                <a:gd name="T8" fmla="*/ 376 w 2188"/>
                <a:gd name="T9" fmla="*/ 9820 h 14034"/>
                <a:gd name="T10" fmla="*/ 738 w 2188"/>
                <a:gd name="T11" fmla="*/ 8998 h 14034"/>
                <a:gd name="T12" fmla="*/ 1072 w 2188"/>
                <a:gd name="T13" fmla="*/ 8236 h 14034"/>
                <a:gd name="T14" fmla="*/ 1388 w 2188"/>
                <a:gd name="T15" fmla="*/ 7017 h 14034"/>
                <a:gd name="T16" fmla="*/ 1068 w 2188"/>
                <a:gd name="T17" fmla="*/ 5792 h 14034"/>
                <a:gd name="T18" fmla="*/ 735 w 2188"/>
                <a:gd name="T19" fmla="*/ 5037 h 14034"/>
                <a:gd name="T20" fmla="*/ 734 w 2188"/>
                <a:gd name="T21" fmla="*/ 5036 h 14034"/>
                <a:gd name="T22" fmla="*/ 373 w 2188"/>
                <a:gd name="T23" fmla="*/ 4214 h 14034"/>
                <a:gd name="T24" fmla="*/ 0 w 2188"/>
                <a:gd name="T25" fmla="*/ 2697 h 14034"/>
                <a:gd name="T26" fmla="*/ 376 w 2188"/>
                <a:gd name="T27" fmla="*/ 1180 h 14034"/>
                <a:gd name="T28" fmla="*/ 739 w 2188"/>
                <a:gd name="T29" fmla="*/ 357 h 14034"/>
                <a:gd name="T30" fmla="*/ 918 w 2188"/>
                <a:gd name="T31" fmla="*/ 0 h 14034"/>
                <a:gd name="T32" fmla="*/ 1633 w 2188"/>
                <a:gd name="T33" fmla="*/ 359 h 14034"/>
                <a:gd name="T34" fmla="*/ 1453 w 2188"/>
                <a:gd name="T35" fmla="*/ 717 h 14034"/>
                <a:gd name="T36" fmla="*/ 1118 w 2188"/>
                <a:gd name="T37" fmla="*/ 1478 h 14034"/>
                <a:gd name="T38" fmla="*/ 800 w 2188"/>
                <a:gd name="T39" fmla="*/ 2697 h 14034"/>
                <a:gd name="T40" fmla="*/ 1116 w 2188"/>
                <a:gd name="T41" fmla="*/ 3916 h 14034"/>
                <a:gd name="T42" fmla="*/ 1449 w 2188"/>
                <a:gd name="T43" fmla="*/ 4677 h 14034"/>
                <a:gd name="T44" fmla="*/ 1812 w 2188"/>
                <a:gd name="T45" fmla="*/ 5500 h 14034"/>
                <a:gd name="T46" fmla="*/ 2188 w 2188"/>
                <a:gd name="T47" fmla="*/ 7017 h 14034"/>
                <a:gd name="T48" fmla="*/ 1815 w 2188"/>
                <a:gd name="T49" fmla="*/ 8534 h 14034"/>
                <a:gd name="T50" fmla="*/ 1454 w 2188"/>
                <a:gd name="T51" fmla="*/ 9356 h 14034"/>
                <a:gd name="T52" fmla="*/ 1453 w 2188"/>
                <a:gd name="T53" fmla="*/ 9357 h 14034"/>
                <a:gd name="T54" fmla="*/ 1118 w 2188"/>
                <a:gd name="T55" fmla="*/ 10118 h 14034"/>
                <a:gd name="T56" fmla="*/ 800 w 2188"/>
                <a:gd name="T57" fmla="*/ 11337 h 14034"/>
                <a:gd name="T58" fmla="*/ 1116 w 2188"/>
                <a:gd name="T59" fmla="*/ 12556 h 14034"/>
                <a:gd name="T60" fmla="*/ 1450 w 2188"/>
                <a:gd name="T61" fmla="*/ 13318 h 14034"/>
                <a:gd name="T62" fmla="*/ 1628 w 2188"/>
                <a:gd name="T63" fmla="*/ 13676 h 14034"/>
                <a:gd name="T64" fmla="*/ 913 w 2188"/>
                <a:gd name="T65" fmla="*/ 14034 h 14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188" h="14034">
                  <a:moveTo>
                    <a:pt x="913" y="14034"/>
                  </a:moveTo>
                  <a:cubicBezTo>
                    <a:pt x="734" y="13676"/>
                    <a:pt x="734" y="13676"/>
                    <a:pt x="734" y="13676"/>
                  </a:cubicBezTo>
                  <a:cubicBezTo>
                    <a:pt x="727" y="13661"/>
                    <a:pt x="551" y="13308"/>
                    <a:pt x="373" y="12854"/>
                  </a:cubicBezTo>
                  <a:cubicBezTo>
                    <a:pt x="126" y="12219"/>
                    <a:pt x="0" y="11709"/>
                    <a:pt x="0" y="11337"/>
                  </a:cubicBezTo>
                  <a:cubicBezTo>
                    <a:pt x="0" y="10965"/>
                    <a:pt x="126" y="10454"/>
                    <a:pt x="376" y="9820"/>
                  </a:cubicBezTo>
                  <a:cubicBezTo>
                    <a:pt x="553" y="9368"/>
                    <a:pt x="729" y="9017"/>
                    <a:pt x="738" y="8998"/>
                  </a:cubicBezTo>
                  <a:cubicBezTo>
                    <a:pt x="745" y="8984"/>
                    <a:pt x="910" y="8651"/>
                    <a:pt x="1072" y="8236"/>
                  </a:cubicBezTo>
                  <a:cubicBezTo>
                    <a:pt x="1276" y="7713"/>
                    <a:pt x="1388" y="7280"/>
                    <a:pt x="1388" y="7017"/>
                  </a:cubicBezTo>
                  <a:cubicBezTo>
                    <a:pt x="1388" y="6753"/>
                    <a:pt x="1274" y="6318"/>
                    <a:pt x="1068" y="5792"/>
                  </a:cubicBezTo>
                  <a:cubicBezTo>
                    <a:pt x="902" y="5371"/>
                    <a:pt x="736" y="5040"/>
                    <a:pt x="735" y="5037"/>
                  </a:cubicBezTo>
                  <a:cubicBezTo>
                    <a:pt x="734" y="5036"/>
                    <a:pt x="734" y="5036"/>
                    <a:pt x="734" y="5036"/>
                  </a:cubicBezTo>
                  <a:cubicBezTo>
                    <a:pt x="727" y="5021"/>
                    <a:pt x="551" y="4668"/>
                    <a:pt x="373" y="4214"/>
                  </a:cubicBezTo>
                  <a:cubicBezTo>
                    <a:pt x="126" y="3579"/>
                    <a:pt x="0" y="3069"/>
                    <a:pt x="0" y="2697"/>
                  </a:cubicBezTo>
                  <a:cubicBezTo>
                    <a:pt x="0" y="2325"/>
                    <a:pt x="126" y="1814"/>
                    <a:pt x="376" y="1180"/>
                  </a:cubicBezTo>
                  <a:cubicBezTo>
                    <a:pt x="554" y="725"/>
                    <a:pt x="731" y="372"/>
                    <a:pt x="739" y="357"/>
                  </a:cubicBezTo>
                  <a:cubicBezTo>
                    <a:pt x="918" y="0"/>
                    <a:pt x="918" y="0"/>
                    <a:pt x="918" y="0"/>
                  </a:cubicBezTo>
                  <a:cubicBezTo>
                    <a:pt x="1633" y="359"/>
                    <a:pt x="1633" y="359"/>
                    <a:pt x="1633" y="359"/>
                  </a:cubicBezTo>
                  <a:cubicBezTo>
                    <a:pt x="1453" y="717"/>
                    <a:pt x="1453" y="717"/>
                    <a:pt x="1453" y="717"/>
                  </a:cubicBezTo>
                  <a:cubicBezTo>
                    <a:pt x="1450" y="724"/>
                    <a:pt x="1282" y="1059"/>
                    <a:pt x="1118" y="1478"/>
                  </a:cubicBezTo>
                  <a:cubicBezTo>
                    <a:pt x="913" y="2001"/>
                    <a:pt x="800" y="2434"/>
                    <a:pt x="800" y="2697"/>
                  </a:cubicBezTo>
                  <a:cubicBezTo>
                    <a:pt x="800" y="2960"/>
                    <a:pt x="912" y="3393"/>
                    <a:pt x="1116" y="3916"/>
                  </a:cubicBezTo>
                  <a:cubicBezTo>
                    <a:pt x="1277" y="4329"/>
                    <a:pt x="1441" y="4660"/>
                    <a:pt x="1449" y="4677"/>
                  </a:cubicBezTo>
                  <a:cubicBezTo>
                    <a:pt x="1458" y="4695"/>
                    <a:pt x="1634" y="5047"/>
                    <a:pt x="1812" y="5500"/>
                  </a:cubicBezTo>
                  <a:cubicBezTo>
                    <a:pt x="2062" y="6134"/>
                    <a:pt x="2188" y="6645"/>
                    <a:pt x="2188" y="7017"/>
                  </a:cubicBezTo>
                  <a:cubicBezTo>
                    <a:pt x="2188" y="7389"/>
                    <a:pt x="2062" y="7899"/>
                    <a:pt x="1815" y="8534"/>
                  </a:cubicBezTo>
                  <a:cubicBezTo>
                    <a:pt x="1637" y="8988"/>
                    <a:pt x="1461" y="9341"/>
                    <a:pt x="1454" y="9356"/>
                  </a:cubicBezTo>
                  <a:cubicBezTo>
                    <a:pt x="1453" y="9357"/>
                    <a:pt x="1453" y="9357"/>
                    <a:pt x="1453" y="9357"/>
                  </a:cubicBezTo>
                  <a:cubicBezTo>
                    <a:pt x="1452" y="9360"/>
                    <a:pt x="1283" y="9697"/>
                    <a:pt x="1118" y="10118"/>
                  </a:cubicBezTo>
                  <a:cubicBezTo>
                    <a:pt x="913" y="10641"/>
                    <a:pt x="800" y="11074"/>
                    <a:pt x="800" y="11337"/>
                  </a:cubicBezTo>
                  <a:cubicBezTo>
                    <a:pt x="800" y="11600"/>
                    <a:pt x="912" y="12033"/>
                    <a:pt x="1116" y="12556"/>
                  </a:cubicBezTo>
                  <a:cubicBezTo>
                    <a:pt x="1281" y="12978"/>
                    <a:pt x="1448" y="13315"/>
                    <a:pt x="1450" y="13318"/>
                  </a:cubicBezTo>
                  <a:cubicBezTo>
                    <a:pt x="1628" y="13676"/>
                    <a:pt x="1628" y="13676"/>
                    <a:pt x="1628" y="13676"/>
                  </a:cubicBezTo>
                  <a:lnTo>
                    <a:pt x="913" y="14034"/>
                  </a:lnTo>
                  <a:close/>
                </a:path>
              </a:pathLst>
            </a:custGeom>
            <a:solidFill>
              <a:schemeClr val="accent6">
                <a:alpha val="88000"/>
              </a:schemeClr>
            </a:solidFill>
            <a:ln>
              <a:noFill/>
            </a:ln>
            <a:effectLst>
              <a:outerShdw blurRad="1003300" dist="38100" dir="10800000" algn="r" rotWithShape="0">
                <a:schemeClr val="accent1">
                  <a:lumMod val="75000"/>
                  <a:alpha val="46000"/>
                </a:scheme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" name="Freeform 6">
              <a:extLst>
                <a:ext uri="{FF2B5EF4-FFF2-40B4-BE49-F238E27FC236}">
                  <a16:creationId xmlns:a16="http://schemas.microsoft.com/office/drawing/2014/main" id="{46A39DEA-774A-BE40-3467-3051F31F7EAB}"/>
                </a:ext>
              </a:extLst>
            </p:cNvPr>
            <p:cNvSpPr>
              <a:spLocks/>
            </p:cNvSpPr>
            <p:nvPr/>
          </p:nvSpPr>
          <p:spPr bwMode="auto">
            <a:xfrm rot="2757414">
              <a:off x="20899603" y="-26384415"/>
              <a:ext cx="6481764" cy="41148000"/>
            </a:xfrm>
            <a:custGeom>
              <a:avLst/>
              <a:gdLst>
                <a:gd name="T0" fmla="*/ 913 w 2188"/>
                <a:gd name="T1" fmla="*/ 14034 h 14034"/>
                <a:gd name="T2" fmla="*/ 734 w 2188"/>
                <a:gd name="T3" fmla="*/ 13676 h 14034"/>
                <a:gd name="T4" fmla="*/ 373 w 2188"/>
                <a:gd name="T5" fmla="*/ 12854 h 14034"/>
                <a:gd name="T6" fmla="*/ 0 w 2188"/>
                <a:gd name="T7" fmla="*/ 11337 h 14034"/>
                <a:gd name="T8" fmla="*/ 376 w 2188"/>
                <a:gd name="T9" fmla="*/ 9820 h 14034"/>
                <a:gd name="T10" fmla="*/ 738 w 2188"/>
                <a:gd name="T11" fmla="*/ 8998 h 14034"/>
                <a:gd name="T12" fmla="*/ 1072 w 2188"/>
                <a:gd name="T13" fmla="*/ 8236 h 14034"/>
                <a:gd name="T14" fmla="*/ 1388 w 2188"/>
                <a:gd name="T15" fmla="*/ 7017 h 14034"/>
                <a:gd name="T16" fmla="*/ 1068 w 2188"/>
                <a:gd name="T17" fmla="*/ 5792 h 14034"/>
                <a:gd name="T18" fmla="*/ 735 w 2188"/>
                <a:gd name="T19" fmla="*/ 5037 h 14034"/>
                <a:gd name="T20" fmla="*/ 734 w 2188"/>
                <a:gd name="T21" fmla="*/ 5036 h 14034"/>
                <a:gd name="T22" fmla="*/ 373 w 2188"/>
                <a:gd name="T23" fmla="*/ 4214 h 14034"/>
                <a:gd name="T24" fmla="*/ 0 w 2188"/>
                <a:gd name="T25" fmla="*/ 2697 h 14034"/>
                <a:gd name="T26" fmla="*/ 376 w 2188"/>
                <a:gd name="T27" fmla="*/ 1180 h 14034"/>
                <a:gd name="T28" fmla="*/ 739 w 2188"/>
                <a:gd name="T29" fmla="*/ 357 h 14034"/>
                <a:gd name="T30" fmla="*/ 918 w 2188"/>
                <a:gd name="T31" fmla="*/ 0 h 14034"/>
                <a:gd name="T32" fmla="*/ 1633 w 2188"/>
                <a:gd name="T33" fmla="*/ 359 h 14034"/>
                <a:gd name="T34" fmla="*/ 1453 w 2188"/>
                <a:gd name="T35" fmla="*/ 717 h 14034"/>
                <a:gd name="T36" fmla="*/ 1118 w 2188"/>
                <a:gd name="T37" fmla="*/ 1478 h 14034"/>
                <a:gd name="T38" fmla="*/ 800 w 2188"/>
                <a:gd name="T39" fmla="*/ 2697 h 14034"/>
                <a:gd name="T40" fmla="*/ 1116 w 2188"/>
                <a:gd name="T41" fmla="*/ 3916 h 14034"/>
                <a:gd name="T42" fmla="*/ 1449 w 2188"/>
                <a:gd name="T43" fmla="*/ 4677 h 14034"/>
                <a:gd name="T44" fmla="*/ 1812 w 2188"/>
                <a:gd name="T45" fmla="*/ 5500 h 14034"/>
                <a:gd name="T46" fmla="*/ 2188 w 2188"/>
                <a:gd name="T47" fmla="*/ 7017 h 14034"/>
                <a:gd name="T48" fmla="*/ 1815 w 2188"/>
                <a:gd name="T49" fmla="*/ 8534 h 14034"/>
                <a:gd name="T50" fmla="*/ 1454 w 2188"/>
                <a:gd name="T51" fmla="*/ 9356 h 14034"/>
                <a:gd name="T52" fmla="*/ 1453 w 2188"/>
                <a:gd name="T53" fmla="*/ 9357 h 14034"/>
                <a:gd name="T54" fmla="*/ 1118 w 2188"/>
                <a:gd name="T55" fmla="*/ 10118 h 14034"/>
                <a:gd name="T56" fmla="*/ 800 w 2188"/>
                <a:gd name="T57" fmla="*/ 11337 h 14034"/>
                <a:gd name="T58" fmla="*/ 1116 w 2188"/>
                <a:gd name="T59" fmla="*/ 12556 h 14034"/>
                <a:gd name="T60" fmla="*/ 1450 w 2188"/>
                <a:gd name="T61" fmla="*/ 13318 h 14034"/>
                <a:gd name="T62" fmla="*/ 1628 w 2188"/>
                <a:gd name="T63" fmla="*/ 13676 h 14034"/>
                <a:gd name="T64" fmla="*/ 913 w 2188"/>
                <a:gd name="T65" fmla="*/ 14034 h 14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188" h="14034">
                  <a:moveTo>
                    <a:pt x="913" y="14034"/>
                  </a:moveTo>
                  <a:cubicBezTo>
                    <a:pt x="734" y="13676"/>
                    <a:pt x="734" y="13676"/>
                    <a:pt x="734" y="13676"/>
                  </a:cubicBezTo>
                  <a:cubicBezTo>
                    <a:pt x="727" y="13661"/>
                    <a:pt x="551" y="13308"/>
                    <a:pt x="373" y="12854"/>
                  </a:cubicBezTo>
                  <a:cubicBezTo>
                    <a:pt x="126" y="12219"/>
                    <a:pt x="0" y="11709"/>
                    <a:pt x="0" y="11337"/>
                  </a:cubicBezTo>
                  <a:cubicBezTo>
                    <a:pt x="0" y="10965"/>
                    <a:pt x="126" y="10454"/>
                    <a:pt x="376" y="9820"/>
                  </a:cubicBezTo>
                  <a:cubicBezTo>
                    <a:pt x="553" y="9368"/>
                    <a:pt x="729" y="9017"/>
                    <a:pt x="738" y="8998"/>
                  </a:cubicBezTo>
                  <a:cubicBezTo>
                    <a:pt x="745" y="8984"/>
                    <a:pt x="910" y="8651"/>
                    <a:pt x="1072" y="8236"/>
                  </a:cubicBezTo>
                  <a:cubicBezTo>
                    <a:pt x="1276" y="7713"/>
                    <a:pt x="1388" y="7280"/>
                    <a:pt x="1388" y="7017"/>
                  </a:cubicBezTo>
                  <a:cubicBezTo>
                    <a:pt x="1388" y="6753"/>
                    <a:pt x="1274" y="6318"/>
                    <a:pt x="1068" y="5792"/>
                  </a:cubicBezTo>
                  <a:cubicBezTo>
                    <a:pt x="902" y="5371"/>
                    <a:pt x="736" y="5040"/>
                    <a:pt x="735" y="5037"/>
                  </a:cubicBezTo>
                  <a:cubicBezTo>
                    <a:pt x="734" y="5036"/>
                    <a:pt x="734" y="5036"/>
                    <a:pt x="734" y="5036"/>
                  </a:cubicBezTo>
                  <a:cubicBezTo>
                    <a:pt x="727" y="5021"/>
                    <a:pt x="551" y="4668"/>
                    <a:pt x="373" y="4214"/>
                  </a:cubicBezTo>
                  <a:cubicBezTo>
                    <a:pt x="126" y="3579"/>
                    <a:pt x="0" y="3069"/>
                    <a:pt x="0" y="2697"/>
                  </a:cubicBezTo>
                  <a:cubicBezTo>
                    <a:pt x="0" y="2325"/>
                    <a:pt x="126" y="1814"/>
                    <a:pt x="376" y="1180"/>
                  </a:cubicBezTo>
                  <a:cubicBezTo>
                    <a:pt x="554" y="725"/>
                    <a:pt x="731" y="372"/>
                    <a:pt x="739" y="357"/>
                  </a:cubicBezTo>
                  <a:cubicBezTo>
                    <a:pt x="918" y="0"/>
                    <a:pt x="918" y="0"/>
                    <a:pt x="918" y="0"/>
                  </a:cubicBezTo>
                  <a:cubicBezTo>
                    <a:pt x="1633" y="359"/>
                    <a:pt x="1633" y="359"/>
                    <a:pt x="1633" y="359"/>
                  </a:cubicBezTo>
                  <a:cubicBezTo>
                    <a:pt x="1453" y="717"/>
                    <a:pt x="1453" y="717"/>
                    <a:pt x="1453" y="717"/>
                  </a:cubicBezTo>
                  <a:cubicBezTo>
                    <a:pt x="1450" y="724"/>
                    <a:pt x="1282" y="1059"/>
                    <a:pt x="1118" y="1478"/>
                  </a:cubicBezTo>
                  <a:cubicBezTo>
                    <a:pt x="913" y="2001"/>
                    <a:pt x="800" y="2434"/>
                    <a:pt x="800" y="2697"/>
                  </a:cubicBezTo>
                  <a:cubicBezTo>
                    <a:pt x="800" y="2960"/>
                    <a:pt x="912" y="3393"/>
                    <a:pt x="1116" y="3916"/>
                  </a:cubicBezTo>
                  <a:cubicBezTo>
                    <a:pt x="1277" y="4329"/>
                    <a:pt x="1441" y="4660"/>
                    <a:pt x="1449" y="4677"/>
                  </a:cubicBezTo>
                  <a:cubicBezTo>
                    <a:pt x="1458" y="4695"/>
                    <a:pt x="1634" y="5047"/>
                    <a:pt x="1812" y="5500"/>
                  </a:cubicBezTo>
                  <a:cubicBezTo>
                    <a:pt x="2062" y="6134"/>
                    <a:pt x="2188" y="6645"/>
                    <a:pt x="2188" y="7017"/>
                  </a:cubicBezTo>
                  <a:cubicBezTo>
                    <a:pt x="2188" y="7389"/>
                    <a:pt x="2062" y="7899"/>
                    <a:pt x="1815" y="8534"/>
                  </a:cubicBezTo>
                  <a:cubicBezTo>
                    <a:pt x="1637" y="8988"/>
                    <a:pt x="1461" y="9341"/>
                    <a:pt x="1454" y="9356"/>
                  </a:cubicBezTo>
                  <a:cubicBezTo>
                    <a:pt x="1453" y="9357"/>
                    <a:pt x="1453" y="9357"/>
                    <a:pt x="1453" y="9357"/>
                  </a:cubicBezTo>
                  <a:cubicBezTo>
                    <a:pt x="1452" y="9360"/>
                    <a:pt x="1283" y="9697"/>
                    <a:pt x="1118" y="10118"/>
                  </a:cubicBezTo>
                  <a:cubicBezTo>
                    <a:pt x="913" y="10641"/>
                    <a:pt x="800" y="11074"/>
                    <a:pt x="800" y="11337"/>
                  </a:cubicBezTo>
                  <a:cubicBezTo>
                    <a:pt x="800" y="11600"/>
                    <a:pt x="912" y="12033"/>
                    <a:pt x="1116" y="12556"/>
                  </a:cubicBezTo>
                  <a:cubicBezTo>
                    <a:pt x="1281" y="12978"/>
                    <a:pt x="1448" y="13315"/>
                    <a:pt x="1450" y="13318"/>
                  </a:cubicBezTo>
                  <a:cubicBezTo>
                    <a:pt x="1628" y="13676"/>
                    <a:pt x="1628" y="13676"/>
                    <a:pt x="1628" y="13676"/>
                  </a:cubicBezTo>
                  <a:lnTo>
                    <a:pt x="913" y="14034"/>
                  </a:lnTo>
                  <a:close/>
                </a:path>
              </a:pathLst>
            </a:custGeom>
            <a:solidFill>
              <a:schemeClr val="tx1">
                <a:alpha val="88000"/>
              </a:schemeClr>
            </a:solidFill>
            <a:ln>
              <a:noFill/>
            </a:ln>
            <a:effectLst>
              <a:outerShdw blurRad="1003300" dist="38100" dir="10800000" algn="r" rotWithShape="0">
                <a:schemeClr val="accent6">
                  <a:lumMod val="75000"/>
                  <a:alpha val="46000"/>
                </a:scheme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77437E5F-75B8-FFDB-1F6B-B0B78713BEF0}"/>
                </a:ext>
              </a:extLst>
            </p:cNvPr>
            <p:cNvSpPr>
              <a:spLocks/>
            </p:cNvSpPr>
            <p:nvPr/>
          </p:nvSpPr>
          <p:spPr bwMode="auto">
            <a:xfrm rot="2757414">
              <a:off x="22333218" y="-24902097"/>
              <a:ext cx="6481764" cy="41148000"/>
            </a:xfrm>
            <a:custGeom>
              <a:avLst/>
              <a:gdLst>
                <a:gd name="T0" fmla="*/ 913 w 2188"/>
                <a:gd name="T1" fmla="*/ 14034 h 14034"/>
                <a:gd name="T2" fmla="*/ 734 w 2188"/>
                <a:gd name="T3" fmla="*/ 13676 h 14034"/>
                <a:gd name="T4" fmla="*/ 373 w 2188"/>
                <a:gd name="T5" fmla="*/ 12854 h 14034"/>
                <a:gd name="T6" fmla="*/ 0 w 2188"/>
                <a:gd name="T7" fmla="*/ 11337 h 14034"/>
                <a:gd name="T8" fmla="*/ 376 w 2188"/>
                <a:gd name="T9" fmla="*/ 9820 h 14034"/>
                <a:gd name="T10" fmla="*/ 738 w 2188"/>
                <a:gd name="T11" fmla="*/ 8998 h 14034"/>
                <a:gd name="T12" fmla="*/ 1072 w 2188"/>
                <a:gd name="T13" fmla="*/ 8236 h 14034"/>
                <a:gd name="T14" fmla="*/ 1388 w 2188"/>
                <a:gd name="T15" fmla="*/ 7017 h 14034"/>
                <a:gd name="T16" fmla="*/ 1068 w 2188"/>
                <a:gd name="T17" fmla="*/ 5792 h 14034"/>
                <a:gd name="T18" fmla="*/ 735 w 2188"/>
                <a:gd name="T19" fmla="*/ 5037 h 14034"/>
                <a:gd name="T20" fmla="*/ 734 w 2188"/>
                <a:gd name="T21" fmla="*/ 5036 h 14034"/>
                <a:gd name="T22" fmla="*/ 373 w 2188"/>
                <a:gd name="T23" fmla="*/ 4214 h 14034"/>
                <a:gd name="T24" fmla="*/ 0 w 2188"/>
                <a:gd name="T25" fmla="*/ 2697 h 14034"/>
                <a:gd name="T26" fmla="*/ 376 w 2188"/>
                <a:gd name="T27" fmla="*/ 1180 h 14034"/>
                <a:gd name="T28" fmla="*/ 739 w 2188"/>
                <a:gd name="T29" fmla="*/ 357 h 14034"/>
                <a:gd name="T30" fmla="*/ 918 w 2188"/>
                <a:gd name="T31" fmla="*/ 0 h 14034"/>
                <a:gd name="T32" fmla="*/ 1633 w 2188"/>
                <a:gd name="T33" fmla="*/ 359 h 14034"/>
                <a:gd name="T34" fmla="*/ 1453 w 2188"/>
                <a:gd name="T35" fmla="*/ 717 h 14034"/>
                <a:gd name="T36" fmla="*/ 1118 w 2188"/>
                <a:gd name="T37" fmla="*/ 1478 h 14034"/>
                <a:gd name="T38" fmla="*/ 800 w 2188"/>
                <a:gd name="T39" fmla="*/ 2697 h 14034"/>
                <a:gd name="T40" fmla="*/ 1116 w 2188"/>
                <a:gd name="T41" fmla="*/ 3916 h 14034"/>
                <a:gd name="T42" fmla="*/ 1449 w 2188"/>
                <a:gd name="T43" fmla="*/ 4677 h 14034"/>
                <a:gd name="T44" fmla="*/ 1812 w 2188"/>
                <a:gd name="T45" fmla="*/ 5500 h 14034"/>
                <a:gd name="T46" fmla="*/ 2188 w 2188"/>
                <a:gd name="T47" fmla="*/ 7017 h 14034"/>
                <a:gd name="T48" fmla="*/ 1815 w 2188"/>
                <a:gd name="T49" fmla="*/ 8534 h 14034"/>
                <a:gd name="T50" fmla="*/ 1454 w 2188"/>
                <a:gd name="T51" fmla="*/ 9356 h 14034"/>
                <a:gd name="T52" fmla="*/ 1453 w 2188"/>
                <a:gd name="T53" fmla="*/ 9357 h 14034"/>
                <a:gd name="T54" fmla="*/ 1118 w 2188"/>
                <a:gd name="T55" fmla="*/ 10118 h 14034"/>
                <a:gd name="T56" fmla="*/ 800 w 2188"/>
                <a:gd name="T57" fmla="*/ 11337 h 14034"/>
                <a:gd name="T58" fmla="*/ 1116 w 2188"/>
                <a:gd name="T59" fmla="*/ 12556 h 14034"/>
                <a:gd name="T60" fmla="*/ 1450 w 2188"/>
                <a:gd name="T61" fmla="*/ 13318 h 14034"/>
                <a:gd name="T62" fmla="*/ 1628 w 2188"/>
                <a:gd name="T63" fmla="*/ 13676 h 14034"/>
                <a:gd name="T64" fmla="*/ 913 w 2188"/>
                <a:gd name="T65" fmla="*/ 14034 h 14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188" h="14034">
                  <a:moveTo>
                    <a:pt x="913" y="14034"/>
                  </a:moveTo>
                  <a:cubicBezTo>
                    <a:pt x="734" y="13676"/>
                    <a:pt x="734" y="13676"/>
                    <a:pt x="734" y="13676"/>
                  </a:cubicBezTo>
                  <a:cubicBezTo>
                    <a:pt x="727" y="13661"/>
                    <a:pt x="551" y="13308"/>
                    <a:pt x="373" y="12854"/>
                  </a:cubicBezTo>
                  <a:cubicBezTo>
                    <a:pt x="126" y="12219"/>
                    <a:pt x="0" y="11709"/>
                    <a:pt x="0" y="11337"/>
                  </a:cubicBezTo>
                  <a:cubicBezTo>
                    <a:pt x="0" y="10965"/>
                    <a:pt x="126" y="10454"/>
                    <a:pt x="376" y="9820"/>
                  </a:cubicBezTo>
                  <a:cubicBezTo>
                    <a:pt x="553" y="9368"/>
                    <a:pt x="729" y="9017"/>
                    <a:pt x="738" y="8998"/>
                  </a:cubicBezTo>
                  <a:cubicBezTo>
                    <a:pt x="745" y="8984"/>
                    <a:pt x="910" y="8651"/>
                    <a:pt x="1072" y="8236"/>
                  </a:cubicBezTo>
                  <a:cubicBezTo>
                    <a:pt x="1276" y="7713"/>
                    <a:pt x="1388" y="7280"/>
                    <a:pt x="1388" y="7017"/>
                  </a:cubicBezTo>
                  <a:cubicBezTo>
                    <a:pt x="1388" y="6753"/>
                    <a:pt x="1274" y="6318"/>
                    <a:pt x="1068" y="5792"/>
                  </a:cubicBezTo>
                  <a:cubicBezTo>
                    <a:pt x="902" y="5371"/>
                    <a:pt x="736" y="5040"/>
                    <a:pt x="735" y="5037"/>
                  </a:cubicBezTo>
                  <a:cubicBezTo>
                    <a:pt x="734" y="5036"/>
                    <a:pt x="734" y="5036"/>
                    <a:pt x="734" y="5036"/>
                  </a:cubicBezTo>
                  <a:cubicBezTo>
                    <a:pt x="727" y="5021"/>
                    <a:pt x="551" y="4668"/>
                    <a:pt x="373" y="4214"/>
                  </a:cubicBezTo>
                  <a:cubicBezTo>
                    <a:pt x="126" y="3579"/>
                    <a:pt x="0" y="3069"/>
                    <a:pt x="0" y="2697"/>
                  </a:cubicBezTo>
                  <a:cubicBezTo>
                    <a:pt x="0" y="2325"/>
                    <a:pt x="126" y="1814"/>
                    <a:pt x="376" y="1180"/>
                  </a:cubicBezTo>
                  <a:cubicBezTo>
                    <a:pt x="554" y="725"/>
                    <a:pt x="731" y="372"/>
                    <a:pt x="739" y="357"/>
                  </a:cubicBezTo>
                  <a:cubicBezTo>
                    <a:pt x="918" y="0"/>
                    <a:pt x="918" y="0"/>
                    <a:pt x="918" y="0"/>
                  </a:cubicBezTo>
                  <a:cubicBezTo>
                    <a:pt x="1633" y="359"/>
                    <a:pt x="1633" y="359"/>
                    <a:pt x="1633" y="359"/>
                  </a:cubicBezTo>
                  <a:cubicBezTo>
                    <a:pt x="1453" y="717"/>
                    <a:pt x="1453" y="717"/>
                    <a:pt x="1453" y="717"/>
                  </a:cubicBezTo>
                  <a:cubicBezTo>
                    <a:pt x="1450" y="724"/>
                    <a:pt x="1282" y="1059"/>
                    <a:pt x="1118" y="1478"/>
                  </a:cubicBezTo>
                  <a:cubicBezTo>
                    <a:pt x="913" y="2001"/>
                    <a:pt x="800" y="2434"/>
                    <a:pt x="800" y="2697"/>
                  </a:cubicBezTo>
                  <a:cubicBezTo>
                    <a:pt x="800" y="2960"/>
                    <a:pt x="912" y="3393"/>
                    <a:pt x="1116" y="3916"/>
                  </a:cubicBezTo>
                  <a:cubicBezTo>
                    <a:pt x="1277" y="4329"/>
                    <a:pt x="1441" y="4660"/>
                    <a:pt x="1449" y="4677"/>
                  </a:cubicBezTo>
                  <a:cubicBezTo>
                    <a:pt x="1458" y="4695"/>
                    <a:pt x="1634" y="5047"/>
                    <a:pt x="1812" y="5500"/>
                  </a:cubicBezTo>
                  <a:cubicBezTo>
                    <a:pt x="2062" y="6134"/>
                    <a:pt x="2188" y="6645"/>
                    <a:pt x="2188" y="7017"/>
                  </a:cubicBezTo>
                  <a:cubicBezTo>
                    <a:pt x="2188" y="7389"/>
                    <a:pt x="2062" y="7899"/>
                    <a:pt x="1815" y="8534"/>
                  </a:cubicBezTo>
                  <a:cubicBezTo>
                    <a:pt x="1637" y="8988"/>
                    <a:pt x="1461" y="9341"/>
                    <a:pt x="1454" y="9356"/>
                  </a:cubicBezTo>
                  <a:cubicBezTo>
                    <a:pt x="1453" y="9357"/>
                    <a:pt x="1453" y="9357"/>
                    <a:pt x="1453" y="9357"/>
                  </a:cubicBezTo>
                  <a:cubicBezTo>
                    <a:pt x="1452" y="9360"/>
                    <a:pt x="1283" y="9697"/>
                    <a:pt x="1118" y="10118"/>
                  </a:cubicBezTo>
                  <a:cubicBezTo>
                    <a:pt x="913" y="10641"/>
                    <a:pt x="800" y="11074"/>
                    <a:pt x="800" y="11337"/>
                  </a:cubicBezTo>
                  <a:cubicBezTo>
                    <a:pt x="800" y="11600"/>
                    <a:pt x="912" y="12033"/>
                    <a:pt x="1116" y="12556"/>
                  </a:cubicBezTo>
                  <a:cubicBezTo>
                    <a:pt x="1281" y="12978"/>
                    <a:pt x="1448" y="13315"/>
                    <a:pt x="1450" y="13318"/>
                  </a:cubicBezTo>
                  <a:cubicBezTo>
                    <a:pt x="1628" y="13676"/>
                    <a:pt x="1628" y="13676"/>
                    <a:pt x="1628" y="13676"/>
                  </a:cubicBezTo>
                  <a:lnTo>
                    <a:pt x="913" y="14034"/>
                  </a:lnTo>
                  <a:close/>
                </a:path>
              </a:pathLst>
            </a:custGeom>
            <a:solidFill>
              <a:schemeClr val="bg2">
                <a:alpha val="88000"/>
              </a:schemeClr>
            </a:solidFill>
            <a:ln>
              <a:noFill/>
            </a:ln>
            <a:effectLst>
              <a:outerShdw blurRad="1003300" dist="38100" dir="10800000" algn="r" rotWithShape="0">
                <a:schemeClr val="accent3">
                  <a:lumMod val="75000"/>
                  <a:alpha val="46000"/>
                </a:scheme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0B9A1A6E-E9CC-AB8E-4299-74D4548B2835}"/>
                </a:ext>
              </a:extLst>
            </p:cNvPr>
            <p:cNvSpPr>
              <a:spLocks/>
            </p:cNvSpPr>
            <p:nvPr/>
          </p:nvSpPr>
          <p:spPr bwMode="auto">
            <a:xfrm rot="2757414">
              <a:off x="23762796" y="-23421491"/>
              <a:ext cx="6486525" cy="41148000"/>
            </a:xfrm>
            <a:custGeom>
              <a:avLst/>
              <a:gdLst>
                <a:gd name="T0" fmla="*/ 913 w 2188"/>
                <a:gd name="T1" fmla="*/ 14034 h 14034"/>
                <a:gd name="T2" fmla="*/ 734 w 2188"/>
                <a:gd name="T3" fmla="*/ 13676 h 14034"/>
                <a:gd name="T4" fmla="*/ 373 w 2188"/>
                <a:gd name="T5" fmla="*/ 12854 h 14034"/>
                <a:gd name="T6" fmla="*/ 0 w 2188"/>
                <a:gd name="T7" fmla="*/ 11337 h 14034"/>
                <a:gd name="T8" fmla="*/ 376 w 2188"/>
                <a:gd name="T9" fmla="*/ 9820 h 14034"/>
                <a:gd name="T10" fmla="*/ 738 w 2188"/>
                <a:gd name="T11" fmla="*/ 8998 h 14034"/>
                <a:gd name="T12" fmla="*/ 1072 w 2188"/>
                <a:gd name="T13" fmla="*/ 8236 h 14034"/>
                <a:gd name="T14" fmla="*/ 1388 w 2188"/>
                <a:gd name="T15" fmla="*/ 7017 h 14034"/>
                <a:gd name="T16" fmla="*/ 1068 w 2188"/>
                <a:gd name="T17" fmla="*/ 5792 h 14034"/>
                <a:gd name="T18" fmla="*/ 735 w 2188"/>
                <a:gd name="T19" fmla="*/ 5037 h 14034"/>
                <a:gd name="T20" fmla="*/ 734 w 2188"/>
                <a:gd name="T21" fmla="*/ 5036 h 14034"/>
                <a:gd name="T22" fmla="*/ 373 w 2188"/>
                <a:gd name="T23" fmla="*/ 4214 h 14034"/>
                <a:gd name="T24" fmla="*/ 0 w 2188"/>
                <a:gd name="T25" fmla="*/ 2697 h 14034"/>
                <a:gd name="T26" fmla="*/ 376 w 2188"/>
                <a:gd name="T27" fmla="*/ 1180 h 14034"/>
                <a:gd name="T28" fmla="*/ 739 w 2188"/>
                <a:gd name="T29" fmla="*/ 357 h 14034"/>
                <a:gd name="T30" fmla="*/ 918 w 2188"/>
                <a:gd name="T31" fmla="*/ 0 h 14034"/>
                <a:gd name="T32" fmla="*/ 1633 w 2188"/>
                <a:gd name="T33" fmla="*/ 359 h 14034"/>
                <a:gd name="T34" fmla="*/ 1453 w 2188"/>
                <a:gd name="T35" fmla="*/ 717 h 14034"/>
                <a:gd name="T36" fmla="*/ 1118 w 2188"/>
                <a:gd name="T37" fmla="*/ 1478 h 14034"/>
                <a:gd name="T38" fmla="*/ 800 w 2188"/>
                <a:gd name="T39" fmla="*/ 2697 h 14034"/>
                <a:gd name="T40" fmla="*/ 1116 w 2188"/>
                <a:gd name="T41" fmla="*/ 3916 h 14034"/>
                <a:gd name="T42" fmla="*/ 1449 w 2188"/>
                <a:gd name="T43" fmla="*/ 4677 h 14034"/>
                <a:gd name="T44" fmla="*/ 1812 w 2188"/>
                <a:gd name="T45" fmla="*/ 5500 h 14034"/>
                <a:gd name="T46" fmla="*/ 2188 w 2188"/>
                <a:gd name="T47" fmla="*/ 7017 h 14034"/>
                <a:gd name="T48" fmla="*/ 1815 w 2188"/>
                <a:gd name="T49" fmla="*/ 8534 h 14034"/>
                <a:gd name="T50" fmla="*/ 1454 w 2188"/>
                <a:gd name="T51" fmla="*/ 9356 h 14034"/>
                <a:gd name="T52" fmla="*/ 1453 w 2188"/>
                <a:gd name="T53" fmla="*/ 9357 h 14034"/>
                <a:gd name="T54" fmla="*/ 1118 w 2188"/>
                <a:gd name="T55" fmla="*/ 10118 h 14034"/>
                <a:gd name="T56" fmla="*/ 800 w 2188"/>
                <a:gd name="T57" fmla="*/ 11337 h 14034"/>
                <a:gd name="T58" fmla="*/ 1116 w 2188"/>
                <a:gd name="T59" fmla="*/ 12556 h 14034"/>
                <a:gd name="T60" fmla="*/ 1450 w 2188"/>
                <a:gd name="T61" fmla="*/ 13318 h 14034"/>
                <a:gd name="T62" fmla="*/ 1628 w 2188"/>
                <a:gd name="T63" fmla="*/ 13676 h 14034"/>
                <a:gd name="T64" fmla="*/ 913 w 2188"/>
                <a:gd name="T65" fmla="*/ 14034 h 14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188" h="14034">
                  <a:moveTo>
                    <a:pt x="913" y="14034"/>
                  </a:moveTo>
                  <a:cubicBezTo>
                    <a:pt x="734" y="13676"/>
                    <a:pt x="734" y="13676"/>
                    <a:pt x="734" y="13676"/>
                  </a:cubicBezTo>
                  <a:cubicBezTo>
                    <a:pt x="727" y="13661"/>
                    <a:pt x="551" y="13308"/>
                    <a:pt x="373" y="12854"/>
                  </a:cubicBezTo>
                  <a:cubicBezTo>
                    <a:pt x="126" y="12219"/>
                    <a:pt x="0" y="11709"/>
                    <a:pt x="0" y="11337"/>
                  </a:cubicBezTo>
                  <a:cubicBezTo>
                    <a:pt x="0" y="10965"/>
                    <a:pt x="126" y="10454"/>
                    <a:pt x="376" y="9820"/>
                  </a:cubicBezTo>
                  <a:cubicBezTo>
                    <a:pt x="553" y="9368"/>
                    <a:pt x="729" y="9017"/>
                    <a:pt x="738" y="8998"/>
                  </a:cubicBezTo>
                  <a:cubicBezTo>
                    <a:pt x="745" y="8984"/>
                    <a:pt x="910" y="8651"/>
                    <a:pt x="1072" y="8236"/>
                  </a:cubicBezTo>
                  <a:cubicBezTo>
                    <a:pt x="1276" y="7713"/>
                    <a:pt x="1388" y="7280"/>
                    <a:pt x="1388" y="7017"/>
                  </a:cubicBezTo>
                  <a:cubicBezTo>
                    <a:pt x="1388" y="6753"/>
                    <a:pt x="1274" y="6318"/>
                    <a:pt x="1068" y="5792"/>
                  </a:cubicBezTo>
                  <a:cubicBezTo>
                    <a:pt x="902" y="5371"/>
                    <a:pt x="736" y="5040"/>
                    <a:pt x="735" y="5037"/>
                  </a:cubicBezTo>
                  <a:cubicBezTo>
                    <a:pt x="734" y="5036"/>
                    <a:pt x="734" y="5036"/>
                    <a:pt x="734" y="5036"/>
                  </a:cubicBezTo>
                  <a:cubicBezTo>
                    <a:pt x="727" y="5021"/>
                    <a:pt x="551" y="4668"/>
                    <a:pt x="373" y="4214"/>
                  </a:cubicBezTo>
                  <a:cubicBezTo>
                    <a:pt x="126" y="3579"/>
                    <a:pt x="0" y="3069"/>
                    <a:pt x="0" y="2697"/>
                  </a:cubicBezTo>
                  <a:cubicBezTo>
                    <a:pt x="0" y="2325"/>
                    <a:pt x="126" y="1814"/>
                    <a:pt x="376" y="1180"/>
                  </a:cubicBezTo>
                  <a:cubicBezTo>
                    <a:pt x="554" y="725"/>
                    <a:pt x="731" y="372"/>
                    <a:pt x="739" y="357"/>
                  </a:cubicBezTo>
                  <a:cubicBezTo>
                    <a:pt x="918" y="0"/>
                    <a:pt x="918" y="0"/>
                    <a:pt x="918" y="0"/>
                  </a:cubicBezTo>
                  <a:cubicBezTo>
                    <a:pt x="1633" y="359"/>
                    <a:pt x="1633" y="359"/>
                    <a:pt x="1633" y="359"/>
                  </a:cubicBezTo>
                  <a:cubicBezTo>
                    <a:pt x="1453" y="717"/>
                    <a:pt x="1453" y="717"/>
                    <a:pt x="1453" y="717"/>
                  </a:cubicBezTo>
                  <a:cubicBezTo>
                    <a:pt x="1450" y="724"/>
                    <a:pt x="1282" y="1059"/>
                    <a:pt x="1118" y="1478"/>
                  </a:cubicBezTo>
                  <a:cubicBezTo>
                    <a:pt x="913" y="2001"/>
                    <a:pt x="800" y="2434"/>
                    <a:pt x="800" y="2697"/>
                  </a:cubicBezTo>
                  <a:cubicBezTo>
                    <a:pt x="800" y="2960"/>
                    <a:pt x="912" y="3393"/>
                    <a:pt x="1116" y="3916"/>
                  </a:cubicBezTo>
                  <a:cubicBezTo>
                    <a:pt x="1277" y="4329"/>
                    <a:pt x="1441" y="4660"/>
                    <a:pt x="1449" y="4677"/>
                  </a:cubicBezTo>
                  <a:cubicBezTo>
                    <a:pt x="1458" y="4695"/>
                    <a:pt x="1634" y="5047"/>
                    <a:pt x="1812" y="5500"/>
                  </a:cubicBezTo>
                  <a:cubicBezTo>
                    <a:pt x="2062" y="6134"/>
                    <a:pt x="2188" y="6645"/>
                    <a:pt x="2188" y="7017"/>
                  </a:cubicBezTo>
                  <a:cubicBezTo>
                    <a:pt x="2188" y="7389"/>
                    <a:pt x="2062" y="7899"/>
                    <a:pt x="1815" y="8534"/>
                  </a:cubicBezTo>
                  <a:cubicBezTo>
                    <a:pt x="1637" y="8988"/>
                    <a:pt x="1461" y="9341"/>
                    <a:pt x="1454" y="9356"/>
                  </a:cubicBezTo>
                  <a:cubicBezTo>
                    <a:pt x="1453" y="9357"/>
                    <a:pt x="1453" y="9357"/>
                    <a:pt x="1453" y="9357"/>
                  </a:cubicBezTo>
                  <a:cubicBezTo>
                    <a:pt x="1452" y="9360"/>
                    <a:pt x="1283" y="9697"/>
                    <a:pt x="1118" y="10118"/>
                  </a:cubicBezTo>
                  <a:cubicBezTo>
                    <a:pt x="913" y="10641"/>
                    <a:pt x="800" y="11074"/>
                    <a:pt x="800" y="11337"/>
                  </a:cubicBezTo>
                  <a:cubicBezTo>
                    <a:pt x="800" y="11600"/>
                    <a:pt x="912" y="12033"/>
                    <a:pt x="1116" y="12556"/>
                  </a:cubicBezTo>
                  <a:cubicBezTo>
                    <a:pt x="1281" y="12978"/>
                    <a:pt x="1448" y="13315"/>
                    <a:pt x="1450" y="13318"/>
                  </a:cubicBezTo>
                  <a:cubicBezTo>
                    <a:pt x="1628" y="13676"/>
                    <a:pt x="1628" y="13676"/>
                    <a:pt x="1628" y="13676"/>
                  </a:cubicBezTo>
                  <a:lnTo>
                    <a:pt x="913" y="14034"/>
                  </a:lnTo>
                  <a:close/>
                </a:path>
              </a:pathLst>
            </a:custGeom>
            <a:solidFill>
              <a:schemeClr val="accent4">
                <a:alpha val="88000"/>
              </a:schemeClr>
            </a:solidFill>
            <a:ln>
              <a:noFill/>
            </a:ln>
            <a:effectLst>
              <a:outerShdw blurRad="1003300" dist="38100" dir="10800000" algn="r" rotWithShape="0">
                <a:schemeClr val="accent4">
                  <a:lumMod val="75000"/>
                  <a:alpha val="46000"/>
                </a:scheme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9">
              <a:extLst>
                <a:ext uri="{FF2B5EF4-FFF2-40B4-BE49-F238E27FC236}">
                  <a16:creationId xmlns:a16="http://schemas.microsoft.com/office/drawing/2014/main" id="{687908B8-B924-4EA6-4E64-854EB51F5809}"/>
                </a:ext>
              </a:extLst>
            </p:cNvPr>
            <p:cNvSpPr>
              <a:spLocks/>
            </p:cNvSpPr>
            <p:nvPr/>
          </p:nvSpPr>
          <p:spPr bwMode="auto">
            <a:xfrm rot="2757414">
              <a:off x="25197134" y="-21940886"/>
              <a:ext cx="6481764" cy="41148000"/>
            </a:xfrm>
            <a:custGeom>
              <a:avLst/>
              <a:gdLst>
                <a:gd name="T0" fmla="*/ 913 w 2188"/>
                <a:gd name="T1" fmla="*/ 14034 h 14034"/>
                <a:gd name="T2" fmla="*/ 734 w 2188"/>
                <a:gd name="T3" fmla="*/ 13676 h 14034"/>
                <a:gd name="T4" fmla="*/ 373 w 2188"/>
                <a:gd name="T5" fmla="*/ 12854 h 14034"/>
                <a:gd name="T6" fmla="*/ 0 w 2188"/>
                <a:gd name="T7" fmla="*/ 11337 h 14034"/>
                <a:gd name="T8" fmla="*/ 376 w 2188"/>
                <a:gd name="T9" fmla="*/ 9820 h 14034"/>
                <a:gd name="T10" fmla="*/ 738 w 2188"/>
                <a:gd name="T11" fmla="*/ 8998 h 14034"/>
                <a:gd name="T12" fmla="*/ 1072 w 2188"/>
                <a:gd name="T13" fmla="*/ 8236 h 14034"/>
                <a:gd name="T14" fmla="*/ 1388 w 2188"/>
                <a:gd name="T15" fmla="*/ 7017 h 14034"/>
                <a:gd name="T16" fmla="*/ 1068 w 2188"/>
                <a:gd name="T17" fmla="*/ 5792 h 14034"/>
                <a:gd name="T18" fmla="*/ 735 w 2188"/>
                <a:gd name="T19" fmla="*/ 5037 h 14034"/>
                <a:gd name="T20" fmla="*/ 734 w 2188"/>
                <a:gd name="T21" fmla="*/ 5036 h 14034"/>
                <a:gd name="T22" fmla="*/ 373 w 2188"/>
                <a:gd name="T23" fmla="*/ 4214 h 14034"/>
                <a:gd name="T24" fmla="*/ 0 w 2188"/>
                <a:gd name="T25" fmla="*/ 2697 h 14034"/>
                <a:gd name="T26" fmla="*/ 376 w 2188"/>
                <a:gd name="T27" fmla="*/ 1180 h 14034"/>
                <a:gd name="T28" fmla="*/ 739 w 2188"/>
                <a:gd name="T29" fmla="*/ 357 h 14034"/>
                <a:gd name="T30" fmla="*/ 918 w 2188"/>
                <a:gd name="T31" fmla="*/ 0 h 14034"/>
                <a:gd name="T32" fmla="*/ 1633 w 2188"/>
                <a:gd name="T33" fmla="*/ 359 h 14034"/>
                <a:gd name="T34" fmla="*/ 1453 w 2188"/>
                <a:gd name="T35" fmla="*/ 717 h 14034"/>
                <a:gd name="T36" fmla="*/ 1118 w 2188"/>
                <a:gd name="T37" fmla="*/ 1478 h 14034"/>
                <a:gd name="T38" fmla="*/ 800 w 2188"/>
                <a:gd name="T39" fmla="*/ 2697 h 14034"/>
                <a:gd name="T40" fmla="*/ 1116 w 2188"/>
                <a:gd name="T41" fmla="*/ 3916 h 14034"/>
                <a:gd name="T42" fmla="*/ 1449 w 2188"/>
                <a:gd name="T43" fmla="*/ 4677 h 14034"/>
                <a:gd name="T44" fmla="*/ 1812 w 2188"/>
                <a:gd name="T45" fmla="*/ 5500 h 14034"/>
                <a:gd name="T46" fmla="*/ 2188 w 2188"/>
                <a:gd name="T47" fmla="*/ 7017 h 14034"/>
                <a:gd name="T48" fmla="*/ 1815 w 2188"/>
                <a:gd name="T49" fmla="*/ 8534 h 14034"/>
                <a:gd name="T50" fmla="*/ 1454 w 2188"/>
                <a:gd name="T51" fmla="*/ 9356 h 14034"/>
                <a:gd name="T52" fmla="*/ 1453 w 2188"/>
                <a:gd name="T53" fmla="*/ 9357 h 14034"/>
                <a:gd name="T54" fmla="*/ 1118 w 2188"/>
                <a:gd name="T55" fmla="*/ 10118 h 14034"/>
                <a:gd name="T56" fmla="*/ 800 w 2188"/>
                <a:gd name="T57" fmla="*/ 11337 h 14034"/>
                <a:gd name="T58" fmla="*/ 1116 w 2188"/>
                <a:gd name="T59" fmla="*/ 12556 h 14034"/>
                <a:gd name="T60" fmla="*/ 1450 w 2188"/>
                <a:gd name="T61" fmla="*/ 13318 h 14034"/>
                <a:gd name="T62" fmla="*/ 1628 w 2188"/>
                <a:gd name="T63" fmla="*/ 13676 h 14034"/>
                <a:gd name="T64" fmla="*/ 913 w 2188"/>
                <a:gd name="T65" fmla="*/ 14034 h 14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188" h="14034">
                  <a:moveTo>
                    <a:pt x="913" y="14034"/>
                  </a:moveTo>
                  <a:cubicBezTo>
                    <a:pt x="734" y="13676"/>
                    <a:pt x="734" y="13676"/>
                    <a:pt x="734" y="13676"/>
                  </a:cubicBezTo>
                  <a:cubicBezTo>
                    <a:pt x="727" y="13661"/>
                    <a:pt x="551" y="13308"/>
                    <a:pt x="373" y="12854"/>
                  </a:cubicBezTo>
                  <a:cubicBezTo>
                    <a:pt x="126" y="12219"/>
                    <a:pt x="0" y="11709"/>
                    <a:pt x="0" y="11337"/>
                  </a:cubicBezTo>
                  <a:cubicBezTo>
                    <a:pt x="0" y="10965"/>
                    <a:pt x="126" y="10454"/>
                    <a:pt x="376" y="9820"/>
                  </a:cubicBezTo>
                  <a:cubicBezTo>
                    <a:pt x="553" y="9368"/>
                    <a:pt x="729" y="9017"/>
                    <a:pt x="738" y="8998"/>
                  </a:cubicBezTo>
                  <a:cubicBezTo>
                    <a:pt x="745" y="8984"/>
                    <a:pt x="910" y="8651"/>
                    <a:pt x="1072" y="8236"/>
                  </a:cubicBezTo>
                  <a:cubicBezTo>
                    <a:pt x="1276" y="7713"/>
                    <a:pt x="1388" y="7280"/>
                    <a:pt x="1388" y="7017"/>
                  </a:cubicBezTo>
                  <a:cubicBezTo>
                    <a:pt x="1388" y="6753"/>
                    <a:pt x="1274" y="6318"/>
                    <a:pt x="1068" y="5792"/>
                  </a:cubicBezTo>
                  <a:cubicBezTo>
                    <a:pt x="902" y="5371"/>
                    <a:pt x="736" y="5040"/>
                    <a:pt x="735" y="5037"/>
                  </a:cubicBezTo>
                  <a:cubicBezTo>
                    <a:pt x="734" y="5036"/>
                    <a:pt x="734" y="5036"/>
                    <a:pt x="734" y="5036"/>
                  </a:cubicBezTo>
                  <a:cubicBezTo>
                    <a:pt x="727" y="5021"/>
                    <a:pt x="551" y="4668"/>
                    <a:pt x="373" y="4214"/>
                  </a:cubicBezTo>
                  <a:cubicBezTo>
                    <a:pt x="126" y="3579"/>
                    <a:pt x="0" y="3069"/>
                    <a:pt x="0" y="2697"/>
                  </a:cubicBezTo>
                  <a:cubicBezTo>
                    <a:pt x="0" y="2325"/>
                    <a:pt x="126" y="1814"/>
                    <a:pt x="376" y="1180"/>
                  </a:cubicBezTo>
                  <a:cubicBezTo>
                    <a:pt x="554" y="725"/>
                    <a:pt x="731" y="372"/>
                    <a:pt x="739" y="357"/>
                  </a:cubicBezTo>
                  <a:cubicBezTo>
                    <a:pt x="918" y="0"/>
                    <a:pt x="918" y="0"/>
                    <a:pt x="918" y="0"/>
                  </a:cubicBezTo>
                  <a:cubicBezTo>
                    <a:pt x="1633" y="359"/>
                    <a:pt x="1633" y="359"/>
                    <a:pt x="1633" y="359"/>
                  </a:cubicBezTo>
                  <a:cubicBezTo>
                    <a:pt x="1453" y="717"/>
                    <a:pt x="1453" y="717"/>
                    <a:pt x="1453" y="717"/>
                  </a:cubicBezTo>
                  <a:cubicBezTo>
                    <a:pt x="1450" y="724"/>
                    <a:pt x="1282" y="1059"/>
                    <a:pt x="1118" y="1478"/>
                  </a:cubicBezTo>
                  <a:cubicBezTo>
                    <a:pt x="913" y="2001"/>
                    <a:pt x="800" y="2434"/>
                    <a:pt x="800" y="2697"/>
                  </a:cubicBezTo>
                  <a:cubicBezTo>
                    <a:pt x="800" y="2960"/>
                    <a:pt x="912" y="3393"/>
                    <a:pt x="1116" y="3916"/>
                  </a:cubicBezTo>
                  <a:cubicBezTo>
                    <a:pt x="1277" y="4329"/>
                    <a:pt x="1441" y="4660"/>
                    <a:pt x="1449" y="4677"/>
                  </a:cubicBezTo>
                  <a:cubicBezTo>
                    <a:pt x="1458" y="4695"/>
                    <a:pt x="1634" y="5047"/>
                    <a:pt x="1812" y="5500"/>
                  </a:cubicBezTo>
                  <a:cubicBezTo>
                    <a:pt x="2062" y="6134"/>
                    <a:pt x="2188" y="6645"/>
                    <a:pt x="2188" y="7017"/>
                  </a:cubicBezTo>
                  <a:cubicBezTo>
                    <a:pt x="2188" y="7389"/>
                    <a:pt x="2062" y="7899"/>
                    <a:pt x="1815" y="8534"/>
                  </a:cubicBezTo>
                  <a:cubicBezTo>
                    <a:pt x="1637" y="8988"/>
                    <a:pt x="1461" y="9341"/>
                    <a:pt x="1454" y="9356"/>
                  </a:cubicBezTo>
                  <a:cubicBezTo>
                    <a:pt x="1453" y="9357"/>
                    <a:pt x="1453" y="9357"/>
                    <a:pt x="1453" y="9357"/>
                  </a:cubicBezTo>
                  <a:cubicBezTo>
                    <a:pt x="1452" y="9360"/>
                    <a:pt x="1283" y="9697"/>
                    <a:pt x="1118" y="10118"/>
                  </a:cubicBezTo>
                  <a:cubicBezTo>
                    <a:pt x="913" y="10641"/>
                    <a:pt x="800" y="11074"/>
                    <a:pt x="800" y="11337"/>
                  </a:cubicBezTo>
                  <a:cubicBezTo>
                    <a:pt x="800" y="11600"/>
                    <a:pt x="912" y="12033"/>
                    <a:pt x="1116" y="12556"/>
                  </a:cubicBezTo>
                  <a:cubicBezTo>
                    <a:pt x="1281" y="12978"/>
                    <a:pt x="1448" y="13315"/>
                    <a:pt x="1450" y="13318"/>
                  </a:cubicBezTo>
                  <a:cubicBezTo>
                    <a:pt x="1628" y="13676"/>
                    <a:pt x="1628" y="13676"/>
                    <a:pt x="1628" y="13676"/>
                  </a:cubicBezTo>
                  <a:lnTo>
                    <a:pt x="913" y="14034"/>
                  </a:lnTo>
                  <a:close/>
                </a:path>
              </a:pathLst>
            </a:custGeom>
            <a:solidFill>
              <a:schemeClr val="accent5">
                <a:alpha val="88000"/>
              </a:schemeClr>
            </a:solidFill>
            <a:ln>
              <a:noFill/>
            </a:ln>
            <a:effectLst>
              <a:outerShdw blurRad="1003300" dist="38100" dir="10800000" algn="r" rotWithShape="0">
                <a:schemeClr val="accent5">
                  <a:lumMod val="75000"/>
                  <a:alpha val="46000"/>
                </a:scheme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8FC7D239-7AD4-D0BD-74A2-7E8A3A9CD834}"/>
                </a:ext>
              </a:extLst>
            </p:cNvPr>
            <p:cNvSpPr>
              <a:spLocks/>
            </p:cNvSpPr>
            <p:nvPr/>
          </p:nvSpPr>
          <p:spPr bwMode="auto">
            <a:xfrm rot="2757414">
              <a:off x="26630749" y="-20458567"/>
              <a:ext cx="6481764" cy="41148000"/>
            </a:xfrm>
            <a:custGeom>
              <a:avLst/>
              <a:gdLst>
                <a:gd name="T0" fmla="*/ 913 w 2188"/>
                <a:gd name="T1" fmla="*/ 14034 h 14034"/>
                <a:gd name="T2" fmla="*/ 734 w 2188"/>
                <a:gd name="T3" fmla="*/ 13676 h 14034"/>
                <a:gd name="T4" fmla="*/ 373 w 2188"/>
                <a:gd name="T5" fmla="*/ 12854 h 14034"/>
                <a:gd name="T6" fmla="*/ 0 w 2188"/>
                <a:gd name="T7" fmla="*/ 11337 h 14034"/>
                <a:gd name="T8" fmla="*/ 376 w 2188"/>
                <a:gd name="T9" fmla="*/ 9820 h 14034"/>
                <a:gd name="T10" fmla="*/ 738 w 2188"/>
                <a:gd name="T11" fmla="*/ 8998 h 14034"/>
                <a:gd name="T12" fmla="*/ 1072 w 2188"/>
                <a:gd name="T13" fmla="*/ 8236 h 14034"/>
                <a:gd name="T14" fmla="*/ 1388 w 2188"/>
                <a:gd name="T15" fmla="*/ 7017 h 14034"/>
                <a:gd name="T16" fmla="*/ 1068 w 2188"/>
                <a:gd name="T17" fmla="*/ 5792 h 14034"/>
                <a:gd name="T18" fmla="*/ 735 w 2188"/>
                <a:gd name="T19" fmla="*/ 5037 h 14034"/>
                <a:gd name="T20" fmla="*/ 734 w 2188"/>
                <a:gd name="T21" fmla="*/ 5036 h 14034"/>
                <a:gd name="T22" fmla="*/ 373 w 2188"/>
                <a:gd name="T23" fmla="*/ 4214 h 14034"/>
                <a:gd name="T24" fmla="*/ 0 w 2188"/>
                <a:gd name="T25" fmla="*/ 2697 h 14034"/>
                <a:gd name="T26" fmla="*/ 376 w 2188"/>
                <a:gd name="T27" fmla="*/ 1180 h 14034"/>
                <a:gd name="T28" fmla="*/ 739 w 2188"/>
                <a:gd name="T29" fmla="*/ 357 h 14034"/>
                <a:gd name="T30" fmla="*/ 918 w 2188"/>
                <a:gd name="T31" fmla="*/ 0 h 14034"/>
                <a:gd name="T32" fmla="*/ 1633 w 2188"/>
                <a:gd name="T33" fmla="*/ 359 h 14034"/>
                <a:gd name="T34" fmla="*/ 1453 w 2188"/>
                <a:gd name="T35" fmla="*/ 717 h 14034"/>
                <a:gd name="T36" fmla="*/ 1118 w 2188"/>
                <a:gd name="T37" fmla="*/ 1478 h 14034"/>
                <a:gd name="T38" fmla="*/ 800 w 2188"/>
                <a:gd name="T39" fmla="*/ 2697 h 14034"/>
                <a:gd name="T40" fmla="*/ 1116 w 2188"/>
                <a:gd name="T41" fmla="*/ 3916 h 14034"/>
                <a:gd name="T42" fmla="*/ 1449 w 2188"/>
                <a:gd name="T43" fmla="*/ 4677 h 14034"/>
                <a:gd name="T44" fmla="*/ 1812 w 2188"/>
                <a:gd name="T45" fmla="*/ 5500 h 14034"/>
                <a:gd name="T46" fmla="*/ 2188 w 2188"/>
                <a:gd name="T47" fmla="*/ 7017 h 14034"/>
                <a:gd name="T48" fmla="*/ 1815 w 2188"/>
                <a:gd name="T49" fmla="*/ 8534 h 14034"/>
                <a:gd name="T50" fmla="*/ 1454 w 2188"/>
                <a:gd name="T51" fmla="*/ 9356 h 14034"/>
                <a:gd name="T52" fmla="*/ 1453 w 2188"/>
                <a:gd name="T53" fmla="*/ 9357 h 14034"/>
                <a:gd name="T54" fmla="*/ 1118 w 2188"/>
                <a:gd name="T55" fmla="*/ 10118 h 14034"/>
                <a:gd name="T56" fmla="*/ 800 w 2188"/>
                <a:gd name="T57" fmla="*/ 11337 h 14034"/>
                <a:gd name="T58" fmla="*/ 1116 w 2188"/>
                <a:gd name="T59" fmla="*/ 12556 h 14034"/>
                <a:gd name="T60" fmla="*/ 1450 w 2188"/>
                <a:gd name="T61" fmla="*/ 13318 h 14034"/>
                <a:gd name="T62" fmla="*/ 1628 w 2188"/>
                <a:gd name="T63" fmla="*/ 13676 h 14034"/>
                <a:gd name="T64" fmla="*/ 913 w 2188"/>
                <a:gd name="T65" fmla="*/ 14034 h 14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188" h="14034">
                  <a:moveTo>
                    <a:pt x="913" y="14034"/>
                  </a:moveTo>
                  <a:cubicBezTo>
                    <a:pt x="734" y="13676"/>
                    <a:pt x="734" y="13676"/>
                    <a:pt x="734" y="13676"/>
                  </a:cubicBezTo>
                  <a:cubicBezTo>
                    <a:pt x="727" y="13661"/>
                    <a:pt x="551" y="13308"/>
                    <a:pt x="373" y="12854"/>
                  </a:cubicBezTo>
                  <a:cubicBezTo>
                    <a:pt x="126" y="12219"/>
                    <a:pt x="0" y="11709"/>
                    <a:pt x="0" y="11337"/>
                  </a:cubicBezTo>
                  <a:cubicBezTo>
                    <a:pt x="0" y="10965"/>
                    <a:pt x="126" y="10454"/>
                    <a:pt x="376" y="9820"/>
                  </a:cubicBezTo>
                  <a:cubicBezTo>
                    <a:pt x="553" y="9368"/>
                    <a:pt x="729" y="9017"/>
                    <a:pt x="738" y="8998"/>
                  </a:cubicBezTo>
                  <a:cubicBezTo>
                    <a:pt x="745" y="8984"/>
                    <a:pt x="910" y="8651"/>
                    <a:pt x="1072" y="8236"/>
                  </a:cubicBezTo>
                  <a:cubicBezTo>
                    <a:pt x="1276" y="7713"/>
                    <a:pt x="1388" y="7280"/>
                    <a:pt x="1388" y="7017"/>
                  </a:cubicBezTo>
                  <a:cubicBezTo>
                    <a:pt x="1388" y="6753"/>
                    <a:pt x="1274" y="6318"/>
                    <a:pt x="1068" y="5792"/>
                  </a:cubicBezTo>
                  <a:cubicBezTo>
                    <a:pt x="902" y="5371"/>
                    <a:pt x="736" y="5040"/>
                    <a:pt x="735" y="5037"/>
                  </a:cubicBezTo>
                  <a:cubicBezTo>
                    <a:pt x="734" y="5036"/>
                    <a:pt x="734" y="5036"/>
                    <a:pt x="734" y="5036"/>
                  </a:cubicBezTo>
                  <a:cubicBezTo>
                    <a:pt x="727" y="5021"/>
                    <a:pt x="551" y="4668"/>
                    <a:pt x="373" y="4214"/>
                  </a:cubicBezTo>
                  <a:cubicBezTo>
                    <a:pt x="126" y="3579"/>
                    <a:pt x="0" y="3069"/>
                    <a:pt x="0" y="2697"/>
                  </a:cubicBezTo>
                  <a:cubicBezTo>
                    <a:pt x="0" y="2325"/>
                    <a:pt x="126" y="1814"/>
                    <a:pt x="376" y="1180"/>
                  </a:cubicBezTo>
                  <a:cubicBezTo>
                    <a:pt x="554" y="725"/>
                    <a:pt x="731" y="372"/>
                    <a:pt x="739" y="357"/>
                  </a:cubicBezTo>
                  <a:cubicBezTo>
                    <a:pt x="918" y="0"/>
                    <a:pt x="918" y="0"/>
                    <a:pt x="918" y="0"/>
                  </a:cubicBezTo>
                  <a:cubicBezTo>
                    <a:pt x="1633" y="359"/>
                    <a:pt x="1633" y="359"/>
                    <a:pt x="1633" y="359"/>
                  </a:cubicBezTo>
                  <a:cubicBezTo>
                    <a:pt x="1453" y="717"/>
                    <a:pt x="1453" y="717"/>
                    <a:pt x="1453" y="717"/>
                  </a:cubicBezTo>
                  <a:cubicBezTo>
                    <a:pt x="1450" y="724"/>
                    <a:pt x="1282" y="1059"/>
                    <a:pt x="1118" y="1478"/>
                  </a:cubicBezTo>
                  <a:cubicBezTo>
                    <a:pt x="913" y="2001"/>
                    <a:pt x="800" y="2434"/>
                    <a:pt x="800" y="2697"/>
                  </a:cubicBezTo>
                  <a:cubicBezTo>
                    <a:pt x="800" y="2960"/>
                    <a:pt x="912" y="3393"/>
                    <a:pt x="1116" y="3916"/>
                  </a:cubicBezTo>
                  <a:cubicBezTo>
                    <a:pt x="1277" y="4329"/>
                    <a:pt x="1441" y="4660"/>
                    <a:pt x="1449" y="4677"/>
                  </a:cubicBezTo>
                  <a:cubicBezTo>
                    <a:pt x="1458" y="4695"/>
                    <a:pt x="1634" y="5047"/>
                    <a:pt x="1812" y="5500"/>
                  </a:cubicBezTo>
                  <a:cubicBezTo>
                    <a:pt x="2062" y="6134"/>
                    <a:pt x="2188" y="6645"/>
                    <a:pt x="2188" y="7017"/>
                  </a:cubicBezTo>
                  <a:cubicBezTo>
                    <a:pt x="2188" y="7389"/>
                    <a:pt x="2062" y="7899"/>
                    <a:pt x="1815" y="8534"/>
                  </a:cubicBezTo>
                  <a:cubicBezTo>
                    <a:pt x="1637" y="8988"/>
                    <a:pt x="1461" y="9341"/>
                    <a:pt x="1454" y="9356"/>
                  </a:cubicBezTo>
                  <a:cubicBezTo>
                    <a:pt x="1453" y="9357"/>
                    <a:pt x="1453" y="9357"/>
                    <a:pt x="1453" y="9357"/>
                  </a:cubicBezTo>
                  <a:cubicBezTo>
                    <a:pt x="1452" y="9360"/>
                    <a:pt x="1283" y="9697"/>
                    <a:pt x="1118" y="10118"/>
                  </a:cubicBezTo>
                  <a:cubicBezTo>
                    <a:pt x="913" y="10641"/>
                    <a:pt x="800" y="11074"/>
                    <a:pt x="800" y="11337"/>
                  </a:cubicBezTo>
                  <a:cubicBezTo>
                    <a:pt x="800" y="11600"/>
                    <a:pt x="912" y="12033"/>
                    <a:pt x="1116" y="12556"/>
                  </a:cubicBezTo>
                  <a:cubicBezTo>
                    <a:pt x="1281" y="12978"/>
                    <a:pt x="1448" y="13315"/>
                    <a:pt x="1450" y="13318"/>
                  </a:cubicBezTo>
                  <a:cubicBezTo>
                    <a:pt x="1628" y="13676"/>
                    <a:pt x="1628" y="13676"/>
                    <a:pt x="1628" y="13676"/>
                  </a:cubicBezTo>
                  <a:lnTo>
                    <a:pt x="913" y="14034"/>
                  </a:lnTo>
                  <a:close/>
                </a:path>
              </a:pathLst>
            </a:custGeom>
            <a:solidFill>
              <a:schemeClr val="bg2">
                <a:alpha val="88000"/>
              </a:schemeClr>
            </a:solidFill>
            <a:ln>
              <a:noFill/>
            </a:ln>
            <a:effectLst>
              <a:outerShdw blurRad="1003300" dist="38100" dir="10800000" algn="r" rotWithShape="0">
                <a:schemeClr val="accent2">
                  <a:lumMod val="75000"/>
                  <a:alpha val="46000"/>
                </a:scheme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11">
              <a:extLst>
                <a:ext uri="{FF2B5EF4-FFF2-40B4-BE49-F238E27FC236}">
                  <a16:creationId xmlns:a16="http://schemas.microsoft.com/office/drawing/2014/main" id="{DB5ADC86-969D-F935-9CCE-A47CA102FEB0}"/>
                </a:ext>
              </a:extLst>
            </p:cNvPr>
            <p:cNvSpPr>
              <a:spLocks/>
            </p:cNvSpPr>
            <p:nvPr/>
          </p:nvSpPr>
          <p:spPr bwMode="auto">
            <a:xfrm rot="2757414">
              <a:off x="28064362" y="-18976251"/>
              <a:ext cx="6481764" cy="41148000"/>
            </a:xfrm>
            <a:custGeom>
              <a:avLst/>
              <a:gdLst>
                <a:gd name="T0" fmla="*/ 913 w 2188"/>
                <a:gd name="T1" fmla="*/ 14034 h 14034"/>
                <a:gd name="T2" fmla="*/ 734 w 2188"/>
                <a:gd name="T3" fmla="*/ 13676 h 14034"/>
                <a:gd name="T4" fmla="*/ 373 w 2188"/>
                <a:gd name="T5" fmla="*/ 12854 h 14034"/>
                <a:gd name="T6" fmla="*/ 0 w 2188"/>
                <a:gd name="T7" fmla="*/ 11337 h 14034"/>
                <a:gd name="T8" fmla="*/ 376 w 2188"/>
                <a:gd name="T9" fmla="*/ 9820 h 14034"/>
                <a:gd name="T10" fmla="*/ 738 w 2188"/>
                <a:gd name="T11" fmla="*/ 8998 h 14034"/>
                <a:gd name="T12" fmla="*/ 1072 w 2188"/>
                <a:gd name="T13" fmla="*/ 8236 h 14034"/>
                <a:gd name="T14" fmla="*/ 1388 w 2188"/>
                <a:gd name="T15" fmla="*/ 7017 h 14034"/>
                <a:gd name="T16" fmla="*/ 1068 w 2188"/>
                <a:gd name="T17" fmla="*/ 5792 h 14034"/>
                <a:gd name="T18" fmla="*/ 735 w 2188"/>
                <a:gd name="T19" fmla="*/ 5037 h 14034"/>
                <a:gd name="T20" fmla="*/ 734 w 2188"/>
                <a:gd name="T21" fmla="*/ 5036 h 14034"/>
                <a:gd name="T22" fmla="*/ 373 w 2188"/>
                <a:gd name="T23" fmla="*/ 4214 h 14034"/>
                <a:gd name="T24" fmla="*/ 0 w 2188"/>
                <a:gd name="T25" fmla="*/ 2697 h 14034"/>
                <a:gd name="T26" fmla="*/ 376 w 2188"/>
                <a:gd name="T27" fmla="*/ 1180 h 14034"/>
                <a:gd name="T28" fmla="*/ 739 w 2188"/>
                <a:gd name="T29" fmla="*/ 357 h 14034"/>
                <a:gd name="T30" fmla="*/ 918 w 2188"/>
                <a:gd name="T31" fmla="*/ 0 h 14034"/>
                <a:gd name="T32" fmla="*/ 1633 w 2188"/>
                <a:gd name="T33" fmla="*/ 359 h 14034"/>
                <a:gd name="T34" fmla="*/ 1453 w 2188"/>
                <a:gd name="T35" fmla="*/ 717 h 14034"/>
                <a:gd name="T36" fmla="*/ 1118 w 2188"/>
                <a:gd name="T37" fmla="*/ 1478 h 14034"/>
                <a:gd name="T38" fmla="*/ 800 w 2188"/>
                <a:gd name="T39" fmla="*/ 2697 h 14034"/>
                <a:gd name="T40" fmla="*/ 1116 w 2188"/>
                <a:gd name="T41" fmla="*/ 3916 h 14034"/>
                <a:gd name="T42" fmla="*/ 1449 w 2188"/>
                <a:gd name="T43" fmla="*/ 4677 h 14034"/>
                <a:gd name="T44" fmla="*/ 1812 w 2188"/>
                <a:gd name="T45" fmla="*/ 5500 h 14034"/>
                <a:gd name="T46" fmla="*/ 2188 w 2188"/>
                <a:gd name="T47" fmla="*/ 7017 h 14034"/>
                <a:gd name="T48" fmla="*/ 1815 w 2188"/>
                <a:gd name="T49" fmla="*/ 8534 h 14034"/>
                <a:gd name="T50" fmla="*/ 1454 w 2188"/>
                <a:gd name="T51" fmla="*/ 9356 h 14034"/>
                <a:gd name="T52" fmla="*/ 1453 w 2188"/>
                <a:gd name="T53" fmla="*/ 9357 h 14034"/>
                <a:gd name="T54" fmla="*/ 1118 w 2188"/>
                <a:gd name="T55" fmla="*/ 10118 h 14034"/>
                <a:gd name="T56" fmla="*/ 800 w 2188"/>
                <a:gd name="T57" fmla="*/ 11337 h 14034"/>
                <a:gd name="T58" fmla="*/ 1116 w 2188"/>
                <a:gd name="T59" fmla="*/ 12556 h 14034"/>
                <a:gd name="T60" fmla="*/ 1450 w 2188"/>
                <a:gd name="T61" fmla="*/ 13318 h 14034"/>
                <a:gd name="T62" fmla="*/ 1628 w 2188"/>
                <a:gd name="T63" fmla="*/ 13676 h 14034"/>
                <a:gd name="T64" fmla="*/ 913 w 2188"/>
                <a:gd name="T65" fmla="*/ 14034 h 14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188" h="14034">
                  <a:moveTo>
                    <a:pt x="913" y="14034"/>
                  </a:moveTo>
                  <a:cubicBezTo>
                    <a:pt x="734" y="13676"/>
                    <a:pt x="734" y="13676"/>
                    <a:pt x="734" y="13676"/>
                  </a:cubicBezTo>
                  <a:cubicBezTo>
                    <a:pt x="727" y="13661"/>
                    <a:pt x="551" y="13308"/>
                    <a:pt x="373" y="12854"/>
                  </a:cubicBezTo>
                  <a:cubicBezTo>
                    <a:pt x="126" y="12219"/>
                    <a:pt x="0" y="11709"/>
                    <a:pt x="0" y="11337"/>
                  </a:cubicBezTo>
                  <a:cubicBezTo>
                    <a:pt x="0" y="10965"/>
                    <a:pt x="126" y="10454"/>
                    <a:pt x="376" y="9820"/>
                  </a:cubicBezTo>
                  <a:cubicBezTo>
                    <a:pt x="553" y="9368"/>
                    <a:pt x="729" y="9017"/>
                    <a:pt x="738" y="8998"/>
                  </a:cubicBezTo>
                  <a:cubicBezTo>
                    <a:pt x="745" y="8984"/>
                    <a:pt x="910" y="8651"/>
                    <a:pt x="1072" y="8236"/>
                  </a:cubicBezTo>
                  <a:cubicBezTo>
                    <a:pt x="1276" y="7713"/>
                    <a:pt x="1388" y="7280"/>
                    <a:pt x="1388" y="7017"/>
                  </a:cubicBezTo>
                  <a:cubicBezTo>
                    <a:pt x="1388" y="6753"/>
                    <a:pt x="1274" y="6318"/>
                    <a:pt x="1068" y="5792"/>
                  </a:cubicBezTo>
                  <a:cubicBezTo>
                    <a:pt x="902" y="5371"/>
                    <a:pt x="736" y="5040"/>
                    <a:pt x="735" y="5037"/>
                  </a:cubicBezTo>
                  <a:cubicBezTo>
                    <a:pt x="734" y="5036"/>
                    <a:pt x="734" y="5036"/>
                    <a:pt x="734" y="5036"/>
                  </a:cubicBezTo>
                  <a:cubicBezTo>
                    <a:pt x="727" y="5021"/>
                    <a:pt x="551" y="4668"/>
                    <a:pt x="373" y="4214"/>
                  </a:cubicBezTo>
                  <a:cubicBezTo>
                    <a:pt x="126" y="3579"/>
                    <a:pt x="0" y="3069"/>
                    <a:pt x="0" y="2697"/>
                  </a:cubicBezTo>
                  <a:cubicBezTo>
                    <a:pt x="0" y="2325"/>
                    <a:pt x="126" y="1814"/>
                    <a:pt x="376" y="1180"/>
                  </a:cubicBezTo>
                  <a:cubicBezTo>
                    <a:pt x="554" y="725"/>
                    <a:pt x="731" y="372"/>
                    <a:pt x="739" y="357"/>
                  </a:cubicBezTo>
                  <a:cubicBezTo>
                    <a:pt x="918" y="0"/>
                    <a:pt x="918" y="0"/>
                    <a:pt x="918" y="0"/>
                  </a:cubicBezTo>
                  <a:cubicBezTo>
                    <a:pt x="1633" y="359"/>
                    <a:pt x="1633" y="359"/>
                    <a:pt x="1633" y="359"/>
                  </a:cubicBezTo>
                  <a:cubicBezTo>
                    <a:pt x="1453" y="717"/>
                    <a:pt x="1453" y="717"/>
                    <a:pt x="1453" y="717"/>
                  </a:cubicBezTo>
                  <a:cubicBezTo>
                    <a:pt x="1450" y="724"/>
                    <a:pt x="1282" y="1059"/>
                    <a:pt x="1118" y="1478"/>
                  </a:cubicBezTo>
                  <a:cubicBezTo>
                    <a:pt x="913" y="2001"/>
                    <a:pt x="800" y="2434"/>
                    <a:pt x="800" y="2697"/>
                  </a:cubicBezTo>
                  <a:cubicBezTo>
                    <a:pt x="800" y="2960"/>
                    <a:pt x="912" y="3393"/>
                    <a:pt x="1116" y="3916"/>
                  </a:cubicBezTo>
                  <a:cubicBezTo>
                    <a:pt x="1277" y="4329"/>
                    <a:pt x="1441" y="4660"/>
                    <a:pt x="1449" y="4677"/>
                  </a:cubicBezTo>
                  <a:cubicBezTo>
                    <a:pt x="1458" y="4695"/>
                    <a:pt x="1634" y="5047"/>
                    <a:pt x="1812" y="5500"/>
                  </a:cubicBezTo>
                  <a:cubicBezTo>
                    <a:pt x="2062" y="6134"/>
                    <a:pt x="2188" y="6645"/>
                    <a:pt x="2188" y="7017"/>
                  </a:cubicBezTo>
                  <a:cubicBezTo>
                    <a:pt x="2188" y="7389"/>
                    <a:pt x="2062" y="7899"/>
                    <a:pt x="1815" y="8534"/>
                  </a:cubicBezTo>
                  <a:cubicBezTo>
                    <a:pt x="1637" y="8988"/>
                    <a:pt x="1461" y="9341"/>
                    <a:pt x="1454" y="9356"/>
                  </a:cubicBezTo>
                  <a:cubicBezTo>
                    <a:pt x="1453" y="9357"/>
                    <a:pt x="1453" y="9357"/>
                    <a:pt x="1453" y="9357"/>
                  </a:cubicBezTo>
                  <a:cubicBezTo>
                    <a:pt x="1452" y="9360"/>
                    <a:pt x="1283" y="9697"/>
                    <a:pt x="1118" y="10118"/>
                  </a:cubicBezTo>
                  <a:cubicBezTo>
                    <a:pt x="913" y="10641"/>
                    <a:pt x="800" y="11074"/>
                    <a:pt x="800" y="11337"/>
                  </a:cubicBezTo>
                  <a:cubicBezTo>
                    <a:pt x="800" y="11600"/>
                    <a:pt x="912" y="12033"/>
                    <a:pt x="1116" y="12556"/>
                  </a:cubicBezTo>
                  <a:cubicBezTo>
                    <a:pt x="1281" y="12978"/>
                    <a:pt x="1448" y="13315"/>
                    <a:pt x="1450" y="13318"/>
                  </a:cubicBezTo>
                  <a:cubicBezTo>
                    <a:pt x="1628" y="13676"/>
                    <a:pt x="1628" y="13676"/>
                    <a:pt x="1628" y="13676"/>
                  </a:cubicBezTo>
                  <a:lnTo>
                    <a:pt x="913" y="14034"/>
                  </a:lnTo>
                  <a:close/>
                </a:path>
              </a:pathLst>
            </a:custGeom>
            <a:solidFill>
              <a:schemeClr val="tx1">
                <a:alpha val="88000"/>
              </a:schemeClr>
            </a:solidFill>
            <a:ln>
              <a:noFill/>
            </a:ln>
            <a:effectLst>
              <a:outerShdw blurRad="1003300" dist="38100" dir="10800000" algn="r" rotWithShape="0">
                <a:prstClr val="black">
                  <a:alpha val="46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1A10F9A5-8EFD-C567-D39F-EE5FC5521CDA}"/>
                </a:ext>
              </a:extLst>
            </p:cNvPr>
            <p:cNvSpPr>
              <a:spLocks/>
            </p:cNvSpPr>
            <p:nvPr/>
          </p:nvSpPr>
          <p:spPr bwMode="auto">
            <a:xfrm rot="2757414">
              <a:off x="29497975" y="-17493934"/>
              <a:ext cx="6481764" cy="41148000"/>
            </a:xfrm>
            <a:custGeom>
              <a:avLst/>
              <a:gdLst>
                <a:gd name="T0" fmla="*/ 913 w 2188"/>
                <a:gd name="T1" fmla="*/ 14034 h 14034"/>
                <a:gd name="T2" fmla="*/ 734 w 2188"/>
                <a:gd name="T3" fmla="*/ 13676 h 14034"/>
                <a:gd name="T4" fmla="*/ 373 w 2188"/>
                <a:gd name="T5" fmla="*/ 12854 h 14034"/>
                <a:gd name="T6" fmla="*/ 0 w 2188"/>
                <a:gd name="T7" fmla="*/ 11337 h 14034"/>
                <a:gd name="T8" fmla="*/ 376 w 2188"/>
                <a:gd name="T9" fmla="*/ 9820 h 14034"/>
                <a:gd name="T10" fmla="*/ 738 w 2188"/>
                <a:gd name="T11" fmla="*/ 8998 h 14034"/>
                <a:gd name="T12" fmla="*/ 1072 w 2188"/>
                <a:gd name="T13" fmla="*/ 8236 h 14034"/>
                <a:gd name="T14" fmla="*/ 1388 w 2188"/>
                <a:gd name="T15" fmla="*/ 7017 h 14034"/>
                <a:gd name="T16" fmla="*/ 1068 w 2188"/>
                <a:gd name="T17" fmla="*/ 5792 h 14034"/>
                <a:gd name="T18" fmla="*/ 735 w 2188"/>
                <a:gd name="T19" fmla="*/ 5037 h 14034"/>
                <a:gd name="T20" fmla="*/ 734 w 2188"/>
                <a:gd name="T21" fmla="*/ 5036 h 14034"/>
                <a:gd name="T22" fmla="*/ 373 w 2188"/>
                <a:gd name="T23" fmla="*/ 4214 h 14034"/>
                <a:gd name="T24" fmla="*/ 0 w 2188"/>
                <a:gd name="T25" fmla="*/ 2697 h 14034"/>
                <a:gd name="T26" fmla="*/ 376 w 2188"/>
                <a:gd name="T27" fmla="*/ 1180 h 14034"/>
                <a:gd name="T28" fmla="*/ 739 w 2188"/>
                <a:gd name="T29" fmla="*/ 357 h 14034"/>
                <a:gd name="T30" fmla="*/ 918 w 2188"/>
                <a:gd name="T31" fmla="*/ 0 h 14034"/>
                <a:gd name="T32" fmla="*/ 1633 w 2188"/>
                <a:gd name="T33" fmla="*/ 359 h 14034"/>
                <a:gd name="T34" fmla="*/ 1453 w 2188"/>
                <a:gd name="T35" fmla="*/ 717 h 14034"/>
                <a:gd name="T36" fmla="*/ 1118 w 2188"/>
                <a:gd name="T37" fmla="*/ 1478 h 14034"/>
                <a:gd name="T38" fmla="*/ 800 w 2188"/>
                <a:gd name="T39" fmla="*/ 2697 h 14034"/>
                <a:gd name="T40" fmla="*/ 1116 w 2188"/>
                <a:gd name="T41" fmla="*/ 3916 h 14034"/>
                <a:gd name="T42" fmla="*/ 1449 w 2188"/>
                <a:gd name="T43" fmla="*/ 4677 h 14034"/>
                <a:gd name="T44" fmla="*/ 1812 w 2188"/>
                <a:gd name="T45" fmla="*/ 5500 h 14034"/>
                <a:gd name="T46" fmla="*/ 2188 w 2188"/>
                <a:gd name="T47" fmla="*/ 7017 h 14034"/>
                <a:gd name="T48" fmla="*/ 1815 w 2188"/>
                <a:gd name="T49" fmla="*/ 8534 h 14034"/>
                <a:gd name="T50" fmla="*/ 1454 w 2188"/>
                <a:gd name="T51" fmla="*/ 9356 h 14034"/>
                <a:gd name="T52" fmla="*/ 1453 w 2188"/>
                <a:gd name="T53" fmla="*/ 9357 h 14034"/>
                <a:gd name="T54" fmla="*/ 1118 w 2188"/>
                <a:gd name="T55" fmla="*/ 10118 h 14034"/>
                <a:gd name="T56" fmla="*/ 800 w 2188"/>
                <a:gd name="T57" fmla="*/ 11337 h 14034"/>
                <a:gd name="T58" fmla="*/ 1116 w 2188"/>
                <a:gd name="T59" fmla="*/ 12556 h 14034"/>
                <a:gd name="T60" fmla="*/ 1450 w 2188"/>
                <a:gd name="T61" fmla="*/ 13318 h 14034"/>
                <a:gd name="T62" fmla="*/ 1628 w 2188"/>
                <a:gd name="T63" fmla="*/ 13676 h 14034"/>
                <a:gd name="T64" fmla="*/ 913 w 2188"/>
                <a:gd name="T65" fmla="*/ 14034 h 14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188" h="14034">
                  <a:moveTo>
                    <a:pt x="913" y="14034"/>
                  </a:moveTo>
                  <a:cubicBezTo>
                    <a:pt x="734" y="13676"/>
                    <a:pt x="734" y="13676"/>
                    <a:pt x="734" y="13676"/>
                  </a:cubicBezTo>
                  <a:cubicBezTo>
                    <a:pt x="727" y="13661"/>
                    <a:pt x="551" y="13308"/>
                    <a:pt x="373" y="12854"/>
                  </a:cubicBezTo>
                  <a:cubicBezTo>
                    <a:pt x="126" y="12219"/>
                    <a:pt x="0" y="11709"/>
                    <a:pt x="0" y="11337"/>
                  </a:cubicBezTo>
                  <a:cubicBezTo>
                    <a:pt x="0" y="10965"/>
                    <a:pt x="126" y="10454"/>
                    <a:pt x="376" y="9820"/>
                  </a:cubicBezTo>
                  <a:cubicBezTo>
                    <a:pt x="553" y="9368"/>
                    <a:pt x="729" y="9017"/>
                    <a:pt x="738" y="8998"/>
                  </a:cubicBezTo>
                  <a:cubicBezTo>
                    <a:pt x="745" y="8984"/>
                    <a:pt x="910" y="8651"/>
                    <a:pt x="1072" y="8236"/>
                  </a:cubicBezTo>
                  <a:cubicBezTo>
                    <a:pt x="1276" y="7713"/>
                    <a:pt x="1388" y="7280"/>
                    <a:pt x="1388" y="7017"/>
                  </a:cubicBezTo>
                  <a:cubicBezTo>
                    <a:pt x="1388" y="6753"/>
                    <a:pt x="1274" y="6318"/>
                    <a:pt x="1068" y="5792"/>
                  </a:cubicBezTo>
                  <a:cubicBezTo>
                    <a:pt x="902" y="5371"/>
                    <a:pt x="736" y="5040"/>
                    <a:pt x="735" y="5037"/>
                  </a:cubicBezTo>
                  <a:cubicBezTo>
                    <a:pt x="734" y="5036"/>
                    <a:pt x="734" y="5036"/>
                    <a:pt x="734" y="5036"/>
                  </a:cubicBezTo>
                  <a:cubicBezTo>
                    <a:pt x="727" y="5021"/>
                    <a:pt x="551" y="4668"/>
                    <a:pt x="373" y="4214"/>
                  </a:cubicBezTo>
                  <a:cubicBezTo>
                    <a:pt x="126" y="3579"/>
                    <a:pt x="0" y="3069"/>
                    <a:pt x="0" y="2697"/>
                  </a:cubicBezTo>
                  <a:cubicBezTo>
                    <a:pt x="0" y="2325"/>
                    <a:pt x="126" y="1814"/>
                    <a:pt x="376" y="1180"/>
                  </a:cubicBezTo>
                  <a:cubicBezTo>
                    <a:pt x="554" y="725"/>
                    <a:pt x="731" y="372"/>
                    <a:pt x="739" y="357"/>
                  </a:cubicBezTo>
                  <a:cubicBezTo>
                    <a:pt x="918" y="0"/>
                    <a:pt x="918" y="0"/>
                    <a:pt x="918" y="0"/>
                  </a:cubicBezTo>
                  <a:cubicBezTo>
                    <a:pt x="1633" y="359"/>
                    <a:pt x="1633" y="359"/>
                    <a:pt x="1633" y="359"/>
                  </a:cubicBezTo>
                  <a:cubicBezTo>
                    <a:pt x="1453" y="717"/>
                    <a:pt x="1453" y="717"/>
                    <a:pt x="1453" y="717"/>
                  </a:cubicBezTo>
                  <a:cubicBezTo>
                    <a:pt x="1450" y="724"/>
                    <a:pt x="1282" y="1059"/>
                    <a:pt x="1118" y="1478"/>
                  </a:cubicBezTo>
                  <a:cubicBezTo>
                    <a:pt x="913" y="2001"/>
                    <a:pt x="800" y="2434"/>
                    <a:pt x="800" y="2697"/>
                  </a:cubicBezTo>
                  <a:cubicBezTo>
                    <a:pt x="800" y="2960"/>
                    <a:pt x="912" y="3393"/>
                    <a:pt x="1116" y="3916"/>
                  </a:cubicBezTo>
                  <a:cubicBezTo>
                    <a:pt x="1277" y="4329"/>
                    <a:pt x="1441" y="4660"/>
                    <a:pt x="1449" y="4677"/>
                  </a:cubicBezTo>
                  <a:cubicBezTo>
                    <a:pt x="1458" y="4695"/>
                    <a:pt x="1634" y="5047"/>
                    <a:pt x="1812" y="5500"/>
                  </a:cubicBezTo>
                  <a:cubicBezTo>
                    <a:pt x="2062" y="6134"/>
                    <a:pt x="2188" y="6645"/>
                    <a:pt x="2188" y="7017"/>
                  </a:cubicBezTo>
                  <a:cubicBezTo>
                    <a:pt x="2188" y="7389"/>
                    <a:pt x="2062" y="7899"/>
                    <a:pt x="1815" y="8534"/>
                  </a:cubicBezTo>
                  <a:cubicBezTo>
                    <a:pt x="1637" y="8988"/>
                    <a:pt x="1461" y="9341"/>
                    <a:pt x="1454" y="9356"/>
                  </a:cubicBezTo>
                  <a:cubicBezTo>
                    <a:pt x="1453" y="9357"/>
                    <a:pt x="1453" y="9357"/>
                    <a:pt x="1453" y="9357"/>
                  </a:cubicBezTo>
                  <a:cubicBezTo>
                    <a:pt x="1452" y="9360"/>
                    <a:pt x="1283" y="9697"/>
                    <a:pt x="1118" y="10118"/>
                  </a:cubicBezTo>
                  <a:cubicBezTo>
                    <a:pt x="913" y="10641"/>
                    <a:pt x="800" y="11074"/>
                    <a:pt x="800" y="11337"/>
                  </a:cubicBezTo>
                  <a:cubicBezTo>
                    <a:pt x="800" y="11600"/>
                    <a:pt x="912" y="12033"/>
                    <a:pt x="1116" y="12556"/>
                  </a:cubicBezTo>
                  <a:cubicBezTo>
                    <a:pt x="1281" y="12978"/>
                    <a:pt x="1448" y="13315"/>
                    <a:pt x="1450" y="13318"/>
                  </a:cubicBezTo>
                  <a:cubicBezTo>
                    <a:pt x="1628" y="13676"/>
                    <a:pt x="1628" y="13676"/>
                    <a:pt x="1628" y="13676"/>
                  </a:cubicBezTo>
                  <a:lnTo>
                    <a:pt x="913" y="14034"/>
                  </a:lnTo>
                  <a:close/>
                </a:path>
              </a:pathLst>
            </a:custGeom>
            <a:solidFill>
              <a:schemeClr val="accent2">
                <a:alpha val="88000"/>
              </a:schemeClr>
            </a:solidFill>
            <a:ln>
              <a:noFill/>
            </a:ln>
            <a:effectLst>
              <a:outerShdw blurRad="1003300" dist="38100" dir="10800000" algn="r" rotWithShape="0">
                <a:schemeClr val="accent2">
                  <a:lumMod val="75000"/>
                  <a:alpha val="46000"/>
                </a:scheme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965E93A6-0D8C-DAD5-0174-B25BE0DAAF6E}"/>
                </a:ext>
              </a:extLst>
            </p:cNvPr>
            <p:cNvSpPr>
              <a:spLocks/>
            </p:cNvSpPr>
            <p:nvPr/>
          </p:nvSpPr>
          <p:spPr bwMode="auto">
            <a:xfrm rot="2757414">
              <a:off x="30928278" y="-16015040"/>
              <a:ext cx="6481764" cy="41148000"/>
            </a:xfrm>
            <a:custGeom>
              <a:avLst/>
              <a:gdLst>
                <a:gd name="T0" fmla="*/ 913 w 2188"/>
                <a:gd name="T1" fmla="*/ 14034 h 14034"/>
                <a:gd name="T2" fmla="*/ 734 w 2188"/>
                <a:gd name="T3" fmla="*/ 13676 h 14034"/>
                <a:gd name="T4" fmla="*/ 373 w 2188"/>
                <a:gd name="T5" fmla="*/ 12854 h 14034"/>
                <a:gd name="T6" fmla="*/ 0 w 2188"/>
                <a:gd name="T7" fmla="*/ 11337 h 14034"/>
                <a:gd name="T8" fmla="*/ 376 w 2188"/>
                <a:gd name="T9" fmla="*/ 9820 h 14034"/>
                <a:gd name="T10" fmla="*/ 738 w 2188"/>
                <a:gd name="T11" fmla="*/ 8998 h 14034"/>
                <a:gd name="T12" fmla="*/ 1072 w 2188"/>
                <a:gd name="T13" fmla="*/ 8236 h 14034"/>
                <a:gd name="T14" fmla="*/ 1388 w 2188"/>
                <a:gd name="T15" fmla="*/ 7017 h 14034"/>
                <a:gd name="T16" fmla="*/ 1068 w 2188"/>
                <a:gd name="T17" fmla="*/ 5792 h 14034"/>
                <a:gd name="T18" fmla="*/ 735 w 2188"/>
                <a:gd name="T19" fmla="*/ 5037 h 14034"/>
                <a:gd name="T20" fmla="*/ 734 w 2188"/>
                <a:gd name="T21" fmla="*/ 5036 h 14034"/>
                <a:gd name="T22" fmla="*/ 373 w 2188"/>
                <a:gd name="T23" fmla="*/ 4214 h 14034"/>
                <a:gd name="T24" fmla="*/ 0 w 2188"/>
                <a:gd name="T25" fmla="*/ 2697 h 14034"/>
                <a:gd name="T26" fmla="*/ 376 w 2188"/>
                <a:gd name="T27" fmla="*/ 1180 h 14034"/>
                <a:gd name="T28" fmla="*/ 739 w 2188"/>
                <a:gd name="T29" fmla="*/ 357 h 14034"/>
                <a:gd name="T30" fmla="*/ 918 w 2188"/>
                <a:gd name="T31" fmla="*/ 0 h 14034"/>
                <a:gd name="T32" fmla="*/ 1633 w 2188"/>
                <a:gd name="T33" fmla="*/ 359 h 14034"/>
                <a:gd name="T34" fmla="*/ 1453 w 2188"/>
                <a:gd name="T35" fmla="*/ 717 h 14034"/>
                <a:gd name="T36" fmla="*/ 1118 w 2188"/>
                <a:gd name="T37" fmla="*/ 1478 h 14034"/>
                <a:gd name="T38" fmla="*/ 800 w 2188"/>
                <a:gd name="T39" fmla="*/ 2697 h 14034"/>
                <a:gd name="T40" fmla="*/ 1116 w 2188"/>
                <a:gd name="T41" fmla="*/ 3916 h 14034"/>
                <a:gd name="T42" fmla="*/ 1449 w 2188"/>
                <a:gd name="T43" fmla="*/ 4677 h 14034"/>
                <a:gd name="T44" fmla="*/ 1812 w 2188"/>
                <a:gd name="T45" fmla="*/ 5500 h 14034"/>
                <a:gd name="T46" fmla="*/ 2188 w 2188"/>
                <a:gd name="T47" fmla="*/ 7017 h 14034"/>
                <a:gd name="T48" fmla="*/ 1815 w 2188"/>
                <a:gd name="T49" fmla="*/ 8534 h 14034"/>
                <a:gd name="T50" fmla="*/ 1454 w 2188"/>
                <a:gd name="T51" fmla="*/ 9356 h 14034"/>
                <a:gd name="T52" fmla="*/ 1453 w 2188"/>
                <a:gd name="T53" fmla="*/ 9357 h 14034"/>
                <a:gd name="T54" fmla="*/ 1118 w 2188"/>
                <a:gd name="T55" fmla="*/ 10118 h 14034"/>
                <a:gd name="T56" fmla="*/ 800 w 2188"/>
                <a:gd name="T57" fmla="*/ 11337 h 14034"/>
                <a:gd name="T58" fmla="*/ 1116 w 2188"/>
                <a:gd name="T59" fmla="*/ 12556 h 14034"/>
                <a:gd name="T60" fmla="*/ 1450 w 2188"/>
                <a:gd name="T61" fmla="*/ 13318 h 14034"/>
                <a:gd name="T62" fmla="*/ 1628 w 2188"/>
                <a:gd name="T63" fmla="*/ 13676 h 14034"/>
                <a:gd name="T64" fmla="*/ 913 w 2188"/>
                <a:gd name="T65" fmla="*/ 14034 h 14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188" h="14034">
                  <a:moveTo>
                    <a:pt x="913" y="14034"/>
                  </a:moveTo>
                  <a:cubicBezTo>
                    <a:pt x="734" y="13676"/>
                    <a:pt x="734" y="13676"/>
                    <a:pt x="734" y="13676"/>
                  </a:cubicBezTo>
                  <a:cubicBezTo>
                    <a:pt x="727" y="13661"/>
                    <a:pt x="551" y="13308"/>
                    <a:pt x="373" y="12854"/>
                  </a:cubicBezTo>
                  <a:cubicBezTo>
                    <a:pt x="126" y="12219"/>
                    <a:pt x="0" y="11709"/>
                    <a:pt x="0" y="11337"/>
                  </a:cubicBezTo>
                  <a:cubicBezTo>
                    <a:pt x="0" y="10965"/>
                    <a:pt x="126" y="10454"/>
                    <a:pt x="376" y="9820"/>
                  </a:cubicBezTo>
                  <a:cubicBezTo>
                    <a:pt x="553" y="9368"/>
                    <a:pt x="729" y="9017"/>
                    <a:pt x="738" y="8998"/>
                  </a:cubicBezTo>
                  <a:cubicBezTo>
                    <a:pt x="745" y="8984"/>
                    <a:pt x="910" y="8651"/>
                    <a:pt x="1072" y="8236"/>
                  </a:cubicBezTo>
                  <a:cubicBezTo>
                    <a:pt x="1276" y="7713"/>
                    <a:pt x="1388" y="7280"/>
                    <a:pt x="1388" y="7017"/>
                  </a:cubicBezTo>
                  <a:cubicBezTo>
                    <a:pt x="1388" y="6753"/>
                    <a:pt x="1274" y="6318"/>
                    <a:pt x="1068" y="5792"/>
                  </a:cubicBezTo>
                  <a:cubicBezTo>
                    <a:pt x="902" y="5371"/>
                    <a:pt x="736" y="5040"/>
                    <a:pt x="735" y="5037"/>
                  </a:cubicBezTo>
                  <a:cubicBezTo>
                    <a:pt x="734" y="5036"/>
                    <a:pt x="734" y="5036"/>
                    <a:pt x="734" y="5036"/>
                  </a:cubicBezTo>
                  <a:cubicBezTo>
                    <a:pt x="727" y="5021"/>
                    <a:pt x="551" y="4668"/>
                    <a:pt x="373" y="4214"/>
                  </a:cubicBezTo>
                  <a:cubicBezTo>
                    <a:pt x="126" y="3579"/>
                    <a:pt x="0" y="3069"/>
                    <a:pt x="0" y="2697"/>
                  </a:cubicBezTo>
                  <a:cubicBezTo>
                    <a:pt x="0" y="2325"/>
                    <a:pt x="126" y="1814"/>
                    <a:pt x="376" y="1180"/>
                  </a:cubicBezTo>
                  <a:cubicBezTo>
                    <a:pt x="554" y="725"/>
                    <a:pt x="731" y="372"/>
                    <a:pt x="739" y="357"/>
                  </a:cubicBezTo>
                  <a:cubicBezTo>
                    <a:pt x="918" y="0"/>
                    <a:pt x="918" y="0"/>
                    <a:pt x="918" y="0"/>
                  </a:cubicBezTo>
                  <a:cubicBezTo>
                    <a:pt x="1633" y="359"/>
                    <a:pt x="1633" y="359"/>
                    <a:pt x="1633" y="359"/>
                  </a:cubicBezTo>
                  <a:cubicBezTo>
                    <a:pt x="1453" y="717"/>
                    <a:pt x="1453" y="717"/>
                    <a:pt x="1453" y="717"/>
                  </a:cubicBezTo>
                  <a:cubicBezTo>
                    <a:pt x="1450" y="724"/>
                    <a:pt x="1282" y="1059"/>
                    <a:pt x="1118" y="1478"/>
                  </a:cubicBezTo>
                  <a:cubicBezTo>
                    <a:pt x="913" y="2001"/>
                    <a:pt x="800" y="2434"/>
                    <a:pt x="800" y="2697"/>
                  </a:cubicBezTo>
                  <a:cubicBezTo>
                    <a:pt x="800" y="2960"/>
                    <a:pt x="912" y="3393"/>
                    <a:pt x="1116" y="3916"/>
                  </a:cubicBezTo>
                  <a:cubicBezTo>
                    <a:pt x="1277" y="4329"/>
                    <a:pt x="1441" y="4660"/>
                    <a:pt x="1449" y="4677"/>
                  </a:cubicBezTo>
                  <a:cubicBezTo>
                    <a:pt x="1458" y="4695"/>
                    <a:pt x="1634" y="5047"/>
                    <a:pt x="1812" y="5500"/>
                  </a:cubicBezTo>
                  <a:cubicBezTo>
                    <a:pt x="2062" y="6134"/>
                    <a:pt x="2188" y="6645"/>
                    <a:pt x="2188" y="7017"/>
                  </a:cubicBezTo>
                  <a:cubicBezTo>
                    <a:pt x="2188" y="7389"/>
                    <a:pt x="2062" y="7899"/>
                    <a:pt x="1815" y="8534"/>
                  </a:cubicBezTo>
                  <a:cubicBezTo>
                    <a:pt x="1637" y="8988"/>
                    <a:pt x="1461" y="9341"/>
                    <a:pt x="1454" y="9356"/>
                  </a:cubicBezTo>
                  <a:cubicBezTo>
                    <a:pt x="1453" y="9357"/>
                    <a:pt x="1453" y="9357"/>
                    <a:pt x="1453" y="9357"/>
                  </a:cubicBezTo>
                  <a:cubicBezTo>
                    <a:pt x="1452" y="9360"/>
                    <a:pt x="1283" y="9697"/>
                    <a:pt x="1118" y="10118"/>
                  </a:cubicBezTo>
                  <a:cubicBezTo>
                    <a:pt x="913" y="10641"/>
                    <a:pt x="800" y="11074"/>
                    <a:pt x="800" y="11337"/>
                  </a:cubicBezTo>
                  <a:cubicBezTo>
                    <a:pt x="800" y="11600"/>
                    <a:pt x="912" y="12033"/>
                    <a:pt x="1116" y="12556"/>
                  </a:cubicBezTo>
                  <a:cubicBezTo>
                    <a:pt x="1281" y="12978"/>
                    <a:pt x="1448" y="13315"/>
                    <a:pt x="1450" y="13318"/>
                  </a:cubicBezTo>
                  <a:cubicBezTo>
                    <a:pt x="1628" y="13676"/>
                    <a:pt x="1628" y="13676"/>
                    <a:pt x="1628" y="13676"/>
                  </a:cubicBezTo>
                  <a:lnTo>
                    <a:pt x="913" y="14034"/>
                  </a:lnTo>
                  <a:close/>
                </a:path>
              </a:pathLst>
            </a:custGeom>
            <a:solidFill>
              <a:schemeClr val="accent5">
                <a:alpha val="88000"/>
              </a:schemeClr>
            </a:solidFill>
            <a:ln>
              <a:noFill/>
            </a:ln>
            <a:effectLst>
              <a:outerShdw blurRad="1003300" dist="38100" dir="10800000" algn="r" rotWithShape="0">
                <a:schemeClr val="accent5">
                  <a:lumMod val="75000"/>
                  <a:alpha val="46000"/>
                </a:scheme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4F0C6BEC-48A8-7F72-C0F7-F7BB4DABB8EB}"/>
                </a:ext>
              </a:extLst>
            </p:cNvPr>
            <p:cNvSpPr>
              <a:spLocks/>
            </p:cNvSpPr>
            <p:nvPr/>
          </p:nvSpPr>
          <p:spPr bwMode="auto">
            <a:xfrm rot="2757414">
              <a:off x="32361167" y="-14531010"/>
              <a:ext cx="6486525" cy="41148000"/>
            </a:xfrm>
            <a:custGeom>
              <a:avLst/>
              <a:gdLst>
                <a:gd name="T0" fmla="*/ 913 w 2188"/>
                <a:gd name="T1" fmla="*/ 14034 h 14034"/>
                <a:gd name="T2" fmla="*/ 734 w 2188"/>
                <a:gd name="T3" fmla="*/ 13676 h 14034"/>
                <a:gd name="T4" fmla="*/ 373 w 2188"/>
                <a:gd name="T5" fmla="*/ 12854 h 14034"/>
                <a:gd name="T6" fmla="*/ 0 w 2188"/>
                <a:gd name="T7" fmla="*/ 11337 h 14034"/>
                <a:gd name="T8" fmla="*/ 376 w 2188"/>
                <a:gd name="T9" fmla="*/ 9820 h 14034"/>
                <a:gd name="T10" fmla="*/ 738 w 2188"/>
                <a:gd name="T11" fmla="*/ 8998 h 14034"/>
                <a:gd name="T12" fmla="*/ 1072 w 2188"/>
                <a:gd name="T13" fmla="*/ 8236 h 14034"/>
                <a:gd name="T14" fmla="*/ 1388 w 2188"/>
                <a:gd name="T15" fmla="*/ 7017 h 14034"/>
                <a:gd name="T16" fmla="*/ 1068 w 2188"/>
                <a:gd name="T17" fmla="*/ 5792 h 14034"/>
                <a:gd name="T18" fmla="*/ 735 w 2188"/>
                <a:gd name="T19" fmla="*/ 5037 h 14034"/>
                <a:gd name="T20" fmla="*/ 734 w 2188"/>
                <a:gd name="T21" fmla="*/ 5036 h 14034"/>
                <a:gd name="T22" fmla="*/ 373 w 2188"/>
                <a:gd name="T23" fmla="*/ 4214 h 14034"/>
                <a:gd name="T24" fmla="*/ 0 w 2188"/>
                <a:gd name="T25" fmla="*/ 2697 h 14034"/>
                <a:gd name="T26" fmla="*/ 376 w 2188"/>
                <a:gd name="T27" fmla="*/ 1180 h 14034"/>
                <a:gd name="T28" fmla="*/ 739 w 2188"/>
                <a:gd name="T29" fmla="*/ 357 h 14034"/>
                <a:gd name="T30" fmla="*/ 918 w 2188"/>
                <a:gd name="T31" fmla="*/ 0 h 14034"/>
                <a:gd name="T32" fmla="*/ 1633 w 2188"/>
                <a:gd name="T33" fmla="*/ 359 h 14034"/>
                <a:gd name="T34" fmla="*/ 1453 w 2188"/>
                <a:gd name="T35" fmla="*/ 717 h 14034"/>
                <a:gd name="T36" fmla="*/ 1118 w 2188"/>
                <a:gd name="T37" fmla="*/ 1478 h 14034"/>
                <a:gd name="T38" fmla="*/ 800 w 2188"/>
                <a:gd name="T39" fmla="*/ 2697 h 14034"/>
                <a:gd name="T40" fmla="*/ 1116 w 2188"/>
                <a:gd name="T41" fmla="*/ 3916 h 14034"/>
                <a:gd name="T42" fmla="*/ 1449 w 2188"/>
                <a:gd name="T43" fmla="*/ 4677 h 14034"/>
                <a:gd name="T44" fmla="*/ 1812 w 2188"/>
                <a:gd name="T45" fmla="*/ 5500 h 14034"/>
                <a:gd name="T46" fmla="*/ 2188 w 2188"/>
                <a:gd name="T47" fmla="*/ 7017 h 14034"/>
                <a:gd name="T48" fmla="*/ 1815 w 2188"/>
                <a:gd name="T49" fmla="*/ 8534 h 14034"/>
                <a:gd name="T50" fmla="*/ 1454 w 2188"/>
                <a:gd name="T51" fmla="*/ 9356 h 14034"/>
                <a:gd name="T52" fmla="*/ 1453 w 2188"/>
                <a:gd name="T53" fmla="*/ 9357 h 14034"/>
                <a:gd name="T54" fmla="*/ 1118 w 2188"/>
                <a:gd name="T55" fmla="*/ 10118 h 14034"/>
                <a:gd name="T56" fmla="*/ 800 w 2188"/>
                <a:gd name="T57" fmla="*/ 11337 h 14034"/>
                <a:gd name="T58" fmla="*/ 1116 w 2188"/>
                <a:gd name="T59" fmla="*/ 12556 h 14034"/>
                <a:gd name="T60" fmla="*/ 1450 w 2188"/>
                <a:gd name="T61" fmla="*/ 13318 h 14034"/>
                <a:gd name="T62" fmla="*/ 1628 w 2188"/>
                <a:gd name="T63" fmla="*/ 13676 h 14034"/>
                <a:gd name="T64" fmla="*/ 913 w 2188"/>
                <a:gd name="T65" fmla="*/ 14034 h 14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188" h="14034">
                  <a:moveTo>
                    <a:pt x="913" y="14034"/>
                  </a:moveTo>
                  <a:cubicBezTo>
                    <a:pt x="734" y="13676"/>
                    <a:pt x="734" y="13676"/>
                    <a:pt x="734" y="13676"/>
                  </a:cubicBezTo>
                  <a:cubicBezTo>
                    <a:pt x="727" y="13661"/>
                    <a:pt x="551" y="13308"/>
                    <a:pt x="373" y="12854"/>
                  </a:cubicBezTo>
                  <a:cubicBezTo>
                    <a:pt x="126" y="12219"/>
                    <a:pt x="0" y="11709"/>
                    <a:pt x="0" y="11337"/>
                  </a:cubicBezTo>
                  <a:cubicBezTo>
                    <a:pt x="0" y="10965"/>
                    <a:pt x="126" y="10454"/>
                    <a:pt x="376" y="9820"/>
                  </a:cubicBezTo>
                  <a:cubicBezTo>
                    <a:pt x="553" y="9368"/>
                    <a:pt x="729" y="9017"/>
                    <a:pt x="738" y="8998"/>
                  </a:cubicBezTo>
                  <a:cubicBezTo>
                    <a:pt x="745" y="8984"/>
                    <a:pt x="910" y="8651"/>
                    <a:pt x="1072" y="8236"/>
                  </a:cubicBezTo>
                  <a:cubicBezTo>
                    <a:pt x="1276" y="7713"/>
                    <a:pt x="1388" y="7280"/>
                    <a:pt x="1388" y="7017"/>
                  </a:cubicBezTo>
                  <a:cubicBezTo>
                    <a:pt x="1388" y="6753"/>
                    <a:pt x="1274" y="6318"/>
                    <a:pt x="1068" y="5792"/>
                  </a:cubicBezTo>
                  <a:cubicBezTo>
                    <a:pt x="902" y="5371"/>
                    <a:pt x="736" y="5040"/>
                    <a:pt x="735" y="5037"/>
                  </a:cubicBezTo>
                  <a:cubicBezTo>
                    <a:pt x="734" y="5036"/>
                    <a:pt x="734" y="5036"/>
                    <a:pt x="734" y="5036"/>
                  </a:cubicBezTo>
                  <a:cubicBezTo>
                    <a:pt x="727" y="5021"/>
                    <a:pt x="551" y="4668"/>
                    <a:pt x="373" y="4214"/>
                  </a:cubicBezTo>
                  <a:cubicBezTo>
                    <a:pt x="126" y="3579"/>
                    <a:pt x="0" y="3069"/>
                    <a:pt x="0" y="2697"/>
                  </a:cubicBezTo>
                  <a:cubicBezTo>
                    <a:pt x="0" y="2325"/>
                    <a:pt x="126" y="1814"/>
                    <a:pt x="376" y="1180"/>
                  </a:cubicBezTo>
                  <a:cubicBezTo>
                    <a:pt x="554" y="725"/>
                    <a:pt x="731" y="372"/>
                    <a:pt x="739" y="357"/>
                  </a:cubicBezTo>
                  <a:cubicBezTo>
                    <a:pt x="918" y="0"/>
                    <a:pt x="918" y="0"/>
                    <a:pt x="918" y="0"/>
                  </a:cubicBezTo>
                  <a:cubicBezTo>
                    <a:pt x="1633" y="359"/>
                    <a:pt x="1633" y="359"/>
                    <a:pt x="1633" y="359"/>
                  </a:cubicBezTo>
                  <a:cubicBezTo>
                    <a:pt x="1453" y="717"/>
                    <a:pt x="1453" y="717"/>
                    <a:pt x="1453" y="717"/>
                  </a:cubicBezTo>
                  <a:cubicBezTo>
                    <a:pt x="1450" y="724"/>
                    <a:pt x="1282" y="1059"/>
                    <a:pt x="1118" y="1478"/>
                  </a:cubicBezTo>
                  <a:cubicBezTo>
                    <a:pt x="913" y="2001"/>
                    <a:pt x="800" y="2434"/>
                    <a:pt x="800" y="2697"/>
                  </a:cubicBezTo>
                  <a:cubicBezTo>
                    <a:pt x="800" y="2960"/>
                    <a:pt x="912" y="3393"/>
                    <a:pt x="1116" y="3916"/>
                  </a:cubicBezTo>
                  <a:cubicBezTo>
                    <a:pt x="1277" y="4329"/>
                    <a:pt x="1441" y="4660"/>
                    <a:pt x="1449" y="4677"/>
                  </a:cubicBezTo>
                  <a:cubicBezTo>
                    <a:pt x="1458" y="4695"/>
                    <a:pt x="1634" y="5047"/>
                    <a:pt x="1812" y="5500"/>
                  </a:cubicBezTo>
                  <a:cubicBezTo>
                    <a:pt x="2062" y="6134"/>
                    <a:pt x="2188" y="6645"/>
                    <a:pt x="2188" y="7017"/>
                  </a:cubicBezTo>
                  <a:cubicBezTo>
                    <a:pt x="2188" y="7389"/>
                    <a:pt x="2062" y="7899"/>
                    <a:pt x="1815" y="8534"/>
                  </a:cubicBezTo>
                  <a:cubicBezTo>
                    <a:pt x="1637" y="8988"/>
                    <a:pt x="1461" y="9341"/>
                    <a:pt x="1454" y="9356"/>
                  </a:cubicBezTo>
                  <a:cubicBezTo>
                    <a:pt x="1453" y="9357"/>
                    <a:pt x="1453" y="9357"/>
                    <a:pt x="1453" y="9357"/>
                  </a:cubicBezTo>
                  <a:cubicBezTo>
                    <a:pt x="1452" y="9360"/>
                    <a:pt x="1283" y="9697"/>
                    <a:pt x="1118" y="10118"/>
                  </a:cubicBezTo>
                  <a:cubicBezTo>
                    <a:pt x="913" y="10641"/>
                    <a:pt x="800" y="11074"/>
                    <a:pt x="800" y="11337"/>
                  </a:cubicBezTo>
                  <a:cubicBezTo>
                    <a:pt x="800" y="11600"/>
                    <a:pt x="912" y="12033"/>
                    <a:pt x="1116" y="12556"/>
                  </a:cubicBezTo>
                  <a:cubicBezTo>
                    <a:pt x="1281" y="12978"/>
                    <a:pt x="1448" y="13315"/>
                    <a:pt x="1450" y="13318"/>
                  </a:cubicBezTo>
                  <a:cubicBezTo>
                    <a:pt x="1628" y="13676"/>
                    <a:pt x="1628" y="13676"/>
                    <a:pt x="1628" y="13676"/>
                  </a:cubicBezTo>
                  <a:lnTo>
                    <a:pt x="913" y="14034"/>
                  </a:lnTo>
                  <a:close/>
                </a:path>
              </a:pathLst>
            </a:custGeom>
            <a:solidFill>
              <a:schemeClr val="accent4">
                <a:alpha val="88000"/>
              </a:schemeClr>
            </a:solidFill>
            <a:ln>
              <a:noFill/>
            </a:ln>
            <a:effectLst>
              <a:outerShdw blurRad="1003300" dist="38100" dir="10800000" algn="r" rotWithShape="0">
                <a:schemeClr val="accent4">
                  <a:lumMod val="75000"/>
                  <a:alpha val="46000"/>
                </a:scheme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BD81A01F-B709-4F60-D69F-1404B262B970}"/>
                </a:ext>
              </a:extLst>
            </p:cNvPr>
            <p:cNvSpPr>
              <a:spLocks/>
            </p:cNvSpPr>
            <p:nvPr/>
          </p:nvSpPr>
          <p:spPr bwMode="auto">
            <a:xfrm rot="2757414">
              <a:off x="33795506" y="-13050405"/>
              <a:ext cx="6481764" cy="41148000"/>
            </a:xfrm>
            <a:custGeom>
              <a:avLst/>
              <a:gdLst>
                <a:gd name="T0" fmla="*/ 913 w 2188"/>
                <a:gd name="T1" fmla="*/ 14034 h 14034"/>
                <a:gd name="T2" fmla="*/ 734 w 2188"/>
                <a:gd name="T3" fmla="*/ 13676 h 14034"/>
                <a:gd name="T4" fmla="*/ 373 w 2188"/>
                <a:gd name="T5" fmla="*/ 12854 h 14034"/>
                <a:gd name="T6" fmla="*/ 0 w 2188"/>
                <a:gd name="T7" fmla="*/ 11337 h 14034"/>
                <a:gd name="T8" fmla="*/ 376 w 2188"/>
                <a:gd name="T9" fmla="*/ 9820 h 14034"/>
                <a:gd name="T10" fmla="*/ 738 w 2188"/>
                <a:gd name="T11" fmla="*/ 8998 h 14034"/>
                <a:gd name="T12" fmla="*/ 1072 w 2188"/>
                <a:gd name="T13" fmla="*/ 8236 h 14034"/>
                <a:gd name="T14" fmla="*/ 1388 w 2188"/>
                <a:gd name="T15" fmla="*/ 7017 h 14034"/>
                <a:gd name="T16" fmla="*/ 1068 w 2188"/>
                <a:gd name="T17" fmla="*/ 5792 h 14034"/>
                <a:gd name="T18" fmla="*/ 735 w 2188"/>
                <a:gd name="T19" fmla="*/ 5037 h 14034"/>
                <a:gd name="T20" fmla="*/ 734 w 2188"/>
                <a:gd name="T21" fmla="*/ 5036 h 14034"/>
                <a:gd name="T22" fmla="*/ 373 w 2188"/>
                <a:gd name="T23" fmla="*/ 4214 h 14034"/>
                <a:gd name="T24" fmla="*/ 0 w 2188"/>
                <a:gd name="T25" fmla="*/ 2697 h 14034"/>
                <a:gd name="T26" fmla="*/ 376 w 2188"/>
                <a:gd name="T27" fmla="*/ 1180 h 14034"/>
                <a:gd name="T28" fmla="*/ 739 w 2188"/>
                <a:gd name="T29" fmla="*/ 357 h 14034"/>
                <a:gd name="T30" fmla="*/ 918 w 2188"/>
                <a:gd name="T31" fmla="*/ 0 h 14034"/>
                <a:gd name="T32" fmla="*/ 1633 w 2188"/>
                <a:gd name="T33" fmla="*/ 359 h 14034"/>
                <a:gd name="T34" fmla="*/ 1453 w 2188"/>
                <a:gd name="T35" fmla="*/ 717 h 14034"/>
                <a:gd name="T36" fmla="*/ 1118 w 2188"/>
                <a:gd name="T37" fmla="*/ 1478 h 14034"/>
                <a:gd name="T38" fmla="*/ 800 w 2188"/>
                <a:gd name="T39" fmla="*/ 2697 h 14034"/>
                <a:gd name="T40" fmla="*/ 1116 w 2188"/>
                <a:gd name="T41" fmla="*/ 3916 h 14034"/>
                <a:gd name="T42" fmla="*/ 1449 w 2188"/>
                <a:gd name="T43" fmla="*/ 4677 h 14034"/>
                <a:gd name="T44" fmla="*/ 1812 w 2188"/>
                <a:gd name="T45" fmla="*/ 5500 h 14034"/>
                <a:gd name="T46" fmla="*/ 2188 w 2188"/>
                <a:gd name="T47" fmla="*/ 7017 h 14034"/>
                <a:gd name="T48" fmla="*/ 1815 w 2188"/>
                <a:gd name="T49" fmla="*/ 8534 h 14034"/>
                <a:gd name="T50" fmla="*/ 1454 w 2188"/>
                <a:gd name="T51" fmla="*/ 9356 h 14034"/>
                <a:gd name="T52" fmla="*/ 1453 w 2188"/>
                <a:gd name="T53" fmla="*/ 9357 h 14034"/>
                <a:gd name="T54" fmla="*/ 1118 w 2188"/>
                <a:gd name="T55" fmla="*/ 10118 h 14034"/>
                <a:gd name="T56" fmla="*/ 800 w 2188"/>
                <a:gd name="T57" fmla="*/ 11337 h 14034"/>
                <a:gd name="T58" fmla="*/ 1116 w 2188"/>
                <a:gd name="T59" fmla="*/ 12556 h 14034"/>
                <a:gd name="T60" fmla="*/ 1450 w 2188"/>
                <a:gd name="T61" fmla="*/ 13318 h 14034"/>
                <a:gd name="T62" fmla="*/ 1628 w 2188"/>
                <a:gd name="T63" fmla="*/ 13676 h 14034"/>
                <a:gd name="T64" fmla="*/ 913 w 2188"/>
                <a:gd name="T65" fmla="*/ 14034 h 14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188" h="14034">
                  <a:moveTo>
                    <a:pt x="913" y="14034"/>
                  </a:moveTo>
                  <a:cubicBezTo>
                    <a:pt x="734" y="13676"/>
                    <a:pt x="734" y="13676"/>
                    <a:pt x="734" y="13676"/>
                  </a:cubicBezTo>
                  <a:cubicBezTo>
                    <a:pt x="727" y="13661"/>
                    <a:pt x="551" y="13308"/>
                    <a:pt x="373" y="12854"/>
                  </a:cubicBezTo>
                  <a:cubicBezTo>
                    <a:pt x="126" y="12219"/>
                    <a:pt x="0" y="11709"/>
                    <a:pt x="0" y="11337"/>
                  </a:cubicBezTo>
                  <a:cubicBezTo>
                    <a:pt x="0" y="10965"/>
                    <a:pt x="126" y="10454"/>
                    <a:pt x="376" y="9820"/>
                  </a:cubicBezTo>
                  <a:cubicBezTo>
                    <a:pt x="553" y="9368"/>
                    <a:pt x="729" y="9017"/>
                    <a:pt x="738" y="8998"/>
                  </a:cubicBezTo>
                  <a:cubicBezTo>
                    <a:pt x="745" y="8984"/>
                    <a:pt x="910" y="8651"/>
                    <a:pt x="1072" y="8236"/>
                  </a:cubicBezTo>
                  <a:cubicBezTo>
                    <a:pt x="1276" y="7713"/>
                    <a:pt x="1388" y="7280"/>
                    <a:pt x="1388" y="7017"/>
                  </a:cubicBezTo>
                  <a:cubicBezTo>
                    <a:pt x="1388" y="6753"/>
                    <a:pt x="1274" y="6318"/>
                    <a:pt x="1068" y="5792"/>
                  </a:cubicBezTo>
                  <a:cubicBezTo>
                    <a:pt x="902" y="5371"/>
                    <a:pt x="736" y="5040"/>
                    <a:pt x="735" y="5037"/>
                  </a:cubicBezTo>
                  <a:cubicBezTo>
                    <a:pt x="734" y="5036"/>
                    <a:pt x="734" y="5036"/>
                    <a:pt x="734" y="5036"/>
                  </a:cubicBezTo>
                  <a:cubicBezTo>
                    <a:pt x="727" y="5021"/>
                    <a:pt x="551" y="4668"/>
                    <a:pt x="373" y="4214"/>
                  </a:cubicBezTo>
                  <a:cubicBezTo>
                    <a:pt x="126" y="3579"/>
                    <a:pt x="0" y="3069"/>
                    <a:pt x="0" y="2697"/>
                  </a:cubicBezTo>
                  <a:cubicBezTo>
                    <a:pt x="0" y="2325"/>
                    <a:pt x="126" y="1814"/>
                    <a:pt x="376" y="1180"/>
                  </a:cubicBezTo>
                  <a:cubicBezTo>
                    <a:pt x="554" y="725"/>
                    <a:pt x="731" y="372"/>
                    <a:pt x="739" y="357"/>
                  </a:cubicBezTo>
                  <a:cubicBezTo>
                    <a:pt x="918" y="0"/>
                    <a:pt x="918" y="0"/>
                    <a:pt x="918" y="0"/>
                  </a:cubicBezTo>
                  <a:cubicBezTo>
                    <a:pt x="1633" y="359"/>
                    <a:pt x="1633" y="359"/>
                    <a:pt x="1633" y="359"/>
                  </a:cubicBezTo>
                  <a:cubicBezTo>
                    <a:pt x="1453" y="717"/>
                    <a:pt x="1453" y="717"/>
                    <a:pt x="1453" y="717"/>
                  </a:cubicBezTo>
                  <a:cubicBezTo>
                    <a:pt x="1450" y="724"/>
                    <a:pt x="1282" y="1059"/>
                    <a:pt x="1118" y="1478"/>
                  </a:cubicBezTo>
                  <a:cubicBezTo>
                    <a:pt x="913" y="2001"/>
                    <a:pt x="800" y="2434"/>
                    <a:pt x="800" y="2697"/>
                  </a:cubicBezTo>
                  <a:cubicBezTo>
                    <a:pt x="800" y="2960"/>
                    <a:pt x="912" y="3393"/>
                    <a:pt x="1116" y="3916"/>
                  </a:cubicBezTo>
                  <a:cubicBezTo>
                    <a:pt x="1277" y="4329"/>
                    <a:pt x="1441" y="4660"/>
                    <a:pt x="1449" y="4677"/>
                  </a:cubicBezTo>
                  <a:cubicBezTo>
                    <a:pt x="1458" y="4695"/>
                    <a:pt x="1634" y="5047"/>
                    <a:pt x="1812" y="5500"/>
                  </a:cubicBezTo>
                  <a:cubicBezTo>
                    <a:pt x="2062" y="6134"/>
                    <a:pt x="2188" y="6645"/>
                    <a:pt x="2188" y="7017"/>
                  </a:cubicBezTo>
                  <a:cubicBezTo>
                    <a:pt x="2188" y="7389"/>
                    <a:pt x="2062" y="7899"/>
                    <a:pt x="1815" y="8534"/>
                  </a:cubicBezTo>
                  <a:cubicBezTo>
                    <a:pt x="1637" y="8988"/>
                    <a:pt x="1461" y="9341"/>
                    <a:pt x="1454" y="9356"/>
                  </a:cubicBezTo>
                  <a:cubicBezTo>
                    <a:pt x="1453" y="9357"/>
                    <a:pt x="1453" y="9357"/>
                    <a:pt x="1453" y="9357"/>
                  </a:cubicBezTo>
                  <a:cubicBezTo>
                    <a:pt x="1452" y="9360"/>
                    <a:pt x="1283" y="9697"/>
                    <a:pt x="1118" y="10118"/>
                  </a:cubicBezTo>
                  <a:cubicBezTo>
                    <a:pt x="913" y="10641"/>
                    <a:pt x="800" y="11074"/>
                    <a:pt x="800" y="11337"/>
                  </a:cubicBezTo>
                  <a:cubicBezTo>
                    <a:pt x="800" y="11600"/>
                    <a:pt x="912" y="12033"/>
                    <a:pt x="1116" y="12556"/>
                  </a:cubicBezTo>
                  <a:cubicBezTo>
                    <a:pt x="1281" y="12978"/>
                    <a:pt x="1448" y="13315"/>
                    <a:pt x="1450" y="13318"/>
                  </a:cubicBezTo>
                  <a:cubicBezTo>
                    <a:pt x="1628" y="13676"/>
                    <a:pt x="1628" y="13676"/>
                    <a:pt x="1628" y="13676"/>
                  </a:cubicBezTo>
                  <a:lnTo>
                    <a:pt x="913" y="14034"/>
                  </a:lnTo>
                  <a:close/>
                </a:path>
              </a:pathLst>
            </a:custGeom>
            <a:solidFill>
              <a:schemeClr val="accent3">
                <a:alpha val="88000"/>
              </a:schemeClr>
            </a:solidFill>
            <a:ln>
              <a:noFill/>
            </a:ln>
            <a:effectLst>
              <a:outerShdw blurRad="1003300" dist="38100" dir="10800000" algn="r" rotWithShape="0">
                <a:schemeClr val="accent3">
                  <a:lumMod val="75000"/>
                  <a:alpha val="46000"/>
                </a:scheme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FD1AD7B3-8A3D-7648-9A4D-A71219B53C8B}"/>
                </a:ext>
              </a:extLst>
            </p:cNvPr>
            <p:cNvSpPr>
              <a:spLocks/>
            </p:cNvSpPr>
            <p:nvPr/>
          </p:nvSpPr>
          <p:spPr bwMode="auto">
            <a:xfrm rot="2757414">
              <a:off x="35225807" y="-11571512"/>
              <a:ext cx="6481764" cy="41148000"/>
            </a:xfrm>
            <a:custGeom>
              <a:avLst/>
              <a:gdLst>
                <a:gd name="T0" fmla="*/ 913 w 2188"/>
                <a:gd name="T1" fmla="*/ 14034 h 14034"/>
                <a:gd name="T2" fmla="*/ 734 w 2188"/>
                <a:gd name="T3" fmla="*/ 13676 h 14034"/>
                <a:gd name="T4" fmla="*/ 373 w 2188"/>
                <a:gd name="T5" fmla="*/ 12854 h 14034"/>
                <a:gd name="T6" fmla="*/ 0 w 2188"/>
                <a:gd name="T7" fmla="*/ 11337 h 14034"/>
                <a:gd name="T8" fmla="*/ 376 w 2188"/>
                <a:gd name="T9" fmla="*/ 9820 h 14034"/>
                <a:gd name="T10" fmla="*/ 738 w 2188"/>
                <a:gd name="T11" fmla="*/ 8998 h 14034"/>
                <a:gd name="T12" fmla="*/ 1072 w 2188"/>
                <a:gd name="T13" fmla="*/ 8236 h 14034"/>
                <a:gd name="T14" fmla="*/ 1388 w 2188"/>
                <a:gd name="T15" fmla="*/ 7017 h 14034"/>
                <a:gd name="T16" fmla="*/ 1068 w 2188"/>
                <a:gd name="T17" fmla="*/ 5792 h 14034"/>
                <a:gd name="T18" fmla="*/ 735 w 2188"/>
                <a:gd name="T19" fmla="*/ 5037 h 14034"/>
                <a:gd name="T20" fmla="*/ 734 w 2188"/>
                <a:gd name="T21" fmla="*/ 5036 h 14034"/>
                <a:gd name="T22" fmla="*/ 373 w 2188"/>
                <a:gd name="T23" fmla="*/ 4214 h 14034"/>
                <a:gd name="T24" fmla="*/ 0 w 2188"/>
                <a:gd name="T25" fmla="*/ 2697 h 14034"/>
                <a:gd name="T26" fmla="*/ 376 w 2188"/>
                <a:gd name="T27" fmla="*/ 1180 h 14034"/>
                <a:gd name="T28" fmla="*/ 739 w 2188"/>
                <a:gd name="T29" fmla="*/ 357 h 14034"/>
                <a:gd name="T30" fmla="*/ 918 w 2188"/>
                <a:gd name="T31" fmla="*/ 0 h 14034"/>
                <a:gd name="T32" fmla="*/ 1633 w 2188"/>
                <a:gd name="T33" fmla="*/ 359 h 14034"/>
                <a:gd name="T34" fmla="*/ 1453 w 2188"/>
                <a:gd name="T35" fmla="*/ 717 h 14034"/>
                <a:gd name="T36" fmla="*/ 1118 w 2188"/>
                <a:gd name="T37" fmla="*/ 1478 h 14034"/>
                <a:gd name="T38" fmla="*/ 800 w 2188"/>
                <a:gd name="T39" fmla="*/ 2697 h 14034"/>
                <a:gd name="T40" fmla="*/ 1116 w 2188"/>
                <a:gd name="T41" fmla="*/ 3916 h 14034"/>
                <a:gd name="T42" fmla="*/ 1449 w 2188"/>
                <a:gd name="T43" fmla="*/ 4677 h 14034"/>
                <a:gd name="T44" fmla="*/ 1812 w 2188"/>
                <a:gd name="T45" fmla="*/ 5500 h 14034"/>
                <a:gd name="T46" fmla="*/ 2188 w 2188"/>
                <a:gd name="T47" fmla="*/ 7017 h 14034"/>
                <a:gd name="T48" fmla="*/ 1815 w 2188"/>
                <a:gd name="T49" fmla="*/ 8534 h 14034"/>
                <a:gd name="T50" fmla="*/ 1454 w 2188"/>
                <a:gd name="T51" fmla="*/ 9356 h 14034"/>
                <a:gd name="T52" fmla="*/ 1453 w 2188"/>
                <a:gd name="T53" fmla="*/ 9357 h 14034"/>
                <a:gd name="T54" fmla="*/ 1118 w 2188"/>
                <a:gd name="T55" fmla="*/ 10118 h 14034"/>
                <a:gd name="T56" fmla="*/ 800 w 2188"/>
                <a:gd name="T57" fmla="*/ 11337 h 14034"/>
                <a:gd name="T58" fmla="*/ 1116 w 2188"/>
                <a:gd name="T59" fmla="*/ 12556 h 14034"/>
                <a:gd name="T60" fmla="*/ 1450 w 2188"/>
                <a:gd name="T61" fmla="*/ 13318 h 14034"/>
                <a:gd name="T62" fmla="*/ 1628 w 2188"/>
                <a:gd name="T63" fmla="*/ 13676 h 14034"/>
                <a:gd name="T64" fmla="*/ 913 w 2188"/>
                <a:gd name="T65" fmla="*/ 14034 h 14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188" h="14034">
                  <a:moveTo>
                    <a:pt x="913" y="14034"/>
                  </a:moveTo>
                  <a:cubicBezTo>
                    <a:pt x="734" y="13676"/>
                    <a:pt x="734" y="13676"/>
                    <a:pt x="734" y="13676"/>
                  </a:cubicBezTo>
                  <a:cubicBezTo>
                    <a:pt x="727" y="13661"/>
                    <a:pt x="551" y="13308"/>
                    <a:pt x="373" y="12854"/>
                  </a:cubicBezTo>
                  <a:cubicBezTo>
                    <a:pt x="126" y="12219"/>
                    <a:pt x="0" y="11709"/>
                    <a:pt x="0" y="11337"/>
                  </a:cubicBezTo>
                  <a:cubicBezTo>
                    <a:pt x="0" y="10965"/>
                    <a:pt x="126" y="10454"/>
                    <a:pt x="376" y="9820"/>
                  </a:cubicBezTo>
                  <a:cubicBezTo>
                    <a:pt x="553" y="9368"/>
                    <a:pt x="729" y="9017"/>
                    <a:pt x="738" y="8998"/>
                  </a:cubicBezTo>
                  <a:cubicBezTo>
                    <a:pt x="745" y="8984"/>
                    <a:pt x="910" y="8651"/>
                    <a:pt x="1072" y="8236"/>
                  </a:cubicBezTo>
                  <a:cubicBezTo>
                    <a:pt x="1276" y="7713"/>
                    <a:pt x="1388" y="7280"/>
                    <a:pt x="1388" y="7017"/>
                  </a:cubicBezTo>
                  <a:cubicBezTo>
                    <a:pt x="1388" y="6753"/>
                    <a:pt x="1274" y="6318"/>
                    <a:pt x="1068" y="5792"/>
                  </a:cubicBezTo>
                  <a:cubicBezTo>
                    <a:pt x="902" y="5371"/>
                    <a:pt x="736" y="5040"/>
                    <a:pt x="735" y="5037"/>
                  </a:cubicBezTo>
                  <a:cubicBezTo>
                    <a:pt x="734" y="5036"/>
                    <a:pt x="734" y="5036"/>
                    <a:pt x="734" y="5036"/>
                  </a:cubicBezTo>
                  <a:cubicBezTo>
                    <a:pt x="727" y="5021"/>
                    <a:pt x="551" y="4668"/>
                    <a:pt x="373" y="4214"/>
                  </a:cubicBezTo>
                  <a:cubicBezTo>
                    <a:pt x="126" y="3579"/>
                    <a:pt x="0" y="3069"/>
                    <a:pt x="0" y="2697"/>
                  </a:cubicBezTo>
                  <a:cubicBezTo>
                    <a:pt x="0" y="2325"/>
                    <a:pt x="126" y="1814"/>
                    <a:pt x="376" y="1180"/>
                  </a:cubicBezTo>
                  <a:cubicBezTo>
                    <a:pt x="554" y="725"/>
                    <a:pt x="731" y="372"/>
                    <a:pt x="739" y="357"/>
                  </a:cubicBezTo>
                  <a:cubicBezTo>
                    <a:pt x="918" y="0"/>
                    <a:pt x="918" y="0"/>
                    <a:pt x="918" y="0"/>
                  </a:cubicBezTo>
                  <a:cubicBezTo>
                    <a:pt x="1633" y="359"/>
                    <a:pt x="1633" y="359"/>
                    <a:pt x="1633" y="359"/>
                  </a:cubicBezTo>
                  <a:cubicBezTo>
                    <a:pt x="1453" y="717"/>
                    <a:pt x="1453" y="717"/>
                    <a:pt x="1453" y="717"/>
                  </a:cubicBezTo>
                  <a:cubicBezTo>
                    <a:pt x="1450" y="724"/>
                    <a:pt x="1282" y="1059"/>
                    <a:pt x="1118" y="1478"/>
                  </a:cubicBezTo>
                  <a:cubicBezTo>
                    <a:pt x="913" y="2001"/>
                    <a:pt x="800" y="2434"/>
                    <a:pt x="800" y="2697"/>
                  </a:cubicBezTo>
                  <a:cubicBezTo>
                    <a:pt x="800" y="2960"/>
                    <a:pt x="912" y="3393"/>
                    <a:pt x="1116" y="3916"/>
                  </a:cubicBezTo>
                  <a:cubicBezTo>
                    <a:pt x="1277" y="4329"/>
                    <a:pt x="1441" y="4660"/>
                    <a:pt x="1449" y="4677"/>
                  </a:cubicBezTo>
                  <a:cubicBezTo>
                    <a:pt x="1458" y="4695"/>
                    <a:pt x="1634" y="5047"/>
                    <a:pt x="1812" y="5500"/>
                  </a:cubicBezTo>
                  <a:cubicBezTo>
                    <a:pt x="2062" y="6134"/>
                    <a:pt x="2188" y="6645"/>
                    <a:pt x="2188" y="7017"/>
                  </a:cubicBezTo>
                  <a:cubicBezTo>
                    <a:pt x="2188" y="7389"/>
                    <a:pt x="2062" y="7899"/>
                    <a:pt x="1815" y="8534"/>
                  </a:cubicBezTo>
                  <a:cubicBezTo>
                    <a:pt x="1637" y="8988"/>
                    <a:pt x="1461" y="9341"/>
                    <a:pt x="1454" y="9356"/>
                  </a:cubicBezTo>
                  <a:cubicBezTo>
                    <a:pt x="1453" y="9357"/>
                    <a:pt x="1453" y="9357"/>
                    <a:pt x="1453" y="9357"/>
                  </a:cubicBezTo>
                  <a:cubicBezTo>
                    <a:pt x="1452" y="9360"/>
                    <a:pt x="1283" y="9697"/>
                    <a:pt x="1118" y="10118"/>
                  </a:cubicBezTo>
                  <a:cubicBezTo>
                    <a:pt x="913" y="10641"/>
                    <a:pt x="800" y="11074"/>
                    <a:pt x="800" y="11337"/>
                  </a:cubicBezTo>
                  <a:cubicBezTo>
                    <a:pt x="800" y="11600"/>
                    <a:pt x="912" y="12033"/>
                    <a:pt x="1116" y="12556"/>
                  </a:cubicBezTo>
                  <a:cubicBezTo>
                    <a:pt x="1281" y="12978"/>
                    <a:pt x="1448" y="13315"/>
                    <a:pt x="1450" y="13318"/>
                  </a:cubicBezTo>
                  <a:cubicBezTo>
                    <a:pt x="1628" y="13676"/>
                    <a:pt x="1628" y="13676"/>
                    <a:pt x="1628" y="13676"/>
                  </a:cubicBezTo>
                  <a:lnTo>
                    <a:pt x="913" y="14034"/>
                  </a:lnTo>
                  <a:close/>
                </a:path>
              </a:pathLst>
            </a:custGeom>
            <a:solidFill>
              <a:schemeClr val="accent1">
                <a:alpha val="88000"/>
              </a:schemeClr>
            </a:solidFill>
            <a:ln>
              <a:noFill/>
            </a:ln>
            <a:effectLst>
              <a:outerShdw blurRad="1003300" dist="38100" dir="10800000" algn="r" rotWithShape="0">
                <a:schemeClr val="accent6">
                  <a:lumMod val="75000"/>
                  <a:alpha val="46000"/>
                </a:scheme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ADD4F0B0-9EC1-5474-BC28-021E6073FE82}"/>
                </a:ext>
              </a:extLst>
            </p:cNvPr>
            <p:cNvSpPr>
              <a:spLocks/>
            </p:cNvSpPr>
            <p:nvPr/>
          </p:nvSpPr>
          <p:spPr bwMode="auto">
            <a:xfrm rot="2757414">
              <a:off x="36656110" y="-10092618"/>
              <a:ext cx="6481764" cy="41148000"/>
            </a:xfrm>
            <a:custGeom>
              <a:avLst/>
              <a:gdLst>
                <a:gd name="T0" fmla="*/ 913 w 2188"/>
                <a:gd name="T1" fmla="*/ 14034 h 14034"/>
                <a:gd name="T2" fmla="*/ 734 w 2188"/>
                <a:gd name="T3" fmla="*/ 13676 h 14034"/>
                <a:gd name="T4" fmla="*/ 373 w 2188"/>
                <a:gd name="T5" fmla="*/ 12854 h 14034"/>
                <a:gd name="T6" fmla="*/ 0 w 2188"/>
                <a:gd name="T7" fmla="*/ 11337 h 14034"/>
                <a:gd name="T8" fmla="*/ 376 w 2188"/>
                <a:gd name="T9" fmla="*/ 9820 h 14034"/>
                <a:gd name="T10" fmla="*/ 738 w 2188"/>
                <a:gd name="T11" fmla="*/ 8998 h 14034"/>
                <a:gd name="T12" fmla="*/ 1072 w 2188"/>
                <a:gd name="T13" fmla="*/ 8236 h 14034"/>
                <a:gd name="T14" fmla="*/ 1388 w 2188"/>
                <a:gd name="T15" fmla="*/ 7017 h 14034"/>
                <a:gd name="T16" fmla="*/ 1068 w 2188"/>
                <a:gd name="T17" fmla="*/ 5792 h 14034"/>
                <a:gd name="T18" fmla="*/ 735 w 2188"/>
                <a:gd name="T19" fmla="*/ 5037 h 14034"/>
                <a:gd name="T20" fmla="*/ 734 w 2188"/>
                <a:gd name="T21" fmla="*/ 5036 h 14034"/>
                <a:gd name="T22" fmla="*/ 373 w 2188"/>
                <a:gd name="T23" fmla="*/ 4214 h 14034"/>
                <a:gd name="T24" fmla="*/ 0 w 2188"/>
                <a:gd name="T25" fmla="*/ 2697 h 14034"/>
                <a:gd name="T26" fmla="*/ 376 w 2188"/>
                <a:gd name="T27" fmla="*/ 1180 h 14034"/>
                <a:gd name="T28" fmla="*/ 739 w 2188"/>
                <a:gd name="T29" fmla="*/ 357 h 14034"/>
                <a:gd name="T30" fmla="*/ 918 w 2188"/>
                <a:gd name="T31" fmla="*/ 0 h 14034"/>
                <a:gd name="T32" fmla="*/ 1633 w 2188"/>
                <a:gd name="T33" fmla="*/ 359 h 14034"/>
                <a:gd name="T34" fmla="*/ 1453 w 2188"/>
                <a:gd name="T35" fmla="*/ 717 h 14034"/>
                <a:gd name="T36" fmla="*/ 1118 w 2188"/>
                <a:gd name="T37" fmla="*/ 1478 h 14034"/>
                <a:gd name="T38" fmla="*/ 800 w 2188"/>
                <a:gd name="T39" fmla="*/ 2697 h 14034"/>
                <a:gd name="T40" fmla="*/ 1116 w 2188"/>
                <a:gd name="T41" fmla="*/ 3916 h 14034"/>
                <a:gd name="T42" fmla="*/ 1449 w 2188"/>
                <a:gd name="T43" fmla="*/ 4677 h 14034"/>
                <a:gd name="T44" fmla="*/ 1812 w 2188"/>
                <a:gd name="T45" fmla="*/ 5500 h 14034"/>
                <a:gd name="T46" fmla="*/ 2188 w 2188"/>
                <a:gd name="T47" fmla="*/ 7017 h 14034"/>
                <a:gd name="T48" fmla="*/ 1815 w 2188"/>
                <a:gd name="T49" fmla="*/ 8534 h 14034"/>
                <a:gd name="T50" fmla="*/ 1454 w 2188"/>
                <a:gd name="T51" fmla="*/ 9356 h 14034"/>
                <a:gd name="T52" fmla="*/ 1453 w 2188"/>
                <a:gd name="T53" fmla="*/ 9357 h 14034"/>
                <a:gd name="T54" fmla="*/ 1118 w 2188"/>
                <a:gd name="T55" fmla="*/ 10118 h 14034"/>
                <a:gd name="T56" fmla="*/ 800 w 2188"/>
                <a:gd name="T57" fmla="*/ 11337 h 14034"/>
                <a:gd name="T58" fmla="*/ 1116 w 2188"/>
                <a:gd name="T59" fmla="*/ 12556 h 14034"/>
                <a:gd name="T60" fmla="*/ 1450 w 2188"/>
                <a:gd name="T61" fmla="*/ 13318 h 14034"/>
                <a:gd name="T62" fmla="*/ 1628 w 2188"/>
                <a:gd name="T63" fmla="*/ 13676 h 14034"/>
                <a:gd name="T64" fmla="*/ 913 w 2188"/>
                <a:gd name="T65" fmla="*/ 14034 h 14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188" h="14034">
                  <a:moveTo>
                    <a:pt x="913" y="14034"/>
                  </a:moveTo>
                  <a:cubicBezTo>
                    <a:pt x="734" y="13676"/>
                    <a:pt x="734" y="13676"/>
                    <a:pt x="734" y="13676"/>
                  </a:cubicBezTo>
                  <a:cubicBezTo>
                    <a:pt x="727" y="13661"/>
                    <a:pt x="551" y="13308"/>
                    <a:pt x="373" y="12854"/>
                  </a:cubicBezTo>
                  <a:cubicBezTo>
                    <a:pt x="126" y="12219"/>
                    <a:pt x="0" y="11709"/>
                    <a:pt x="0" y="11337"/>
                  </a:cubicBezTo>
                  <a:cubicBezTo>
                    <a:pt x="0" y="10965"/>
                    <a:pt x="126" y="10454"/>
                    <a:pt x="376" y="9820"/>
                  </a:cubicBezTo>
                  <a:cubicBezTo>
                    <a:pt x="553" y="9368"/>
                    <a:pt x="729" y="9017"/>
                    <a:pt x="738" y="8998"/>
                  </a:cubicBezTo>
                  <a:cubicBezTo>
                    <a:pt x="745" y="8984"/>
                    <a:pt x="910" y="8651"/>
                    <a:pt x="1072" y="8236"/>
                  </a:cubicBezTo>
                  <a:cubicBezTo>
                    <a:pt x="1276" y="7713"/>
                    <a:pt x="1388" y="7280"/>
                    <a:pt x="1388" y="7017"/>
                  </a:cubicBezTo>
                  <a:cubicBezTo>
                    <a:pt x="1388" y="6753"/>
                    <a:pt x="1274" y="6318"/>
                    <a:pt x="1068" y="5792"/>
                  </a:cubicBezTo>
                  <a:cubicBezTo>
                    <a:pt x="902" y="5371"/>
                    <a:pt x="736" y="5040"/>
                    <a:pt x="735" y="5037"/>
                  </a:cubicBezTo>
                  <a:cubicBezTo>
                    <a:pt x="734" y="5036"/>
                    <a:pt x="734" y="5036"/>
                    <a:pt x="734" y="5036"/>
                  </a:cubicBezTo>
                  <a:cubicBezTo>
                    <a:pt x="727" y="5021"/>
                    <a:pt x="551" y="4668"/>
                    <a:pt x="373" y="4214"/>
                  </a:cubicBezTo>
                  <a:cubicBezTo>
                    <a:pt x="126" y="3579"/>
                    <a:pt x="0" y="3069"/>
                    <a:pt x="0" y="2697"/>
                  </a:cubicBezTo>
                  <a:cubicBezTo>
                    <a:pt x="0" y="2325"/>
                    <a:pt x="126" y="1814"/>
                    <a:pt x="376" y="1180"/>
                  </a:cubicBezTo>
                  <a:cubicBezTo>
                    <a:pt x="554" y="725"/>
                    <a:pt x="731" y="372"/>
                    <a:pt x="739" y="357"/>
                  </a:cubicBezTo>
                  <a:cubicBezTo>
                    <a:pt x="918" y="0"/>
                    <a:pt x="918" y="0"/>
                    <a:pt x="918" y="0"/>
                  </a:cubicBezTo>
                  <a:cubicBezTo>
                    <a:pt x="1633" y="359"/>
                    <a:pt x="1633" y="359"/>
                    <a:pt x="1633" y="359"/>
                  </a:cubicBezTo>
                  <a:cubicBezTo>
                    <a:pt x="1453" y="717"/>
                    <a:pt x="1453" y="717"/>
                    <a:pt x="1453" y="717"/>
                  </a:cubicBezTo>
                  <a:cubicBezTo>
                    <a:pt x="1450" y="724"/>
                    <a:pt x="1282" y="1059"/>
                    <a:pt x="1118" y="1478"/>
                  </a:cubicBezTo>
                  <a:cubicBezTo>
                    <a:pt x="913" y="2001"/>
                    <a:pt x="800" y="2434"/>
                    <a:pt x="800" y="2697"/>
                  </a:cubicBezTo>
                  <a:cubicBezTo>
                    <a:pt x="800" y="2960"/>
                    <a:pt x="912" y="3393"/>
                    <a:pt x="1116" y="3916"/>
                  </a:cubicBezTo>
                  <a:cubicBezTo>
                    <a:pt x="1277" y="4329"/>
                    <a:pt x="1441" y="4660"/>
                    <a:pt x="1449" y="4677"/>
                  </a:cubicBezTo>
                  <a:cubicBezTo>
                    <a:pt x="1458" y="4695"/>
                    <a:pt x="1634" y="5047"/>
                    <a:pt x="1812" y="5500"/>
                  </a:cubicBezTo>
                  <a:cubicBezTo>
                    <a:pt x="2062" y="6134"/>
                    <a:pt x="2188" y="6645"/>
                    <a:pt x="2188" y="7017"/>
                  </a:cubicBezTo>
                  <a:cubicBezTo>
                    <a:pt x="2188" y="7389"/>
                    <a:pt x="2062" y="7899"/>
                    <a:pt x="1815" y="8534"/>
                  </a:cubicBezTo>
                  <a:cubicBezTo>
                    <a:pt x="1637" y="8988"/>
                    <a:pt x="1461" y="9341"/>
                    <a:pt x="1454" y="9356"/>
                  </a:cubicBezTo>
                  <a:cubicBezTo>
                    <a:pt x="1453" y="9357"/>
                    <a:pt x="1453" y="9357"/>
                    <a:pt x="1453" y="9357"/>
                  </a:cubicBezTo>
                  <a:cubicBezTo>
                    <a:pt x="1452" y="9360"/>
                    <a:pt x="1283" y="9697"/>
                    <a:pt x="1118" y="10118"/>
                  </a:cubicBezTo>
                  <a:cubicBezTo>
                    <a:pt x="913" y="10641"/>
                    <a:pt x="800" y="11074"/>
                    <a:pt x="800" y="11337"/>
                  </a:cubicBezTo>
                  <a:cubicBezTo>
                    <a:pt x="800" y="11600"/>
                    <a:pt x="912" y="12033"/>
                    <a:pt x="1116" y="12556"/>
                  </a:cubicBezTo>
                  <a:cubicBezTo>
                    <a:pt x="1281" y="12978"/>
                    <a:pt x="1448" y="13315"/>
                    <a:pt x="1450" y="13318"/>
                  </a:cubicBezTo>
                  <a:cubicBezTo>
                    <a:pt x="1628" y="13676"/>
                    <a:pt x="1628" y="13676"/>
                    <a:pt x="1628" y="13676"/>
                  </a:cubicBezTo>
                  <a:lnTo>
                    <a:pt x="913" y="14034"/>
                  </a:lnTo>
                  <a:close/>
                </a:path>
              </a:pathLst>
            </a:custGeom>
            <a:solidFill>
              <a:schemeClr val="accent6">
                <a:alpha val="88000"/>
              </a:schemeClr>
            </a:solidFill>
            <a:ln>
              <a:noFill/>
            </a:ln>
            <a:effectLst>
              <a:outerShdw blurRad="1003300" dist="38100" dir="10800000" algn="r" rotWithShape="0">
                <a:schemeClr val="accent1">
                  <a:lumMod val="75000"/>
                  <a:alpha val="46000"/>
                </a:scheme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: Shape 20">
              <a:extLst>
                <a:ext uri="{FF2B5EF4-FFF2-40B4-BE49-F238E27FC236}">
                  <a16:creationId xmlns:a16="http://schemas.microsoft.com/office/drawing/2014/main" id="{EF946336-E45F-75ED-796A-B623A8C54EE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2166" y="-4762976"/>
              <a:ext cx="23385781" cy="23385780"/>
            </a:xfrm>
            <a:custGeom>
              <a:avLst/>
              <a:gdLst>
                <a:gd name="connsiteX0" fmla="*/ 10629901 w 21259801"/>
                <a:gd name="connsiteY0" fmla="*/ 5272549 h 21259800"/>
                <a:gd name="connsiteX1" fmla="*/ 7442175 w 21259801"/>
                <a:gd name="connsiteY1" fmla="*/ 6592877 h 21259800"/>
                <a:gd name="connsiteX2" fmla="*/ 6594572 w 21259801"/>
                <a:gd name="connsiteY2" fmla="*/ 7440836 h 21259800"/>
                <a:gd name="connsiteX3" fmla="*/ 6594572 w 21259801"/>
                <a:gd name="connsiteY3" fmla="*/ 13818964 h 21259800"/>
                <a:gd name="connsiteX4" fmla="*/ 7442175 w 21259801"/>
                <a:gd name="connsiteY4" fmla="*/ 14666924 h 21259800"/>
                <a:gd name="connsiteX5" fmla="*/ 13817626 w 21259801"/>
                <a:gd name="connsiteY5" fmla="*/ 14666924 h 21259800"/>
                <a:gd name="connsiteX6" fmla="*/ 14665230 w 21259801"/>
                <a:gd name="connsiteY6" fmla="*/ 13818964 h 21259800"/>
                <a:gd name="connsiteX7" fmla="*/ 14665230 w 21259801"/>
                <a:gd name="connsiteY7" fmla="*/ 7440836 h 21259800"/>
                <a:gd name="connsiteX8" fmla="*/ 13817626 w 21259801"/>
                <a:gd name="connsiteY8" fmla="*/ 6592877 h 21259800"/>
                <a:gd name="connsiteX9" fmla="*/ 10629901 w 21259801"/>
                <a:gd name="connsiteY9" fmla="*/ 5272549 h 21259800"/>
                <a:gd name="connsiteX10" fmla="*/ 10629900 w 21259801"/>
                <a:gd name="connsiteY10" fmla="*/ 0 h 21259800"/>
                <a:gd name="connsiteX11" fmla="*/ 21259801 w 21259801"/>
                <a:gd name="connsiteY11" fmla="*/ 10629900 h 21259800"/>
                <a:gd name="connsiteX12" fmla="*/ 10629900 w 21259801"/>
                <a:gd name="connsiteY12" fmla="*/ 21259800 h 21259800"/>
                <a:gd name="connsiteX13" fmla="*/ 0 w 21259801"/>
                <a:gd name="connsiteY13" fmla="*/ 10629900 h 21259800"/>
                <a:gd name="connsiteX14" fmla="*/ 10629900 w 21259801"/>
                <a:gd name="connsiteY14" fmla="*/ 0 h 21259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1259801" h="21259800">
                  <a:moveTo>
                    <a:pt x="10629901" y="5272549"/>
                  </a:moveTo>
                  <a:cubicBezTo>
                    <a:pt x="9475963" y="5272549"/>
                    <a:pt x="8322024" y="5712658"/>
                    <a:pt x="7442175" y="6592877"/>
                  </a:cubicBezTo>
                  <a:cubicBezTo>
                    <a:pt x="7442175" y="6592877"/>
                    <a:pt x="7442175" y="6592877"/>
                    <a:pt x="6594572" y="7440836"/>
                  </a:cubicBezTo>
                  <a:cubicBezTo>
                    <a:pt x="4834874" y="9201274"/>
                    <a:pt x="4834874" y="12058527"/>
                    <a:pt x="6594572" y="13818964"/>
                  </a:cubicBezTo>
                  <a:cubicBezTo>
                    <a:pt x="6594572" y="13818964"/>
                    <a:pt x="6594572" y="13818964"/>
                    <a:pt x="7442175" y="14666924"/>
                  </a:cubicBezTo>
                  <a:cubicBezTo>
                    <a:pt x="9201873" y="16427361"/>
                    <a:pt x="12057928" y="16427361"/>
                    <a:pt x="13817626" y="14666924"/>
                  </a:cubicBezTo>
                  <a:cubicBezTo>
                    <a:pt x="13817626" y="14666924"/>
                    <a:pt x="13817626" y="14666924"/>
                    <a:pt x="14665230" y="13818964"/>
                  </a:cubicBezTo>
                  <a:cubicBezTo>
                    <a:pt x="16424929" y="12058527"/>
                    <a:pt x="16424929" y="9201274"/>
                    <a:pt x="14665230" y="7440836"/>
                  </a:cubicBezTo>
                  <a:cubicBezTo>
                    <a:pt x="14665230" y="7440836"/>
                    <a:pt x="14665230" y="7440836"/>
                    <a:pt x="13817626" y="6592877"/>
                  </a:cubicBezTo>
                  <a:cubicBezTo>
                    <a:pt x="12937777" y="5712658"/>
                    <a:pt x="11783839" y="5272549"/>
                    <a:pt x="10629901" y="5272549"/>
                  </a:cubicBezTo>
                  <a:close/>
                  <a:moveTo>
                    <a:pt x="10629900" y="0"/>
                  </a:moveTo>
                  <a:cubicBezTo>
                    <a:pt x="16500633" y="0"/>
                    <a:pt x="21259801" y="4759168"/>
                    <a:pt x="21259801" y="10629900"/>
                  </a:cubicBezTo>
                  <a:cubicBezTo>
                    <a:pt x="21259801" y="16500632"/>
                    <a:pt x="16500633" y="21259800"/>
                    <a:pt x="10629900" y="21259800"/>
                  </a:cubicBezTo>
                  <a:cubicBezTo>
                    <a:pt x="4759168" y="21259800"/>
                    <a:pt x="0" y="16500632"/>
                    <a:pt x="0" y="10629900"/>
                  </a:cubicBezTo>
                  <a:cubicBezTo>
                    <a:pt x="0" y="4759168"/>
                    <a:pt x="4759168" y="0"/>
                    <a:pt x="106299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E7100FB4-17D6-73C0-B29B-8007D1CC4E4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85777" y="2138624"/>
              <a:ext cx="9578558" cy="9582580"/>
            </a:xfrm>
            <a:custGeom>
              <a:avLst/>
              <a:gdLst>
                <a:gd name="T0" fmla="*/ 2134 w 2516"/>
                <a:gd name="T1" fmla="*/ 1950 h 2516"/>
                <a:gd name="T2" fmla="*/ 1950 w 2516"/>
                <a:gd name="T3" fmla="*/ 2134 h 2516"/>
                <a:gd name="T4" fmla="*/ 566 w 2516"/>
                <a:gd name="T5" fmla="*/ 2134 h 2516"/>
                <a:gd name="T6" fmla="*/ 382 w 2516"/>
                <a:gd name="T7" fmla="*/ 1950 h 2516"/>
                <a:gd name="T8" fmla="*/ 382 w 2516"/>
                <a:gd name="T9" fmla="*/ 566 h 2516"/>
                <a:gd name="T10" fmla="*/ 566 w 2516"/>
                <a:gd name="T11" fmla="*/ 382 h 2516"/>
                <a:gd name="T12" fmla="*/ 1950 w 2516"/>
                <a:gd name="T13" fmla="*/ 382 h 2516"/>
                <a:gd name="T14" fmla="*/ 2134 w 2516"/>
                <a:gd name="T15" fmla="*/ 566 h 2516"/>
                <a:gd name="T16" fmla="*/ 2134 w 2516"/>
                <a:gd name="T17" fmla="*/ 1950 h 2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16" h="2516">
                  <a:moveTo>
                    <a:pt x="2134" y="1950"/>
                  </a:moveTo>
                  <a:cubicBezTo>
                    <a:pt x="1950" y="2134"/>
                    <a:pt x="1950" y="2134"/>
                    <a:pt x="1950" y="2134"/>
                  </a:cubicBezTo>
                  <a:cubicBezTo>
                    <a:pt x="1568" y="2516"/>
                    <a:pt x="948" y="2516"/>
                    <a:pt x="566" y="2134"/>
                  </a:cubicBezTo>
                  <a:cubicBezTo>
                    <a:pt x="382" y="1950"/>
                    <a:pt x="382" y="1950"/>
                    <a:pt x="382" y="1950"/>
                  </a:cubicBezTo>
                  <a:cubicBezTo>
                    <a:pt x="0" y="1568"/>
                    <a:pt x="0" y="948"/>
                    <a:pt x="382" y="566"/>
                  </a:cubicBezTo>
                  <a:cubicBezTo>
                    <a:pt x="566" y="382"/>
                    <a:pt x="566" y="382"/>
                    <a:pt x="566" y="382"/>
                  </a:cubicBezTo>
                  <a:cubicBezTo>
                    <a:pt x="948" y="0"/>
                    <a:pt x="1568" y="0"/>
                    <a:pt x="1950" y="382"/>
                  </a:cubicBezTo>
                  <a:cubicBezTo>
                    <a:pt x="2134" y="566"/>
                    <a:pt x="2134" y="566"/>
                    <a:pt x="2134" y="566"/>
                  </a:cubicBezTo>
                  <a:cubicBezTo>
                    <a:pt x="2516" y="948"/>
                    <a:pt x="2516" y="1568"/>
                    <a:pt x="2134" y="195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lowchart: Process 23">
              <a:extLst>
                <a:ext uri="{FF2B5EF4-FFF2-40B4-BE49-F238E27FC236}">
                  <a16:creationId xmlns:a16="http://schemas.microsoft.com/office/drawing/2014/main" id="{94ABCA7D-F5B4-2354-97F7-D87C42A8B7FE}"/>
                </a:ext>
              </a:extLst>
            </p:cNvPr>
            <p:cNvSpPr/>
            <p:nvPr/>
          </p:nvSpPr>
          <p:spPr>
            <a:xfrm>
              <a:off x="25269341" y="71914"/>
              <a:ext cx="4499302" cy="13716000"/>
            </a:xfrm>
            <a:prstGeom prst="flowChartProcess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D74D7D11-21ED-A2B4-A84B-E8224F2ECBC6}"/>
                </a:ext>
              </a:extLst>
            </p:cNvPr>
            <p:cNvSpPr txBox="1"/>
            <p:nvPr/>
          </p:nvSpPr>
          <p:spPr>
            <a:xfrm>
              <a:off x="14402858" y="4654017"/>
              <a:ext cx="6344396" cy="20353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0" b="1" dirty="0">
                  <a:latin typeface="Futura Md BT" panose="020B0602020204020303" pitchFamily="34" charset="0"/>
                  <a:ea typeface="Open Sans Extrabold" panose="020B0906030804020204" pitchFamily="34" charset="0"/>
                  <a:cs typeface="Open Sans Extrabold" panose="020B0906030804020204" pitchFamily="34" charset="0"/>
                </a:rPr>
                <a:t>1M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C382E90-DB0A-0A94-E930-58CB75615DBB}"/>
                </a:ext>
              </a:extLst>
            </p:cNvPr>
            <p:cNvSpPr/>
            <p:nvPr/>
          </p:nvSpPr>
          <p:spPr>
            <a:xfrm>
              <a:off x="16916958" y="4357025"/>
              <a:ext cx="1316197" cy="18321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9E10A51D-71F1-2C0E-ED01-C270748D749A}"/>
                </a:ext>
              </a:extLst>
            </p:cNvPr>
            <p:cNvSpPr txBox="1"/>
            <p:nvPr/>
          </p:nvSpPr>
          <p:spPr>
            <a:xfrm>
              <a:off x="14737252" y="7617493"/>
              <a:ext cx="5561490" cy="17281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800" dirty="0"/>
                <a:t>We’ve also enjoyed steady</a:t>
              </a:r>
            </a:p>
            <a:p>
              <a:pPr algn="ctr"/>
              <a:r>
                <a:rPr lang="en-US" sz="2800" dirty="0"/>
                <a:t>organic user growth with </a:t>
              </a:r>
              <a:br>
                <a:rPr lang="en-US" sz="2800" dirty="0"/>
              </a:br>
              <a:r>
                <a:rPr lang="en-US" sz="2800" b="1" dirty="0">
                  <a:latin typeface="Futura Md BT" panose="020B0602020204020303" pitchFamily="34" charset="0"/>
                </a:rPr>
                <a:t>ZERO marketing spend.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5700DEF6-FC3F-DB4C-BAA4-7856A3EC1A70}"/>
                </a:ext>
              </a:extLst>
            </p:cNvPr>
            <p:cNvSpPr txBox="1"/>
            <p:nvPr/>
          </p:nvSpPr>
          <p:spPr>
            <a:xfrm>
              <a:off x="13466965" y="6783727"/>
              <a:ext cx="8538988" cy="6912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000" dirty="0">
                  <a:latin typeface="FUTURA MEDIUM BT" panose="020B0602020204020303" pitchFamily="34" charset="0"/>
                  <a:ea typeface="Open Sans Extrabold" panose="020B0906030804020204" pitchFamily="34" charset="0"/>
                  <a:cs typeface="Open Sans Extrabold" panose="020B0906030804020204" pitchFamily="34" charset="0"/>
                </a:rPr>
                <a:t>Breadcrumbs collected since launch</a:t>
              </a:r>
            </a:p>
          </p:txBody>
        </p:sp>
      </p:grpSp>
      <p:sp>
        <p:nvSpPr>
          <p:cNvPr id="6" name="!!CN">
            <a:extLst>
              <a:ext uri="{FF2B5EF4-FFF2-40B4-BE49-F238E27FC236}">
                <a16:creationId xmlns:a16="http://schemas.microsoft.com/office/drawing/2014/main" id="{F4E8D38C-D4BB-43AB-D4EC-2B33AEEDA2EA}"/>
              </a:ext>
            </a:extLst>
          </p:cNvPr>
          <p:cNvSpPr/>
          <p:nvPr/>
        </p:nvSpPr>
        <p:spPr>
          <a:xfrm>
            <a:off x="1855737" y="3753120"/>
            <a:ext cx="10736001" cy="12260810"/>
          </a:xfrm>
          <a:prstGeom prst="roundRect">
            <a:avLst>
              <a:gd name="adj" fmla="val 1094"/>
            </a:avLst>
          </a:prstGeom>
          <a:gradFill>
            <a:gsLst>
              <a:gs pos="92000">
                <a:schemeClr val="bg2">
                  <a:alpha val="0"/>
                </a:schemeClr>
              </a:gs>
              <a:gs pos="3000">
                <a:schemeClr val="bg2">
                  <a:alpha val="17207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7B74F66-D370-F588-29EC-29F3F2E8A2A1}"/>
              </a:ext>
            </a:extLst>
          </p:cNvPr>
          <p:cNvSpPr txBox="1"/>
          <p:nvPr/>
        </p:nvSpPr>
        <p:spPr>
          <a:xfrm>
            <a:off x="1855737" y="2306570"/>
            <a:ext cx="16568928" cy="1446550"/>
          </a:xfrm>
          <a:prstGeom prst="rect">
            <a:avLst/>
          </a:prstGeom>
          <a:noFill/>
          <a:effectLst/>
        </p:spPr>
        <p:txBody>
          <a:bodyPr wrap="square" anchor="ctr">
            <a:spAutoFit/>
          </a:bodyPr>
          <a:lstStyle/>
          <a:p>
            <a:pPr lvl="0">
              <a:defRPr/>
            </a:pPr>
            <a:r>
              <a:rPr lang="en-US" sz="8800" b="1" dirty="0">
                <a:solidFill>
                  <a:schemeClr val="bg2"/>
                </a:solidFill>
                <a:latin typeface="Futura Md BT" panose="020B0602020204020303" pitchFamily="34" charset="0"/>
              </a:rPr>
              <a:t>User/Data Growth 2024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05213F6A-910B-6003-149E-5889344BA80D}"/>
              </a:ext>
            </a:extLst>
          </p:cNvPr>
          <p:cNvGraphicFramePr/>
          <p:nvPr/>
        </p:nvGraphicFramePr>
        <p:xfrm>
          <a:off x="1605876" y="4360936"/>
          <a:ext cx="11235721" cy="77573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1704950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5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5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5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5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5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5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1" dur="500"/>
                                        <p:tgtEl>
                                          <p:spTgt spid="5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5" dur="500"/>
                                        <p:tgtEl>
                                          <p:spTgt spid="5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 uiExpand="1">
        <p:bldSub>
          <a:bldChart bld="category"/>
        </p:bldSub>
      </p:bldGraphic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DA2154CD-4AF5-0EEC-7417-27885D906516}"/>
              </a:ext>
            </a:extLst>
          </p:cNvPr>
          <p:cNvGrpSpPr/>
          <p:nvPr/>
        </p:nvGrpSpPr>
        <p:grpSpPr>
          <a:xfrm>
            <a:off x="1799528" y="3667716"/>
            <a:ext cx="13533636" cy="6972525"/>
            <a:chOff x="2000696" y="2222212"/>
            <a:chExt cx="21230128" cy="10937756"/>
          </a:xfrm>
        </p:grpSpPr>
        <p:graphicFrame>
          <p:nvGraphicFramePr>
            <p:cNvPr id="2" name="Chart 1">
              <a:extLst>
                <a:ext uri="{FF2B5EF4-FFF2-40B4-BE49-F238E27FC236}">
                  <a16:creationId xmlns:a16="http://schemas.microsoft.com/office/drawing/2014/main" id="{EC9EFCE9-66D8-6FEA-B185-4ED034327034}"/>
                </a:ext>
              </a:extLst>
            </p:cNvPr>
            <p:cNvGraphicFramePr/>
            <p:nvPr/>
          </p:nvGraphicFramePr>
          <p:xfrm>
            <a:off x="2000696" y="3687654"/>
            <a:ext cx="11846814" cy="789787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aphicFrame>
          <p:nvGraphicFramePr>
            <p:cNvPr id="3" name="Chart 2">
              <a:extLst>
                <a:ext uri="{FF2B5EF4-FFF2-40B4-BE49-F238E27FC236}">
                  <a16:creationId xmlns:a16="http://schemas.microsoft.com/office/drawing/2014/main" id="{A79D6BE2-E139-2E31-7BB2-DC8CB6E5B3D2}"/>
                </a:ext>
              </a:extLst>
            </p:cNvPr>
            <p:cNvGraphicFramePr/>
            <p:nvPr/>
          </p:nvGraphicFramePr>
          <p:xfrm>
            <a:off x="11256990" y="3687654"/>
            <a:ext cx="11846814" cy="789787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3C8D47BC-3716-D550-69D3-F2F202605A42}"/>
                </a:ext>
              </a:extLst>
            </p:cNvPr>
            <p:cNvSpPr/>
            <p:nvPr/>
          </p:nvSpPr>
          <p:spPr>
            <a:xfrm>
              <a:off x="5556603" y="5269092"/>
              <a:ext cx="4735000" cy="4735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28416" dist="38100" dir="5400000" sx="105814" sy="105814" algn="t" rotWithShape="0">
                <a:prstClr val="black">
                  <a:alpha val="67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D6E3D1DE-3959-77DA-317C-2E851C31B386}"/>
                </a:ext>
              </a:extLst>
            </p:cNvPr>
            <p:cNvSpPr/>
            <p:nvPr/>
          </p:nvSpPr>
          <p:spPr>
            <a:xfrm>
              <a:off x="14812897" y="5269092"/>
              <a:ext cx="4735000" cy="4735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28416" dist="38100" dir="5400000" sx="105814" sy="105814" algn="t" rotWithShape="0">
                <a:prstClr val="black">
                  <a:alpha val="67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34BBBFD1-9647-E478-94CE-4A9B456E1D80}"/>
                </a:ext>
              </a:extLst>
            </p:cNvPr>
            <p:cNvSpPr txBox="1"/>
            <p:nvPr/>
          </p:nvSpPr>
          <p:spPr>
            <a:xfrm>
              <a:off x="2456889" y="7064806"/>
              <a:ext cx="10934427" cy="7242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b="1" dirty="0">
                  <a:latin typeface="Futura Md BT" panose="020B0602020204020303" pitchFamily="34" charset="0"/>
                  <a:ea typeface="Open Sans Extrabold" panose="020B0906030804020204" pitchFamily="34" charset="0"/>
                  <a:cs typeface="Open Sans Extrabold" panose="020B0906030804020204" pitchFamily="34" charset="0"/>
                </a:rPr>
                <a:t>Active Users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2EF5C606-791E-FD52-9296-BA0F99B50E85}"/>
                </a:ext>
              </a:extLst>
            </p:cNvPr>
            <p:cNvSpPr txBox="1"/>
            <p:nvPr/>
          </p:nvSpPr>
          <p:spPr>
            <a:xfrm>
              <a:off x="3640851" y="7834248"/>
              <a:ext cx="853898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>
                  <a:latin typeface="FUTURA MEDIUM BT" panose="020B0602020204020303" pitchFamily="34" charset="0"/>
                  <a:ea typeface="Open Sans Extrabold" panose="020B0906030804020204" pitchFamily="34" charset="0"/>
                  <a:cs typeface="Open Sans Extrabold" panose="020B0906030804020204" pitchFamily="34" charset="0"/>
                </a:rPr>
                <a:t>by 2028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7FE1533D-6528-FF76-F560-8D1704E464F1}"/>
                </a:ext>
              </a:extLst>
            </p:cNvPr>
            <p:cNvSpPr txBox="1"/>
            <p:nvPr/>
          </p:nvSpPr>
          <p:spPr>
            <a:xfrm>
              <a:off x="11715470" y="7064807"/>
              <a:ext cx="10934427" cy="7242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b="1" dirty="0">
                  <a:latin typeface="Futura Md BT" panose="020B0602020204020303" pitchFamily="34" charset="0"/>
                  <a:ea typeface="Open Sans Extrabold" panose="020B0906030804020204" pitchFamily="34" charset="0"/>
                  <a:cs typeface="Open Sans Extrabold" panose="020B0906030804020204" pitchFamily="34" charset="0"/>
                </a:rPr>
                <a:t>Market Share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5BF059D4-C843-2D14-043F-5B0251E9BC50}"/>
                </a:ext>
              </a:extLst>
            </p:cNvPr>
            <p:cNvSpPr txBox="1"/>
            <p:nvPr/>
          </p:nvSpPr>
          <p:spPr>
            <a:xfrm>
              <a:off x="12881104" y="7834248"/>
              <a:ext cx="853898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>
                  <a:latin typeface="FUTURA MEDIUM BT" panose="020B0602020204020303" pitchFamily="34" charset="0"/>
                  <a:ea typeface="Open Sans Extrabold" panose="020B0906030804020204" pitchFamily="34" charset="0"/>
                  <a:cs typeface="Open Sans Extrabold" panose="020B0906030804020204" pitchFamily="34" charset="0"/>
                </a:rPr>
                <a:t>by 2028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D4D70467-2072-A85A-1824-1D61ED50BB61}"/>
                </a:ext>
              </a:extLst>
            </p:cNvPr>
            <p:cNvSpPr txBox="1"/>
            <p:nvPr/>
          </p:nvSpPr>
          <p:spPr>
            <a:xfrm>
              <a:off x="4465473" y="2949644"/>
              <a:ext cx="4643981" cy="7242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>
                  <a:latin typeface="FUTURA MEDIUM BT" panose="020B0602020204020303" pitchFamily="34" charset="0"/>
                  <a:ea typeface="Open Sans Extrabold" panose="020B0906030804020204" pitchFamily="34" charset="0"/>
                  <a:cs typeface="Open Sans Extrabold" panose="020B0906030804020204" pitchFamily="34" charset="0"/>
                </a:rPr>
                <a:t>2,000,000 Users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A93FCB0F-2FA5-9B29-64D1-9EB3C07743F5}"/>
                </a:ext>
              </a:extLst>
            </p:cNvPr>
            <p:cNvSpPr txBox="1"/>
            <p:nvPr/>
          </p:nvSpPr>
          <p:spPr>
            <a:xfrm>
              <a:off x="14325600" y="3349683"/>
              <a:ext cx="292354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>
                  <a:latin typeface="FUTURA MEDIUM BT" panose="020B0602020204020303" pitchFamily="34" charset="0"/>
                  <a:ea typeface="Open Sans Extrabold" panose="020B0906030804020204" pitchFamily="34" charset="0"/>
                  <a:cs typeface="Open Sans Extrabold" panose="020B0906030804020204" pitchFamily="34" charset="0"/>
                </a:rPr>
                <a:t>$25B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FC222A8-75AF-14C2-6CA9-5A6161367E83}"/>
                </a:ext>
              </a:extLst>
            </p:cNvPr>
            <p:cNvSpPr txBox="1"/>
            <p:nvPr/>
          </p:nvSpPr>
          <p:spPr>
            <a:xfrm>
              <a:off x="4765347" y="2222212"/>
              <a:ext cx="5206513" cy="9173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b="1" dirty="0">
                  <a:solidFill>
                    <a:schemeClr val="bg2"/>
                  </a:solidFill>
                  <a:latin typeface="Futura Md BT" panose="020B0602020204020303" pitchFamily="34" charset="0"/>
                  <a:ea typeface="Open Sans Extrabold" panose="020B0906030804020204" pitchFamily="34" charset="0"/>
                  <a:cs typeface="Open Sans Extrabold" panose="020B0906030804020204" pitchFamily="34" charset="0"/>
                </a:rPr>
                <a:t>Breadcrumbs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78100CEB-940D-65D0-86B4-E0FD07121CD3}"/>
                </a:ext>
              </a:extLst>
            </p:cNvPr>
            <p:cNvSpPr txBox="1"/>
            <p:nvPr/>
          </p:nvSpPr>
          <p:spPr>
            <a:xfrm>
              <a:off x="15068196" y="2641507"/>
              <a:ext cx="5435944" cy="9173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b="1" dirty="0">
                  <a:solidFill>
                    <a:schemeClr val="bg2"/>
                  </a:solidFill>
                  <a:latin typeface="Futura Md BT" panose="020B0602020204020303" pitchFamily="34" charset="0"/>
                  <a:ea typeface="Open Sans Extrabold" panose="020B0906030804020204" pitchFamily="34" charset="0"/>
                  <a:cs typeface="Open Sans Extrabold" panose="020B0906030804020204" pitchFamily="34" charset="0"/>
                </a:rPr>
                <a:t>Breadcrumbs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B21FAA7-5347-DFEE-0AF2-3904B38435E1}"/>
                </a:ext>
              </a:extLst>
            </p:cNvPr>
            <p:cNvSpPr txBox="1"/>
            <p:nvPr/>
          </p:nvSpPr>
          <p:spPr>
            <a:xfrm>
              <a:off x="5245768" y="12435757"/>
              <a:ext cx="4640582" cy="7242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>
                  <a:latin typeface="FUTURA MEDIUM BT" panose="020B0602020204020303" pitchFamily="34" charset="0"/>
                  <a:ea typeface="Open Sans Extrabold" panose="020B0906030804020204" pitchFamily="34" charset="0"/>
                  <a:cs typeface="Open Sans Extrabold" panose="020B0906030804020204" pitchFamily="34" charset="0"/>
                </a:rPr>
                <a:t>18,000,000 Users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068E5E3-20BC-2680-030E-C8967DAC8988}"/>
                </a:ext>
              </a:extLst>
            </p:cNvPr>
            <p:cNvSpPr txBox="1"/>
            <p:nvPr/>
          </p:nvSpPr>
          <p:spPr>
            <a:xfrm>
              <a:off x="5245767" y="11623706"/>
              <a:ext cx="436189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b="1" dirty="0" err="1">
                  <a:latin typeface="Futura Md BT" panose="020B0602020204020303" pitchFamily="34" charset="0"/>
                  <a:ea typeface="Open Sans Extrabold" panose="020B0906030804020204" pitchFamily="34" charset="0"/>
                  <a:cs typeface="Open Sans Extrabold" panose="020B0906030804020204" pitchFamily="34" charset="0"/>
                </a:rPr>
                <a:t>NordVPN</a:t>
              </a:r>
              <a:endParaRPr lang="en-US" sz="3200" b="1" dirty="0">
                <a:latin typeface="Futura Md BT" panose="020B0602020204020303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A395B57B-27FC-E9C1-7CEF-2BA618598201}"/>
                </a:ext>
              </a:extLst>
            </p:cNvPr>
            <p:cNvSpPr txBox="1"/>
            <p:nvPr/>
          </p:nvSpPr>
          <p:spPr>
            <a:xfrm>
              <a:off x="14430494" y="12435755"/>
              <a:ext cx="292354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>
                  <a:latin typeface="FUTURA MEDIUM BT" panose="020B0602020204020303" pitchFamily="34" charset="0"/>
                  <a:ea typeface="Open Sans Extrabold" panose="020B0906030804020204" pitchFamily="34" charset="0"/>
                  <a:cs typeface="Open Sans Extrabold" panose="020B0906030804020204" pitchFamily="34" charset="0"/>
                </a:rPr>
                <a:t>$475B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E50CA1E6-BDA7-10E5-4365-49D65AACF35C}"/>
                </a:ext>
              </a:extLst>
            </p:cNvPr>
            <p:cNvSpPr txBox="1"/>
            <p:nvPr/>
          </p:nvSpPr>
          <p:spPr>
            <a:xfrm>
              <a:off x="14430494" y="11687874"/>
              <a:ext cx="8800330" cy="9173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b="1" dirty="0">
                  <a:latin typeface="Futura Md BT" panose="020B0602020204020303" pitchFamily="34" charset="0"/>
                  <a:ea typeface="Open Sans Extrabold" panose="020B0906030804020204" pitchFamily="34" charset="0"/>
                  <a:cs typeface="Open Sans Extrabold" panose="020B0906030804020204" pitchFamily="34" charset="0"/>
                </a:rPr>
                <a:t>Traditional Brokers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BF6A5BE3-8AD3-2AA8-0DB2-AECD2E57EF18}"/>
                </a:ext>
              </a:extLst>
            </p:cNvPr>
            <p:cNvSpPr/>
            <p:nvPr/>
          </p:nvSpPr>
          <p:spPr>
            <a:xfrm rot="5400000">
              <a:off x="9572831" y="7216521"/>
              <a:ext cx="5890602" cy="7786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50C2FBFB-3C8B-259C-4AC2-FE2B296A0278}"/>
              </a:ext>
            </a:extLst>
          </p:cNvPr>
          <p:cNvSpPr txBox="1"/>
          <p:nvPr/>
        </p:nvSpPr>
        <p:spPr>
          <a:xfrm>
            <a:off x="3640851" y="883219"/>
            <a:ext cx="17957941" cy="1015663"/>
          </a:xfrm>
          <a:prstGeom prst="rect">
            <a:avLst/>
          </a:prstGeom>
          <a:noFill/>
          <a:effectLst/>
        </p:spPr>
        <p:txBody>
          <a:bodyPr wrap="square" anchor="ctr">
            <a:spAutoFit/>
          </a:bodyPr>
          <a:lstStyle/>
          <a:p>
            <a:pPr lvl="0" algn="ctr">
              <a:defRPr/>
            </a:pPr>
            <a:r>
              <a:rPr lang="en-US" sz="6000" b="1" dirty="0">
                <a:latin typeface="Futura Md BT" panose="020B0602020204020303" pitchFamily="34" charset="0"/>
              </a:rPr>
              <a:t>2028 Projections based on 3</a:t>
            </a:r>
            <a:r>
              <a:rPr lang="en-US" sz="6000" b="1" baseline="30000" dirty="0">
                <a:latin typeface="Futura Md BT" panose="020B0602020204020303" pitchFamily="34" charset="0"/>
              </a:rPr>
              <a:t>rd</a:t>
            </a:r>
            <a:r>
              <a:rPr lang="en-US" sz="6000" b="1" dirty="0">
                <a:latin typeface="Futura Md BT" panose="020B0602020204020303" pitchFamily="34" charset="0"/>
              </a:rPr>
              <a:t> party analysis</a:t>
            </a:r>
          </a:p>
        </p:txBody>
      </p:sp>
      <p:sp>
        <p:nvSpPr>
          <p:cNvPr id="22" name="!!CN">
            <a:extLst>
              <a:ext uri="{FF2B5EF4-FFF2-40B4-BE49-F238E27FC236}">
                <a16:creationId xmlns:a16="http://schemas.microsoft.com/office/drawing/2014/main" id="{02BC0D19-5C9E-B635-EB10-0226A7E81672}"/>
              </a:ext>
            </a:extLst>
          </p:cNvPr>
          <p:cNvSpPr/>
          <p:nvPr/>
        </p:nvSpPr>
        <p:spPr>
          <a:xfrm>
            <a:off x="14483641" y="4121394"/>
            <a:ext cx="8268784" cy="12260810"/>
          </a:xfrm>
          <a:prstGeom prst="roundRect">
            <a:avLst>
              <a:gd name="adj" fmla="val 1094"/>
            </a:avLst>
          </a:prstGeom>
          <a:gradFill>
            <a:gsLst>
              <a:gs pos="92000">
                <a:schemeClr val="bg2">
                  <a:alpha val="0"/>
                </a:schemeClr>
              </a:gs>
              <a:gs pos="3000">
                <a:schemeClr val="bg2">
                  <a:alpha val="17207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/>
          </a:p>
        </p:txBody>
      </p:sp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BE0998B1-8749-F263-AFA1-66C4918F2D7B}"/>
              </a:ext>
            </a:extLst>
          </p:cNvPr>
          <p:cNvGraphicFramePr/>
          <p:nvPr/>
        </p:nvGraphicFramePr>
        <p:xfrm>
          <a:off x="14723515" y="4364681"/>
          <a:ext cx="8844754" cy="77573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95BDA4EE-7820-13C9-F567-A39811319A93}"/>
              </a:ext>
            </a:extLst>
          </p:cNvPr>
          <p:cNvSpPr txBox="1"/>
          <p:nvPr/>
        </p:nvSpPr>
        <p:spPr>
          <a:xfrm>
            <a:off x="14457284" y="3459710"/>
            <a:ext cx="6784847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500" b="1" dirty="0">
                <a:effectLst/>
                <a:latin typeface="Helvetica" pitchFamily="2" charset="0"/>
              </a:rPr>
              <a:t>2M users =&gt; 100B+ Breadcrumbs by 2028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AF6D4A2-2902-66FB-FD7F-0C5DD3E5D0E0}"/>
              </a:ext>
            </a:extLst>
          </p:cNvPr>
          <p:cNvSpPr txBox="1"/>
          <p:nvPr/>
        </p:nvSpPr>
        <p:spPr>
          <a:xfrm>
            <a:off x="3110558" y="11003934"/>
            <a:ext cx="4248135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500" i="1" dirty="0">
                <a:effectLst/>
                <a:latin typeface="Helvetica" pitchFamily="2" charset="0"/>
              </a:rPr>
              <a:t>Capturing just 10% of </a:t>
            </a:r>
            <a:r>
              <a:rPr lang="en-GB" sz="2500" i="1" dirty="0" err="1">
                <a:effectLst/>
                <a:latin typeface="Helvetica" pitchFamily="2" charset="0"/>
              </a:rPr>
              <a:t>NordVPN’s</a:t>
            </a:r>
            <a:r>
              <a:rPr lang="en-GB" sz="2500" i="1" dirty="0">
                <a:effectLst/>
                <a:latin typeface="Helvetica" pitchFamily="2" charset="0"/>
              </a:rPr>
              <a:t> projected market share with our free service means 2M users.</a:t>
            </a:r>
            <a:endParaRPr lang="en-GB" sz="2500" dirty="0">
              <a:effectLst/>
              <a:latin typeface="Helvetica" pitchFamily="2" charset="0"/>
            </a:endParaRPr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3FFF6761-12FE-855F-7D41-3672E5A954E3}"/>
              </a:ext>
            </a:extLst>
          </p:cNvPr>
          <p:cNvSpPr/>
          <p:nvPr/>
        </p:nvSpPr>
        <p:spPr>
          <a:xfrm>
            <a:off x="2603731" y="10842135"/>
            <a:ext cx="5204012" cy="1842247"/>
          </a:xfrm>
          <a:prstGeom prst="roundRect">
            <a:avLst>
              <a:gd name="adj" fmla="val 7178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1340FAF-3BFE-1BEF-B8F4-EC30D640AF10}"/>
              </a:ext>
            </a:extLst>
          </p:cNvPr>
          <p:cNvSpPr txBox="1"/>
          <p:nvPr/>
        </p:nvSpPr>
        <p:spPr>
          <a:xfrm>
            <a:off x="9181233" y="10911601"/>
            <a:ext cx="5045558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i="1" dirty="0">
                <a:effectLst/>
                <a:latin typeface="Helvetica" pitchFamily="2" charset="0"/>
              </a:rPr>
              <a:t>Capturing 5% of data brokerage market with our novel offering yields $25B for 2028.</a:t>
            </a:r>
            <a:endParaRPr lang="en-GB" sz="2800" dirty="0">
              <a:effectLst/>
              <a:latin typeface="Helvetica" pitchFamily="2" charset="0"/>
            </a:endParaRP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C7ED46C8-5C50-4B4C-39D3-F61EA87ABC63}"/>
              </a:ext>
            </a:extLst>
          </p:cNvPr>
          <p:cNvSpPr/>
          <p:nvPr/>
        </p:nvSpPr>
        <p:spPr>
          <a:xfrm>
            <a:off x="8950741" y="10842135"/>
            <a:ext cx="5506543" cy="1842247"/>
          </a:xfrm>
          <a:prstGeom prst="roundRect">
            <a:avLst>
              <a:gd name="adj" fmla="val 7178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657334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"/>
                                        <p:tgtEl>
                                          <p:spTgt spid="23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600"/>
                            </p:stCondLst>
                            <p:childTnLst>
                              <p:par>
                                <p:cTn id="13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100"/>
                                        <p:tgtEl>
                                          <p:spTgt spid="23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700"/>
                            </p:stCondLst>
                            <p:childTnLst>
                              <p:par>
                                <p:cTn id="17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" dur="100"/>
                                        <p:tgtEl>
                                          <p:spTgt spid="23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800"/>
                            </p:stCondLst>
                            <p:childTnLst>
                              <p:par>
                                <p:cTn id="21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3" dur="100"/>
                                        <p:tgtEl>
                                          <p:spTgt spid="23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900"/>
                            </p:stCondLst>
                            <p:childTnLst>
                              <p:par>
                                <p:cTn id="25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7" dur="100"/>
                                        <p:tgtEl>
                                          <p:spTgt spid="23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000"/>
                            </p:stCondLst>
                            <p:childTnLst>
                              <p:par>
                                <p:cTn id="29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1" dur="100"/>
                                        <p:tgtEl>
                                          <p:spTgt spid="23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100"/>
                            </p:stCondLst>
                            <p:childTnLst>
                              <p:par>
                                <p:cTn id="33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5" dur="100"/>
                                        <p:tgtEl>
                                          <p:spTgt spid="23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200"/>
                            </p:stCondLst>
                            <p:childTnLst>
                              <p:par>
                                <p:cTn id="37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9" dur="100"/>
                                        <p:tgtEl>
                                          <p:spTgt spid="23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300"/>
                            </p:stCondLst>
                            <p:childTnLst>
                              <p:par>
                                <p:cTn id="41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3" dur="100"/>
                                        <p:tgtEl>
                                          <p:spTgt spid="23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400"/>
                            </p:stCondLst>
                            <p:childTnLst>
                              <p:par>
                                <p:cTn id="45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graphicEl>
                                              <a:chart seriesIdx="-4" categoryIdx="9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7" dur="100"/>
                                        <p:tgtEl>
                                          <p:spTgt spid="23">
                                            <p:graphicEl>
                                              <a:chart seriesIdx="-4" categoryIdx="9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500"/>
                            </p:stCondLst>
                            <p:childTnLst>
                              <p:par>
                                <p:cTn id="49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graphicEl>
                                              <a:chart seriesIdx="-4" categoryIdx="1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1" dur="100"/>
                                        <p:tgtEl>
                                          <p:spTgt spid="23">
                                            <p:graphicEl>
                                              <a:chart seriesIdx="-4" categoryIdx="1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600"/>
                            </p:stCondLst>
                            <p:childTnLst>
                              <p:par>
                                <p:cTn id="53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graphicEl>
                                              <a:chart seriesIdx="-4" categoryIdx="1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5" dur="100"/>
                                        <p:tgtEl>
                                          <p:spTgt spid="23">
                                            <p:graphicEl>
                                              <a:chart seriesIdx="-4" categoryIdx="1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1700"/>
                            </p:stCondLst>
                            <p:childTnLst>
                              <p:par>
                                <p:cTn id="57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graphicEl>
                                              <a:chart seriesIdx="-4" categoryIdx="1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9" dur="100"/>
                                        <p:tgtEl>
                                          <p:spTgt spid="23">
                                            <p:graphicEl>
                                              <a:chart seriesIdx="-4" categoryIdx="1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1800"/>
                            </p:stCondLst>
                            <p:childTnLst>
                              <p:par>
                                <p:cTn id="61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graphicEl>
                                              <a:chart seriesIdx="-4" categoryIdx="1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3" dur="100"/>
                                        <p:tgtEl>
                                          <p:spTgt spid="23">
                                            <p:graphicEl>
                                              <a:chart seriesIdx="-4" categoryIdx="1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3" grpId="0" uiExpand="1">
        <p:bldSub>
          <a:bldChart bld="category"/>
        </p:bldSub>
      </p:bldGraphic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659E6466-2109-AFF8-51FA-584FC12A787F}"/>
              </a:ext>
            </a:extLst>
          </p:cNvPr>
          <p:cNvGrpSpPr/>
          <p:nvPr/>
        </p:nvGrpSpPr>
        <p:grpSpPr>
          <a:xfrm>
            <a:off x="682885" y="3232439"/>
            <a:ext cx="14095432" cy="6848265"/>
            <a:chOff x="2000696" y="2643167"/>
            <a:chExt cx="21103108" cy="10252944"/>
          </a:xfrm>
        </p:grpSpPr>
        <p:graphicFrame>
          <p:nvGraphicFramePr>
            <p:cNvPr id="2" name="Chart 1">
              <a:extLst>
                <a:ext uri="{FF2B5EF4-FFF2-40B4-BE49-F238E27FC236}">
                  <a16:creationId xmlns:a16="http://schemas.microsoft.com/office/drawing/2014/main" id="{EC9EFCE9-66D8-6FEA-B185-4ED034327034}"/>
                </a:ext>
              </a:extLst>
            </p:cNvPr>
            <p:cNvGraphicFramePr/>
            <p:nvPr/>
          </p:nvGraphicFramePr>
          <p:xfrm>
            <a:off x="2000696" y="3687654"/>
            <a:ext cx="11846814" cy="789787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graphicFrame>
          <p:nvGraphicFramePr>
            <p:cNvPr id="3" name="Chart 2">
              <a:extLst>
                <a:ext uri="{FF2B5EF4-FFF2-40B4-BE49-F238E27FC236}">
                  <a16:creationId xmlns:a16="http://schemas.microsoft.com/office/drawing/2014/main" id="{A79D6BE2-E139-2E31-7BB2-DC8CB6E5B3D2}"/>
                </a:ext>
              </a:extLst>
            </p:cNvPr>
            <p:cNvGraphicFramePr/>
            <p:nvPr/>
          </p:nvGraphicFramePr>
          <p:xfrm>
            <a:off x="11256990" y="3687654"/>
            <a:ext cx="11846814" cy="789787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3C8D47BC-3716-D550-69D3-F2F202605A42}"/>
                </a:ext>
              </a:extLst>
            </p:cNvPr>
            <p:cNvSpPr/>
            <p:nvPr/>
          </p:nvSpPr>
          <p:spPr>
            <a:xfrm>
              <a:off x="5556603" y="5269092"/>
              <a:ext cx="4735000" cy="4735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28416" dist="38100" dir="5400000" sx="105814" sy="105814" algn="t" rotWithShape="0">
                <a:prstClr val="black">
                  <a:alpha val="67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D6E3D1DE-3959-77DA-317C-2E851C31B386}"/>
                </a:ext>
              </a:extLst>
            </p:cNvPr>
            <p:cNvSpPr/>
            <p:nvPr/>
          </p:nvSpPr>
          <p:spPr>
            <a:xfrm>
              <a:off x="14812897" y="5269092"/>
              <a:ext cx="4735000" cy="4735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28416" dist="38100" dir="5400000" sx="105814" sy="105814" algn="t" rotWithShape="0">
                <a:prstClr val="black">
                  <a:alpha val="67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34BBBFD1-9647-E478-94CE-4A9B456E1D80}"/>
                </a:ext>
              </a:extLst>
            </p:cNvPr>
            <p:cNvSpPr txBox="1"/>
            <p:nvPr/>
          </p:nvSpPr>
          <p:spPr>
            <a:xfrm>
              <a:off x="2456889" y="7064807"/>
              <a:ext cx="10934426" cy="8294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000" b="1" dirty="0">
                  <a:latin typeface="Futura Md BT" panose="020B0602020204020303" pitchFamily="34" charset="0"/>
                  <a:ea typeface="Open Sans Extrabold" panose="020B0906030804020204" pitchFamily="34" charset="0"/>
                  <a:cs typeface="Open Sans Extrabold" panose="020B0906030804020204" pitchFamily="34" charset="0"/>
                </a:rPr>
                <a:t>Active Users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2EF5C606-791E-FD52-9296-BA0F99B50E85}"/>
                </a:ext>
              </a:extLst>
            </p:cNvPr>
            <p:cNvSpPr txBox="1"/>
            <p:nvPr/>
          </p:nvSpPr>
          <p:spPr>
            <a:xfrm>
              <a:off x="3640851" y="7834248"/>
              <a:ext cx="853898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>
                  <a:latin typeface="FUTURA MEDIUM BT" panose="020B0602020204020303" pitchFamily="34" charset="0"/>
                  <a:ea typeface="Open Sans Extrabold" panose="020B0906030804020204" pitchFamily="34" charset="0"/>
                  <a:cs typeface="Open Sans Extrabold" panose="020B0906030804020204" pitchFamily="34" charset="0"/>
                </a:rPr>
                <a:t>by 2028+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7FE1533D-6528-FF76-F560-8D1704E464F1}"/>
                </a:ext>
              </a:extLst>
            </p:cNvPr>
            <p:cNvSpPr txBox="1"/>
            <p:nvPr/>
          </p:nvSpPr>
          <p:spPr>
            <a:xfrm>
              <a:off x="11715469" y="7064807"/>
              <a:ext cx="10934426" cy="8294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000" b="1" dirty="0">
                  <a:latin typeface="Futura Md BT" panose="020B0602020204020303" pitchFamily="34" charset="0"/>
                  <a:ea typeface="Open Sans Extrabold" panose="020B0906030804020204" pitchFamily="34" charset="0"/>
                  <a:cs typeface="Open Sans Extrabold" panose="020B0906030804020204" pitchFamily="34" charset="0"/>
                </a:rPr>
                <a:t>Market Share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5BF059D4-C843-2D14-043F-5B0251E9BC50}"/>
                </a:ext>
              </a:extLst>
            </p:cNvPr>
            <p:cNvSpPr txBox="1"/>
            <p:nvPr/>
          </p:nvSpPr>
          <p:spPr>
            <a:xfrm>
              <a:off x="12881104" y="7834248"/>
              <a:ext cx="853898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>
                  <a:latin typeface="FUTURA MEDIUM BT" panose="020B0602020204020303" pitchFamily="34" charset="0"/>
                  <a:ea typeface="Open Sans Extrabold" panose="020B0906030804020204" pitchFamily="34" charset="0"/>
                  <a:cs typeface="Open Sans Extrabold" panose="020B0906030804020204" pitchFamily="34" charset="0"/>
                </a:rPr>
                <a:t>by 2028+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D4D70467-2072-A85A-1824-1D61ED50BB61}"/>
                </a:ext>
              </a:extLst>
            </p:cNvPr>
            <p:cNvSpPr txBox="1"/>
            <p:nvPr/>
          </p:nvSpPr>
          <p:spPr>
            <a:xfrm>
              <a:off x="4620126" y="3349682"/>
              <a:ext cx="2923544" cy="6911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endParaRPr lang="en-US" sz="2400" dirty="0">
                <a:latin typeface="FUTURA MEDIUM BT" panose="020B0602020204020303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A93FCB0F-2FA5-9B29-64D1-9EB3C07743F5}"/>
                </a:ext>
              </a:extLst>
            </p:cNvPr>
            <p:cNvSpPr txBox="1"/>
            <p:nvPr/>
          </p:nvSpPr>
          <p:spPr>
            <a:xfrm>
              <a:off x="12902745" y="3349682"/>
              <a:ext cx="2923544" cy="6911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endParaRPr lang="en-US" sz="2400" dirty="0">
                <a:latin typeface="FUTURA MEDIUM BT" panose="020B0602020204020303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FC222A8-75AF-14C2-6CA9-5A6161367E83}"/>
                </a:ext>
              </a:extLst>
            </p:cNvPr>
            <p:cNvSpPr txBox="1"/>
            <p:nvPr/>
          </p:nvSpPr>
          <p:spPr>
            <a:xfrm>
              <a:off x="4896855" y="2643167"/>
              <a:ext cx="5798735" cy="8755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b="1" dirty="0">
                  <a:latin typeface="Futura Md BT" panose="020B0602020204020303" pitchFamily="34" charset="0"/>
                  <a:ea typeface="Open Sans Extrabold" panose="020B0906030804020204" pitchFamily="34" charset="0"/>
                  <a:cs typeface="Open Sans Extrabold" panose="020B0906030804020204" pitchFamily="34" charset="0"/>
                </a:rPr>
                <a:t>Everyone else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78100CEB-940D-65D0-86B4-E0FD07121CD3}"/>
                </a:ext>
              </a:extLst>
            </p:cNvPr>
            <p:cNvSpPr txBox="1"/>
            <p:nvPr/>
          </p:nvSpPr>
          <p:spPr>
            <a:xfrm>
              <a:off x="13695806" y="2681256"/>
              <a:ext cx="8325465" cy="8755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b="1" dirty="0">
                  <a:latin typeface="Futura Md BT" panose="020B0602020204020303" pitchFamily="34" charset="0"/>
                  <a:ea typeface="Open Sans Extrabold" panose="020B0906030804020204" pitchFamily="34" charset="0"/>
                  <a:cs typeface="Open Sans Extrabold" panose="020B0906030804020204" pitchFamily="34" charset="0"/>
                </a:rPr>
                <a:t>Black Market Brokers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B21FAA7-5347-DFEE-0AF2-3904B38435E1}"/>
                </a:ext>
              </a:extLst>
            </p:cNvPr>
            <p:cNvSpPr txBox="1"/>
            <p:nvPr/>
          </p:nvSpPr>
          <p:spPr>
            <a:xfrm>
              <a:off x="4673208" y="12119813"/>
              <a:ext cx="5618394" cy="6911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>
                  <a:latin typeface="FUTURA MEDIUM BT" panose="020B0602020204020303" pitchFamily="34" charset="0"/>
                  <a:ea typeface="Open Sans Extrabold" panose="020B0906030804020204" pitchFamily="34" charset="0"/>
                  <a:cs typeface="Open Sans Extrabold" panose="020B0906030804020204" pitchFamily="34" charset="0"/>
                </a:rPr>
                <a:t>100,000,000+ Users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068E5E3-20BC-2680-030E-C8967DAC8988}"/>
                </a:ext>
              </a:extLst>
            </p:cNvPr>
            <p:cNvSpPr txBox="1"/>
            <p:nvPr/>
          </p:nvSpPr>
          <p:spPr>
            <a:xfrm>
              <a:off x="4673209" y="11461835"/>
              <a:ext cx="4361896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b="1" dirty="0">
                  <a:solidFill>
                    <a:schemeClr val="bg2"/>
                  </a:solidFill>
                  <a:latin typeface="Futura Md BT" panose="020B0602020204020303" pitchFamily="34" charset="0"/>
                  <a:ea typeface="Open Sans Extrabold" panose="020B0906030804020204" pitchFamily="34" charset="0"/>
                  <a:cs typeface="Open Sans Extrabold" panose="020B0906030804020204" pitchFamily="34" charset="0"/>
                </a:rPr>
                <a:t>Breadcrumbs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A395B57B-27FC-E9C1-7CEF-2BA618598201}"/>
                </a:ext>
              </a:extLst>
            </p:cNvPr>
            <p:cNvSpPr txBox="1"/>
            <p:nvPr/>
          </p:nvSpPr>
          <p:spPr>
            <a:xfrm>
              <a:off x="13513214" y="12204925"/>
              <a:ext cx="2923544" cy="6911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>
                  <a:latin typeface="FUTURA MEDIUM BT" panose="020B0602020204020303" pitchFamily="34" charset="0"/>
                  <a:ea typeface="Open Sans Extrabold" panose="020B0906030804020204" pitchFamily="34" charset="0"/>
                  <a:cs typeface="Open Sans Extrabold" panose="020B0906030804020204" pitchFamily="34" charset="0"/>
                </a:rPr>
                <a:t>$500B+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E50CA1E6-BDA7-10E5-4365-49D65AACF35C}"/>
                </a:ext>
              </a:extLst>
            </p:cNvPr>
            <p:cNvSpPr txBox="1"/>
            <p:nvPr/>
          </p:nvSpPr>
          <p:spPr>
            <a:xfrm>
              <a:off x="13513214" y="11546947"/>
              <a:ext cx="4361896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b="1" dirty="0">
                  <a:solidFill>
                    <a:schemeClr val="bg2"/>
                  </a:solidFill>
                  <a:latin typeface="Futura Md BT" panose="020B0602020204020303" pitchFamily="34" charset="0"/>
                  <a:ea typeface="Open Sans Extrabold" panose="020B0906030804020204" pitchFamily="34" charset="0"/>
                  <a:cs typeface="Open Sans Extrabold" panose="020B0906030804020204" pitchFamily="34" charset="0"/>
                </a:rPr>
                <a:t>Breadcrumbs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BF6A5BE3-8AD3-2AA8-0DB2-AECD2E57EF18}"/>
                </a:ext>
              </a:extLst>
            </p:cNvPr>
            <p:cNvSpPr/>
            <p:nvPr/>
          </p:nvSpPr>
          <p:spPr>
            <a:xfrm rot="5400000">
              <a:off x="9572831" y="7216521"/>
              <a:ext cx="5890602" cy="7786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50C2FBFB-3C8B-259C-4AC2-FE2B296A0278}"/>
              </a:ext>
            </a:extLst>
          </p:cNvPr>
          <p:cNvSpPr txBox="1"/>
          <p:nvPr/>
        </p:nvSpPr>
        <p:spPr>
          <a:xfrm>
            <a:off x="3640851" y="883219"/>
            <a:ext cx="17957941" cy="1015663"/>
          </a:xfrm>
          <a:prstGeom prst="rect">
            <a:avLst/>
          </a:prstGeom>
          <a:noFill/>
          <a:effectLst/>
        </p:spPr>
        <p:txBody>
          <a:bodyPr wrap="square" anchor="ctr">
            <a:spAutoFit/>
          </a:bodyPr>
          <a:lstStyle/>
          <a:p>
            <a:pPr lvl="0" algn="ctr">
              <a:defRPr/>
            </a:pPr>
            <a:r>
              <a:rPr lang="en-US" sz="6000" b="1" dirty="0">
                <a:latin typeface="Futura Md BT" panose="020B0602020204020303" pitchFamily="34" charset="0"/>
              </a:rPr>
              <a:t>Conditional Projections</a:t>
            </a:r>
          </a:p>
        </p:txBody>
      </p:sp>
      <p:sp>
        <p:nvSpPr>
          <p:cNvPr id="22" name="!!CN">
            <a:extLst>
              <a:ext uri="{FF2B5EF4-FFF2-40B4-BE49-F238E27FC236}">
                <a16:creationId xmlns:a16="http://schemas.microsoft.com/office/drawing/2014/main" id="{2DD41A54-0349-5E0E-E0AA-ECA51C0F7ECC}"/>
              </a:ext>
            </a:extLst>
          </p:cNvPr>
          <p:cNvSpPr/>
          <p:nvPr/>
        </p:nvSpPr>
        <p:spPr>
          <a:xfrm>
            <a:off x="14483641" y="4121394"/>
            <a:ext cx="8268784" cy="12260810"/>
          </a:xfrm>
          <a:prstGeom prst="roundRect">
            <a:avLst>
              <a:gd name="adj" fmla="val 1094"/>
            </a:avLst>
          </a:prstGeom>
          <a:gradFill>
            <a:gsLst>
              <a:gs pos="92000">
                <a:schemeClr val="bg2">
                  <a:alpha val="0"/>
                </a:schemeClr>
              </a:gs>
              <a:gs pos="3000">
                <a:schemeClr val="bg2">
                  <a:alpha val="17207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/>
          </a:p>
        </p:txBody>
      </p:sp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51A833AF-2374-92C8-7F0A-E3CD089B61A3}"/>
              </a:ext>
            </a:extLst>
          </p:cNvPr>
          <p:cNvGraphicFramePr/>
          <p:nvPr/>
        </p:nvGraphicFramePr>
        <p:xfrm>
          <a:off x="14723515" y="4364681"/>
          <a:ext cx="8844754" cy="77573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41B10C0D-00F4-7284-4A54-C83D5B380A4E}"/>
              </a:ext>
            </a:extLst>
          </p:cNvPr>
          <p:cNvSpPr txBox="1"/>
          <p:nvPr/>
        </p:nvSpPr>
        <p:spPr>
          <a:xfrm>
            <a:off x="2261144" y="11004667"/>
            <a:ext cx="4248135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500" i="1" dirty="0">
                <a:effectLst/>
                <a:latin typeface="Helvetica" pitchFamily="2" charset="0"/>
              </a:rPr>
              <a:t>Condition: our free </a:t>
            </a:r>
            <a:r>
              <a:rPr lang="en-GB" sz="2500" i="1" dirty="0" err="1">
                <a:effectLst/>
                <a:latin typeface="Helvetica" pitchFamily="2" charset="0"/>
              </a:rPr>
              <a:t>dVPN</a:t>
            </a:r>
            <a:r>
              <a:rPr lang="en-GB" sz="2500" i="1" dirty="0">
                <a:effectLst/>
                <a:latin typeface="Helvetica" pitchFamily="2" charset="0"/>
              </a:rPr>
              <a:t> and</a:t>
            </a:r>
            <a:r>
              <a:rPr lang="en-GB" sz="2500" dirty="0">
                <a:latin typeface="Helvetica" pitchFamily="2" charset="0"/>
              </a:rPr>
              <a:t> </a:t>
            </a:r>
            <a:r>
              <a:rPr lang="en-GB" sz="2500" i="1" dirty="0">
                <a:effectLst/>
                <a:latin typeface="Helvetica" pitchFamily="2" charset="0"/>
              </a:rPr>
              <a:t>security suite bankrupts all paid</a:t>
            </a:r>
            <a:r>
              <a:rPr lang="en-GB" sz="2500" dirty="0">
                <a:latin typeface="Helvetica" pitchFamily="2" charset="0"/>
              </a:rPr>
              <a:t> </a:t>
            </a:r>
            <a:r>
              <a:rPr lang="en-GB" sz="2500" i="1" dirty="0">
                <a:effectLst/>
                <a:latin typeface="Helvetica" pitchFamily="2" charset="0"/>
              </a:rPr>
              <a:t>services.</a:t>
            </a:r>
            <a:endParaRPr lang="en-GB" sz="2500" dirty="0">
              <a:effectLst/>
              <a:latin typeface="Helvetica" pitchFamily="2" charset="0"/>
            </a:endParaRPr>
          </a:p>
        </p:txBody>
      </p:sp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637EFD70-F1DC-B440-FBF4-0E98585030E3}"/>
              </a:ext>
            </a:extLst>
          </p:cNvPr>
          <p:cNvSpPr/>
          <p:nvPr/>
        </p:nvSpPr>
        <p:spPr>
          <a:xfrm>
            <a:off x="1967677" y="10730225"/>
            <a:ext cx="5204012" cy="1842247"/>
          </a:xfrm>
          <a:prstGeom prst="roundRect">
            <a:avLst>
              <a:gd name="adj" fmla="val 7178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4F0C7F6-50D9-656A-F14E-F52665BBDC36}"/>
              </a:ext>
            </a:extLst>
          </p:cNvPr>
          <p:cNvSpPr txBox="1"/>
          <p:nvPr/>
        </p:nvSpPr>
        <p:spPr>
          <a:xfrm>
            <a:off x="8608155" y="11004667"/>
            <a:ext cx="504555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i="1" dirty="0">
                <a:effectLst/>
                <a:latin typeface="Helvetica" pitchFamily="2" charset="0"/>
              </a:rPr>
              <a:t>Condition: future legislation</a:t>
            </a:r>
            <a:r>
              <a:rPr lang="en-GB" sz="2800" dirty="0">
                <a:latin typeface="Helvetica" pitchFamily="2" charset="0"/>
              </a:rPr>
              <a:t> </a:t>
            </a:r>
            <a:r>
              <a:rPr lang="en-GB" sz="2800" i="1" dirty="0">
                <a:effectLst/>
                <a:latin typeface="Helvetica" pitchFamily="2" charset="0"/>
              </a:rPr>
              <a:t>bans non-consensual sale of</a:t>
            </a:r>
            <a:endParaRPr lang="en-GB" sz="2800" dirty="0">
              <a:effectLst/>
              <a:latin typeface="Helvetica" pitchFamily="2" charset="0"/>
            </a:endParaRPr>
          </a:p>
          <a:p>
            <a:r>
              <a:rPr lang="en-GB" sz="2800" i="1" dirty="0">
                <a:effectLst/>
                <a:latin typeface="Helvetica" pitchFamily="2" charset="0"/>
              </a:rPr>
              <a:t>private information.</a:t>
            </a:r>
            <a:endParaRPr lang="en-GB" sz="2800" dirty="0">
              <a:effectLst/>
              <a:latin typeface="Helvetica" pitchFamily="2" charset="0"/>
            </a:endParaRPr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300B927C-68B1-A36C-9871-376478E3E747}"/>
              </a:ext>
            </a:extLst>
          </p:cNvPr>
          <p:cNvSpPr/>
          <p:nvPr/>
        </p:nvSpPr>
        <p:spPr>
          <a:xfrm>
            <a:off x="8314687" y="10730225"/>
            <a:ext cx="5506543" cy="1842247"/>
          </a:xfrm>
          <a:prstGeom prst="roundRect">
            <a:avLst>
              <a:gd name="adj" fmla="val 7178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6A60452-CEFC-5F35-3BBB-3D2D80DB1817}"/>
              </a:ext>
            </a:extLst>
          </p:cNvPr>
          <p:cNvSpPr txBox="1"/>
          <p:nvPr/>
        </p:nvSpPr>
        <p:spPr>
          <a:xfrm>
            <a:off x="17205127" y="3102135"/>
            <a:ext cx="491054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500" b="1" dirty="0">
                <a:effectLst/>
                <a:latin typeface="Helvetica" pitchFamily="2" charset="0"/>
              </a:rPr>
              <a:t>100T+ Breadcrumbs</a:t>
            </a:r>
          </a:p>
        </p:txBody>
      </p:sp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BB8D308D-A41D-A901-1CDC-A6D575DB22FA}"/>
              </a:ext>
            </a:extLst>
          </p:cNvPr>
          <p:cNvSpPr/>
          <p:nvPr/>
        </p:nvSpPr>
        <p:spPr>
          <a:xfrm>
            <a:off x="16911660" y="2832831"/>
            <a:ext cx="3873158" cy="1015663"/>
          </a:xfrm>
          <a:prstGeom prst="roundRect">
            <a:avLst>
              <a:gd name="adj" fmla="val 7178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0213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"/>
                                        <p:tgtEl>
                                          <p:spTgt spid="23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6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"/>
                                        <p:tgtEl>
                                          <p:spTgt spid="23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7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100"/>
                                        <p:tgtEl>
                                          <p:spTgt spid="23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8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100"/>
                                        <p:tgtEl>
                                          <p:spTgt spid="23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9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100"/>
                                        <p:tgtEl>
                                          <p:spTgt spid="23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000"/>
                            </p:stCondLst>
                            <p:childTnLst>
                              <p:par>
                                <p:cTn id="29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1" dur="100"/>
                                        <p:tgtEl>
                                          <p:spTgt spid="23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100"/>
                            </p:stCondLst>
                            <p:childTnLst>
                              <p:par>
                                <p:cTn id="33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5" dur="100"/>
                                        <p:tgtEl>
                                          <p:spTgt spid="23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200"/>
                            </p:stCondLst>
                            <p:childTnLst>
                              <p:par>
                                <p:cTn id="37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9" dur="100"/>
                                        <p:tgtEl>
                                          <p:spTgt spid="23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300"/>
                            </p:stCondLst>
                            <p:childTnLst>
                              <p:par>
                                <p:cTn id="41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3" dur="100"/>
                                        <p:tgtEl>
                                          <p:spTgt spid="23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400"/>
                            </p:stCondLst>
                            <p:childTnLst>
                              <p:par>
                                <p:cTn id="45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graphicEl>
                                              <a:chart seriesIdx="-4" categoryIdx="9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7" dur="100"/>
                                        <p:tgtEl>
                                          <p:spTgt spid="23">
                                            <p:graphicEl>
                                              <a:chart seriesIdx="-4" categoryIdx="9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500"/>
                            </p:stCondLst>
                            <p:childTnLst>
                              <p:par>
                                <p:cTn id="49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graphicEl>
                                              <a:chart seriesIdx="-4" categoryIdx="1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1" dur="100"/>
                                        <p:tgtEl>
                                          <p:spTgt spid="23">
                                            <p:graphicEl>
                                              <a:chart seriesIdx="-4" categoryIdx="1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600"/>
                            </p:stCondLst>
                            <p:childTnLst>
                              <p:par>
                                <p:cTn id="53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graphicEl>
                                              <a:chart seriesIdx="-4" categoryIdx="1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5" dur="100"/>
                                        <p:tgtEl>
                                          <p:spTgt spid="23">
                                            <p:graphicEl>
                                              <a:chart seriesIdx="-4" categoryIdx="1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1700"/>
                            </p:stCondLst>
                            <p:childTnLst>
                              <p:par>
                                <p:cTn id="57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graphicEl>
                                              <a:chart seriesIdx="-4" categoryIdx="1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9" dur="100"/>
                                        <p:tgtEl>
                                          <p:spTgt spid="23">
                                            <p:graphicEl>
                                              <a:chart seriesIdx="-4" categoryIdx="1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1800"/>
                            </p:stCondLst>
                            <p:childTnLst>
                              <p:par>
                                <p:cTn id="61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graphicEl>
                                              <a:chart seriesIdx="-4" categoryIdx="1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3" dur="100"/>
                                        <p:tgtEl>
                                          <p:spTgt spid="23">
                                            <p:graphicEl>
                                              <a:chart seriesIdx="-4" categoryIdx="1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3" grpId="0" uiExpand="1">
        <p:bldSub>
          <a:bldChart bld="category"/>
        </p:bldSub>
      </p:bldGraphic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43C5B87-7347-AD52-85CA-C52F1A06658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96886" y="-834189"/>
            <a:ext cx="26353017" cy="14806819"/>
          </a:xfrm>
          <a:prstGeom prst="rect">
            <a:avLst/>
          </a:prstGeom>
        </p:spPr>
      </p:pic>
      <p:sp>
        <p:nvSpPr>
          <p:cNvPr id="4" name="Rectangle: Rounded Corners 18">
            <a:extLst>
              <a:ext uri="{FF2B5EF4-FFF2-40B4-BE49-F238E27FC236}">
                <a16:creationId xmlns:a16="http://schemas.microsoft.com/office/drawing/2014/main" id="{9F7A3878-A240-60A2-29E7-4D8D1F353E44}"/>
              </a:ext>
            </a:extLst>
          </p:cNvPr>
          <p:cNvSpPr/>
          <p:nvPr/>
        </p:nvSpPr>
        <p:spPr>
          <a:xfrm rot="5400000">
            <a:off x="-5095283" y="-4055240"/>
            <a:ext cx="19290843" cy="19290843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  <a:effectLst>
            <a:outerShdw blurRad="685800" sx="102000" sy="102000" algn="ctr" rotWithShape="0">
              <a:schemeClr val="accent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" name="Rectangle: Rounded Corners 18">
            <a:extLst>
              <a:ext uri="{FF2B5EF4-FFF2-40B4-BE49-F238E27FC236}">
                <a16:creationId xmlns:a16="http://schemas.microsoft.com/office/drawing/2014/main" id="{0D31122D-1377-DCA2-7C8B-991B4B2BA888}"/>
              </a:ext>
            </a:extLst>
          </p:cNvPr>
          <p:cNvSpPr/>
          <p:nvPr/>
        </p:nvSpPr>
        <p:spPr>
          <a:xfrm rot="5400000">
            <a:off x="-5095282" y="-1870840"/>
            <a:ext cx="19290843" cy="19290843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  <a:effectLst>
            <a:outerShdw blurRad="685800" sx="102000" sy="102000" algn="ctr" rotWithShape="0">
              <a:schemeClr val="accent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CFD39D8-4F28-169B-00AF-4C4B9CAA915E}"/>
              </a:ext>
            </a:extLst>
          </p:cNvPr>
          <p:cNvSpPr txBox="1"/>
          <p:nvPr/>
        </p:nvSpPr>
        <p:spPr>
          <a:xfrm>
            <a:off x="3525846" y="4933032"/>
            <a:ext cx="1264421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0" b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190500" dist="38100" dir="5400000" sx="103000" sy="103000" algn="t" rotWithShape="0">
                    <a:srgbClr val="377DFF">
                      <a:lumMod val="50000"/>
                      <a:alpha val="53000"/>
                    </a:srgbClr>
                  </a:outerShdw>
                </a:effectLst>
                <a:uLnTx/>
                <a:uFillTx/>
                <a:latin typeface="Futura Md BT" panose="020B0602020204020303" pitchFamily="34" charset="0"/>
              </a:rPr>
              <a:t>The Problem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FAB892B-068C-8BC4-4332-2FD16651C92C}"/>
              </a:ext>
            </a:extLst>
          </p:cNvPr>
          <p:cNvSpPr txBox="1"/>
          <p:nvPr/>
        </p:nvSpPr>
        <p:spPr>
          <a:xfrm>
            <a:off x="3525846" y="6754085"/>
            <a:ext cx="9563592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4400" dirty="0">
                <a:solidFill>
                  <a:schemeClr val="bg1"/>
                </a:solidFill>
                <a:effectLst/>
                <a:latin typeface="FUTURA MEDIUM BT" panose="020B0602020204020303" pitchFamily="34" charset="0"/>
              </a:rPr>
              <a:t>With every action you take in our modern world, you’re also leaving a trail of digital breadcrumbs.</a:t>
            </a:r>
          </a:p>
          <a:p>
            <a:endParaRPr lang="en-GB" sz="4400" dirty="0">
              <a:solidFill>
                <a:schemeClr val="bg1"/>
              </a:solidFill>
              <a:latin typeface="FUTURA MEDIUM BT" panose="020B0602020204020303" pitchFamily="34" charset="0"/>
            </a:endParaRPr>
          </a:p>
          <a:p>
            <a:r>
              <a:rPr lang="en-GB" sz="4400" dirty="0">
                <a:solidFill>
                  <a:schemeClr val="bg1"/>
                </a:solidFill>
                <a:effectLst/>
                <a:latin typeface="FUTURA MEDIUM BT" panose="020B0602020204020303" pitchFamily="34" charset="0"/>
              </a:rPr>
              <a:t>(GPS coordinates, purchase data, browsing history etc.)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4689765-BF56-CBC9-F910-113CE3C21B89}"/>
              </a:ext>
            </a:extLst>
          </p:cNvPr>
          <p:cNvSpPr txBox="1">
            <a:spLocks/>
          </p:cNvSpPr>
          <p:nvPr/>
        </p:nvSpPr>
        <p:spPr>
          <a:xfrm>
            <a:off x="23408916" y="8877743"/>
            <a:ext cx="324565" cy="582761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2400" b="1" smtClean="0">
                <a:solidFill>
                  <a:schemeClr val="bg1"/>
                </a:solidFill>
                <a:latin typeface="+mj-lt"/>
              </a:rPr>
              <a:pPr algn="ctr"/>
              <a:t>3</a:t>
            </a:fld>
            <a:endParaRPr lang="en-US" sz="1400" b="1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272B682-2DE6-1BC3-4BB1-307B573D7BAB}"/>
              </a:ext>
            </a:extLst>
          </p:cNvPr>
          <p:cNvGrpSpPr/>
          <p:nvPr/>
        </p:nvGrpSpPr>
        <p:grpSpPr>
          <a:xfrm>
            <a:off x="23332870" y="446240"/>
            <a:ext cx="476655" cy="337457"/>
            <a:chOff x="6167336" y="2130357"/>
            <a:chExt cx="476655" cy="337457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03B0C0E3-B1C2-5D4F-61FF-2B42F454F595}"/>
                </a:ext>
              </a:extLst>
            </p:cNvPr>
            <p:cNvCxnSpPr/>
            <p:nvPr userDrawn="1"/>
          </p:nvCxnSpPr>
          <p:spPr>
            <a:xfrm>
              <a:off x="6167336" y="2130357"/>
              <a:ext cx="4766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CA88D990-682F-D8DB-A35A-6EE7C92254A2}"/>
                </a:ext>
              </a:extLst>
            </p:cNvPr>
            <p:cNvCxnSpPr/>
            <p:nvPr userDrawn="1"/>
          </p:nvCxnSpPr>
          <p:spPr>
            <a:xfrm>
              <a:off x="6167336" y="2299086"/>
              <a:ext cx="4766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9545FAA5-7EF4-35F2-1496-9516F5C4174D}"/>
                </a:ext>
              </a:extLst>
            </p:cNvPr>
            <p:cNvCxnSpPr/>
            <p:nvPr userDrawn="1"/>
          </p:nvCxnSpPr>
          <p:spPr>
            <a:xfrm>
              <a:off x="6167336" y="2467814"/>
              <a:ext cx="4766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E563B44-CA7B-2333-7652-C2621090E77D}"/>
              </a:ext>
            </a:extLst>
          </p:cNvPr>
          <p:cNvGrpSpPr/>
          <p:nvPr/>
        </p:nvGrpSpPr>
        <p:grpSpPr>
          <a:xfrm>
            <a:off x="23519785" y="12234167"/>
            <a:ext cx="102824" cy="698136"/>
            <a:chOff x="729638" y="739163"/>
            <a:chExt cx="102824" cy="698136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64AF359A-D707-FFAA-4EED-E40681E4F0AF}"/>
                </a:ext>
              </a:extLst>
            </p:cNvPr>
            <p:cNvSpPr/>
            <p:nvPr userDrawn="1"/>
          </p:nvSpPr>
          <p:spPr>
            <a:xfrm>
              <a:off x="729638" y="739163"/>
              <a:ext cx="102824" cy="10282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4AAF6F9B-DAB5-9FEB-6111-A1310523C2D9}"/>
                </a:ext>
              </a:extLst>
            </p:cNvPr>
            <p:cNvSpPr/>
            <p:nvPr userDrawn="1"/>
          </p:nvSpPr>
          <p:spPr>
            <a:xfrm>
              <a:off x="729638" y="1036819"/>
              <a:ext cx="102824" cy="10282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7FE275EB-CCA2-2939-6A9E-CA2CC188051D}"/>
                </a:ext>
              </a:extLst>
            </p:cNvPr>
            <p:cNvSpPr/>
            <p:nvPr userDrawn="1"/>
          </p:nvSpPr>
          <p:spPr>
            <a:xfrm>
              <a:off x="729638" y="1334475"/>
              <a:ext cx="102824" cy="10282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9" name="Graphic 29">
            <a:extLst>
              <a:ext uri="{FF2B5EF4-FFF2-40B4-BE49-F238E27FC236}">
                <a16:creationId xmlns:a16="http://schemas.microsoft.com/office/drawing/2014/main" id="{821863B6-1BC8-8F63-4023-CC9D75A4C9A8}"/>
              </a:ext>
            </a:extLst>
          </p:cNvPr>
          <p:cNvGrpSpPr/>
          <p:nvPr/>
        </p:nvGrpSpPr>
        <p:grpSpPr>
          <a:xfrm>
            <a:off x="631422" y="446240"/>
            <a:ext cx="589131" cy="1104816"/>
            <a:chOff x="1502100" y="653619"/>
            <a:chExt cx="2035484" cy="3817207"/>
          </a:xfrm>
          <a:solidFill>
            <a:schemeClr val="bg1"/>
          </a:solidFill>
        </p:grpSpPr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96C1D32D-99C1-39E2-234F-19CA9368B900}"/>
                </a:ext>
              </a:extLst>
            </p:cNvPr>
            <p:cNvSpPr/>
            <p:nvPr/>
          </p:nvSpPr>
          <p:spPr>
            <a:xfrm>
              <a:off x="1502100" y="653619"/>
              <a:ext cx="2035484" cy="3817207"/>
            </a:xfrm>
            <a:custGeom>
              <a:avLst/>
              <a:gdLst>
                <a:gd name="connsiteX0" fmla="*/ 1775452 w 2035484"/>
                <a:gd name="connsiteY0" fmla="*/ 2695942 h 3817207"/>
                <a:gd name="connsiteX1" fmla="*/ 1556377 w 2035484"/>
                <a:gd name="connsiteY1" fmla="*/ 2695942 h 3817207"/>
                <a:gd name="connsiteX2" fmla="*/ 1516372 w 2035484"/>
                <a:gd name="connsiteY2" fmla="*/ 2664509 h 3817207"/>
                <a:gd name="connsiteX3" fmla="*/ 1423027 w 2035484"/>
                <a:gd name="connsiteY3" fmla="*/ 2477819 h 3817207"/>
                <a:gd name="connsiteX4" fmla="*/ 1031549 w 2035484"/>
                <a:gd name="connsiteY4" fmla="*/ 2283509 h 3817207"/>
                <a:gd name="connsiteX5" fmla="*/ 508627 w 2035484"/>
                <a:gd name="connsiteY5" fmla="*/ 2785477 h 3817207"/>
                <a:gd name="connsiteX6" fmla="*/ 1010594 w 2035484"/>
                <a:gd name="connsiteY6" fmla="*/ 3308399 h 3817207"/>
                <a:gd name="connsiteX7" fmla="*/ 1515419 w 2035484"/>
                <a:gd name="connsiteY7" fmla="*/ 2931209 h 3817207"/>
                <a:gd name="connsiteX8" fmla="*/ 1518277 w 2035484"/>
                <a:gd name="connsiteY8" fmla="*/ 2917874 h 3817207"/>
                <a:gd name="connsiteX9" fmla="*/ 1546852 w 2035484"/>
                <a:gd name="connsiteY9" fmla="*/ 2895967 h 3817207"/>
                <a:gd name="connsiteX10" fmla="*/ 1985955 w 2035484"/>
                <a:gd name="connsiteY10" fmla="*/ 2895967 h 3817207"/>
                <a:gd name="connsiteX11" fmla="*/ 2022149 w 2035484"/>
                <a:gd name="connsiteY11" fmla="*/ 2895967 h 3817207"/>
                <a:gd name="connsiteX12" fmla="*/ 2035484 w 2035484"/>
                <a:gd name="connsiteY12" fmla="*/ 2909302 h 3817207"/>
                <a:gd name="connsiteX13" fmla="*/ 2035484 w 2035484"/>
                <a:gd name="connsiteY13" fmla="*/ 2912159 h 3817207"/>
                <a:gd name="connsiteX14" fmla="*/ 2033580 w 2035484"/>
                <a:gd name="connsiteY14" fmla="*/ 2935019 h 3817207"/>
                <a:gd name="connsiteX15" fmla="*/ 1294440 w 2035484"/>
                <a:gd name="connsiteY15" fmla="*/ 3779887 h 3817207"/>
                <a:gd name="connsiteX16" fmla="*/ 37139 w 2035484"/>
                <a:gd name="connsiteY16" fmla="*/ 3068369 h 3817207"/>
                <a:gd name="connsiteX17" fmla="*/ 65714 w 2035484"/>
                <a:gd name="connsiteY17" fmla="*/ 2434004 h 3817207"/>
                <a:gd name="connsiteX18" fmla="*/ 315269 w 2035484"/>
                <a:gd name="connsiteY18" fmla="*/ 1756777 h 3817207"/>
                <a:gd name="connsiteX19" fmla="*/ 944872 w 2035484"/>
                <a:gd name="connsiteY19" fmla="*/ 42277 h 3817207"/>
                <a:gd name="connsiteX20" fmla="*/ 1009642 w 2035484"/>
                <a:gd name="connsiteY20" fmla="*/ 20369 h 3817207"/>
                <a:gd name="connsiteX21" fmla="*/ 1340159 w 2035484"/>
                <a:gd name="connsiteY21" fmla="*/ 531862 h 3817207"/>
                <a:gd name="connsiteX22" fmla="*/ 1266817 w 2035484"/>
                <a:gd name="connsiteY22" fmla="*/ 1033829 h 3817207"/>
                <a:gd name="connsiteX23" fmla="*/ 929632 w 2035484"/>
                <a:gd name="connsiteY23" fmla="*/ 1708199 h 3817207"/>
                <a:gd name="connsiteX24" fmla="*/ 906772 w 2035484"/>
                <a:gd name="connsiteY24" fmla="*/ 1752967 h 3817207"/>
                <a:gd name="connsiteX25" fmla="*/ 923917 w 2035484"/>
                <a:gd name="connsiteY25" fmla="*/ 1779637 h 3817207"/>
                <a:gd name="connsiteX26" fmla="*/ 1038217 w 2035484"/>
                <a:gd name="connsiteY26" fmla="*/ 1776779 h 3817207"/>
                <a:gd name="connsiteX27" fmla="*/ 1658294 w 2035484"/>
                <a:gd name="connsiteY27" fmla="*/ 1999664 h 3817207"/>
                <a:gd name="connsiteX28" fmla="*/ 2023102 w 2035484"/>
                <a:gd name="connsiteY28" fmla="*/ 2599739 h 3817207"/>
                <a:gd name="connsiteX29" fmla="*/ 2034532 w 2035484"/>
                <a:gd name="connsiteY29" fmla="*/ 2672129 h 3817207"/>
                <a:gd name="connsiteX30" fmla="*/ 2013577 w 2035484"/>
                <a:gd name="connsiteY30" fmla="*/ 2697847 h 3817207"/>
                <a:gd name="connsiteX31" fmla="*/ 1774499 w 2035484"/>
                <a:gd name="connsiteY31" fmla="*/ 2697847 h 3817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035484" h="3817207">
                  <a:moveTo>
                    <a:pt x="1775452" y="2695942"/>
                  </a:moveTo>
                  <a:lnTo>
                    <a:pt x="1556377" y="2695942"/>
                  </a:lnTo>
                  <a:cubicBezTo>
                    <a:pt x="1525897" y="2695942"/>
                    <a:pt x="1524944" y="2695942"/>
                    <a:pt x="1516372" y="2664509"/>
                  </a:cubicBezTo>
                  <a:cubicBezTo>
                    <a:pt x="1499227" y="2595929"/>
                    <a:pt x="1466842" y="2533064"/>
                    <a:pt x="1423027" y="2477819"/>
                  </a:cubicBezTo>
                  <a:cubicBezTo>
                    <a:pt x="1322062" y="2353994"/>
                    <a:pt x="1191569" y="2287319"/>
                    <a:pt x="1031549" y="2283509"/>
                  </a:cubicBezTo>
                  <a:cubicBezTo>
                    <a:pt x="748657" y="2277794"/>
                    <a:pt x="514342" y="2502584"/>
                    <a:pt x="508627" y="2785477"/>
                  </a:cubicBezTo>
                  <a:cubicBezTo>
                    <a:pt x="502912" y="3068369"/>
                    <a:pt x="727702" y="3302684"/>
                    <a:pt x="1010594" y="3308399"/>
                  </a:cubicBezTo>
                  <a:cubicBezTo>
                    <a:pt x="1244909" y="3313162"/>
                    <a:pt x="1453507" y="3157904"/>
                    <a:pt x="1515419" y="2931209"/>
                  </a:cubicBezTo>
                  <a:cubicBezTo>
                    <a:pt x="1516372" y="2926447"/>
                    <a:pt x="1517324" y="2922637"/>
                    <a:pt x="1518277" y="2917874"/>
                  </a:cubicBezTo>
                  <a:cubicBezTo>
                    <a:pt x="1523992" y="2897872"/>
                    <a:pt x="1525897" y="2895967"/>
                    <a:pt x="1546852" y="2895967"/>
                  </a:cubicBezTo>
                  <a:lnTo>
                    <a:pt x="1985955" y="2895967"/>
                  </a:lnTo>
                  <a:cubicBezTo>
                    <a:pt x="1998337" y="2895967"/>
                    <a:pt x="2009767" y="2895967"/>
                    <a:pt x="2022149" y="2895967"/>
                  </a:cubicBezTo>
                  <a:cubicBezTo>
                    <a:pt x="2029769" y="2895967"/>
                    <a:pt x="2035484" y="2901682"/>
                    <a:pt x="2035484" y="2909302"/>
                  </a:cubicBezTo>
                  <a:cubicBezTo>
                    <a:pt x="2035484" y="2909302"/>
                    <a:pt x="2035484" y="2911207"/>
                    <a:pt x="2035484" y="2912159"/>
                  </a:cubicBezTo>
                  <a:cubicBezTo>
                    <a:pt x="2035484" y="2919779"/>
                    <a:pt x="2035484" y="2927399"/>
                    <a:pt x="2033580" y="2935019"/>
                  </a:cubicBezTo>
                  <a:cubicBezTo>
                    <a:pt x="1976430" y="3339832"/>
                    <a:pt x="1688774" y="3672254"/>
                    <a:pt x="1294440" y="3779887"/>
                  </a:cubicBezTo>
                  <a:cubicBezTo>
                    <a:pt x="750562" y="3930382"/>
                    <a:pt x="187634" y="3612247"/>
                    <a:pt x="37139" y="3068369"/>
                  </a:cubicBezTo>
                  <a:cubicBezTo>
                    <a:pt x="-20963" y="2858819"/>
                    <a:pt x="-10486" y="2636887"/>
                    <a:pt x="65714" y="2434004"/>
                  </a:cubicBezTo>
                  <a:cubicBezTo>
                    <a:pt x="148582" y="2208262"/>
                    <a:pt x="232402" y="1982519"/>
                    <a:pt x="315269" y="1756777"/>
                  </a:cubicBezTo>
                  <a:cubicBezTo>
                    <a:pt x="524819" y="1185277"/>
                    <a:pt x="735322" y="613777"/>
                    <a:pt x="944872" y="42277"/>
                  </a:cubicBezTo>
                  <a:cubicBezTo>
                    <a:pt x="963922" y="-9158"/>
                    <a:pt x="965827" y="-10111"/>
                    <a:pt x="1009642" y="20369"/>
                  </a:cubicBezTo>
                  <a:cubicBezTo>
                    <a:pt x="1189665" y="146099"/>
                    <a:pt x="1301107" y="316597"/>
                    <a:pt x="1340159" y="531862"/>
                  </a:cubicBezTo>
                  <a:cubicBezTo>
                    <a:pt x="1372544" y="702359"/>
                    <a:pt x="1346827" y="879524"/>
                    <a:pt x="1266817" y="1033829"/>
                  </a:cubicBezTo>
                  <a:cubicBezTo>
                    <a:pt x="1154422" y="1258619"/>
                    <a:pt x="1041074" y="1483409"/>
                    <a:pt x="929632" y="1708199"/>
                  </a:cubicBezTo>
                  <a:cubicBezTo>
                    <a:pt x="922012" y="1723439"/>
                    <a:pt x="914392" y="1737727"/>
                    <a:pt x="906772" y="1752967"/>
                  </a:cubicBezTo>
                  <a:cubicBezTo>
                    <a:pt x="897247" y="1774874"/>
                    <a:pt x="901057" y="1780589"/>
                    <a:pt x="923917" y="1779637"/>
                  </a:cubicBezTo>
                  <a:cubicBezTo>
                    <a:pt x="962017" y="1778684"/>
                    <a:pt x="1000117" y="1775827"/>
                    <a:pt x="1038217" y="1776779"/>
                  </a:cubicBezTo>
                  <a:cubicBezTo>
                    <a:pt x="1263959" y="1778684"/>
                    <a:pt x="1483034" y="1856789"/>
                    <a:pt x="1658294" y="1999664"/>
                  </a:cubicBezTo>
                  <a:cubicBezTo>
                    <a:pt x="1852605" y="2154922"/>
                    <a:pt x="1972619" y="2356852"/>
                    <a:pt x="2023102" y="2599739"/>
                  </a:cubicBezTo>
                  <a:cubicBezTo>
                    <a:pt x="2027865" y="2623552"/>
                    <a:pt x="2031674" y="2647364"/>
                    <a:pt x="2034532" y="2672129"/>
                  </a:cubicBezTo>
                  <a:cubicBezTo>
                    <a:pt x="2037390" y="2692132"/>
                    <a:pt x="2032627" y="2696894"/>
                    <a:pt x="2013577" y="2697847"/>
                  </a:cubicBezTo>
                  <a:lnTo>
                    <a:pt x="1774499" y="269784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803ABF10-BFE8-71AB-5874-A2D36700F469}"/>
                </a:ext>
              </a:extLst>
            </p:cNvPr>
            <p:cNvSpPr/>
            <p:nvPr/>
          </p:nvSpPr>
          <p:spPr>
            <a:xfrm>
              <a:off x="1503045" y="1064002"/>
              <a:ext cx="291914" cy="1722631"/>
            </a:xfrm>
            <a:custGeom>
              <a:avLst/>
              <a:gdLst>
                <a:gd name="connsiteX0" fmla="*/ 952 w 291914"/>
                <a:gd name="connsiteY0" fmla="*/ 1722632 h 1722631"/>
                <a:gd name="connsiteX1" fmla="*/ 952 w 291914"/>
                <a:gd name="connsiteY1" fmla="*/ 1374969 h 1722631"/>
                <a:gd name="connsiteX2" fmla="*/ 952 w 291914"/>
                <a:gd name="connsiteY2" fmla="*/ 1342584 h 1722631"/>
                <a:gd name="connsiteX3" fmla="*/ 3810 w 291914"/>
                <a:gd name="connsiteY3" fmla="*/ 465331 h 1722631"/>
                <a:gd name="connsiteX4" fmla="*/ 3810 w 291914"/>
                <a:gd name="connsiteY4" fmla="*/ 40516 h 1722631"/>
                <a:gd name="connsiteX5" fmla="*/ 48577 w 291914"/>
                <a:gd name="connsiteY5" fmla="*/ 4321 h 1722631"/>
                <a:gd name="connsiteX6" fmla="*/ 271463 w 291914"/>
                <a:gd name="connsiteY6" fmla="*/ 96714 h 1722631"/>
                <a:gd name="connsiteX7" fmla="*/ 290513 w 291914"/>
                <a:gd name="connsiteY7" fmla="*/ 136719 h 1722631"/>
                <a:gd name="connsiteX8" fmla="*/ 211455 w 291914"/>
                <a:gd name="connsiteY8" fmla="*/ 576774 h 1722631"/>
                <a:gd name="connsiteX9" fmla="*/ 122872 w 291914"/>
                <a:gd name="connsiteY9" fmla="*/ 1071122 h 1722631"/>
                <a:gd name="connsiteX10" fmla="*/ 16192 w 291914"/>
                <a:gd name="connsiteY10" fmla="*/ 1664529 h 1722631"/>
                <a:gd name="connsiteX11" fmla="*/ 0 w 291914"/>
                <a:gd name="connsiteY11" fmla="*/ 1720726 h 1722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1914" h="1722631">
                  <a:moveTo>
                    <a:pt x="952" y="1722632"/>
                  </a:moveTo>
                  <a:lnTo>
                    <a:pt x="952" y="1374969"/>
                  </a:lnTo>
                  <a:cubicBezTo>
                    <a:pt x="952" y="1364491"/>
                    <a:pt x="952" y="1354014"/>
                    <a:pt x="952" y="1342584"/>
                  </a:cubicBezTo>
                  <a:cubicBezTo>
                    <a:pt x="1905" y="1050166"/>
                    <a:pt x="2858" y="757749"/>
                    <a:pt x="3810" y="465331"/>
                  </a:cubicBezTo>
                  <a:cubicBezTo>
                    <a:pt x="3810" y="323409"/>
                    <a:pt x="3810" y="182439"/>
                    <a:pt x="3810" y="40516"/>
                  </a:cubicBezTo>
                  <a:cubicBezTo>
                    <a:pt x="3810" y="-1394"/>
                    <a:pt x="8572" y="-5204"/>
                    <a:pt x="48577" y="4321"/>
                  </a:cubicBezTo>
                  <a:cubicBezTo>
                    <a:pt x="126683" y="24324"/>
                    <a:pt x="201930" y="54804"/>
                    <a:pt x="271463" y="96714"/>
                  </a:cubicBezTo>
                  <a:cubicBezTo>
                    <a:pt x="287655" y="103381"/>
                    <a:pt x="295275" y="120527"/>
                    <a:pt x="290513" y="136719"/>
                  </a:cubicBezTo>
                  <a:cubicBezTo>
                    <a:pt x="262890" y="283404"/>
                    <a:pt x="238125" y="430089"/>
                    <a:pt x="211455" y="576774"/>
                  </a:cubicBezTo>
                  <a:cubicBezTo>
                    <a:pt x="181927" y="741557"/>
                    <a:pt x="152400" y="906339"/>
                    <a:pt x="122872" y="1071122"/>
                  </a:cubicBezTo>
                  <a:cubicBezTo>
                    <a:pt x="87630" y="1269241"/>
                    <a:pt x="51435" y="1466409"/>
                    <a:pt x="16192" y="1664529"/>
                  </a:cubicBezTo>
                  <a:cubicBezTo>
                    <a:pt x="12383" y="1681674"/>
                    <a:pt x="10477" y="1692151"/>
                    <a:pt x="0" y="17207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05FFB617-443A-4C02-21EA-80CDD344AA91}"/>
                </a:ext>
              </a:extLst>
            </p:cNvPr>
            <p:cNvSpPr/>
            <p:nvPr/>
          </p:nvSpPr>
          <p:spPr>
            <a:xfrm>
              <a:off x="1683067" y="817105"/>
              <a:ext cx="541936" cy="1609483"/>
            </a:xfrm>
            <a:custGeom>
              <a:avLst/>
              <a:gdLst>
                <a:gd name="connsiteX0" fmla="*/ 953 w 541936"/>
                <a:gd name="connsiteY0" fmla="*/ 1608531 h 1609483"/>
                <a:gd name="connsiteX1" fmla="*/ 89535 w 541936"/>
                <a:gd name="connsiteY1" fmla="*/ 1138949 h 1609483"/>
                <a:gd name="connsiteX2" fmla="*/ 224790 w 541936"/>
                <a:gd name="connsiteY2" fmla="*/ 384568 h 1609483"/>
                <a:gd name="connsiteX3" fmla="*/ 285750 w 541936"/>
                <a:gd name="connsiteY3" fmla="*/ 43573 h 1609483"/>
                <a:gd name="connsiteX4" fmla="*/ 342900 w 541936"/>
                <a:gd name="connsiteY4" fmla="*/ 13093 h 1609483"/>
                <a:gd name="connsiteX5" fmla="*/ 521017 w 541936"/>
                <a:gd name="connsiteY5" fmla="*/ 123583 h 1609483"/>
                <a:gd name="connsiteX6" fmla="*/ 535305 w 541936"/>
                <a:gd name="connsiteY6" fmla="*/ 173113 h 1609483"/>
                <a:gd name="connsiteX7" fmla="*/ 456248 w 541936"/>
                <a:gd name="connsiteY7" fmla="*/ 387426 h 1609483"/>
                <a:gd name="connsiteX8" fmla="*/ 200025 w 541936"/>
                <a:gd name="connsiteY8" fmla="*/ 1085608 h 1609483"/>
                <a:gd name="connsiteX9" fmla="*/ 35242 w 541936"/>
                <a:gd name="connsiteY9" fmla="*/ 1530426 h 1609483"/>
                <a:gd name="connsiteX10" fmla="*/ 0 w 541936"/>
                <a:gd name="connsiteY10" fmla="*/ 1609483 h 1609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1936" h="1609483">
                  <a:moveTo>
                    <a:pt x="953" y="1608531"/>
                  </a:moveTo>
                  <a:cubicBezTo>
                    <a:pt x="24765" y="1478038"/>
                    <a:pt x="66675" y="1268488"/>
                    <a:pt x="89535" y="1138949"/>
                  </a:cubicBezTo>
                  <a:cubicBezTo>
                    <a:pt x="134303" y="887488"/>
                    <a:pt x="180023" y="636028"/>
                    <a:pt x="224790" y="384568"/>
                  </a:cubicBezTo>
                  <a:cubicBezTo>
                    <a:pt x="244792" y="270268"/>
                    <a:pt x="264795" y="156921"/>
                    <a:pt x="285750" y="43573"/>
                  </a:cubicBezTo>
                  <a:cubicBezTo>
                    <a:pt x="294323" y="-1194"/>
                    <a:pt x="289560" y="-11672"/>
                    <a:pt x="342900" y="13093"/>
                  </a:cubicBezTo>
                  <a:cubicBezTo>
                    <a:pt x="406717" y="41668"/>
                    <a:pt x="466725" y="78816"/>
                    <a:pt x="521017" y="123583"/>
                  </a:cubicBezTo>
                  <a:cubicBezTo>
                    <a:pt x="545783" y="143586"/>
                    <a:pt x="545783" y="144538"/>
                    <a:pt x="535305" y="173113"/>
                  </a:cubicBezTo>
                  <a:cubicBezTo>
                    <a:pt x="509588" y="244551"/>
                    <a:pt x="482917" y="315988"/>
                    <a:pt x="456248" y="387426"/>
                  </a:cubicBezTo>
                  <a:cubicBezTo>
                    <a:pt x="370523" y="619836"/>
                    <a:pt x="284798" y="853199"/>
                    <a:pt x="200025" y="1085608"/>
                  </a:cubicBezTo>
                  <a:cubicBezTo>
                    <a:pt x="145733" y="1234199"/>
                    <a:pt x="90488" y="1382788"/>
                    <a:pt x="35242" y="1530426"/>
                  </a:cubicBezTo>
                  <a:lnTo>
                    <a:pt x="0" y="16094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05A7C56D-93B9-4811-9541-24ACA934EC79}"/>
              </a:ext>
            </a:extLst>
          </p:cNvPr>
          <p:cNvSpPr txBox="1"/>
          <p:nvPr/>
        </p:nvSpPr>
        <p:spPr>
          <a:xfrm rot="16200000">
            <a:off x="-1444725" y="5332504"/>
            <a:ext cx="462952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3200" b="1" dirty="0" err="1">
                <a:solidFill>
                  <a:schemeClr val="bg1"/>
                </a:solidFill>
              </a:rPr>
              <a:t>breadcrumbsdata.com</a:t>
            </a:r>
            <a:endParaRPr lang="en-US" sz="3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807536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iterate type="lt">
                                    <p:tmPct val="15625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17912D03-58B0-76DC-1E3F-F9AACF970070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38" r="9638"/>
          <a:stretch/>
        </p:blipFill>
        <p:spPr>
          <a:xfrm>
            <a:off x="12193587" y="1750814"/>
            <a:ext cx="11404301" cy="10988089"/>
          </a:xfrm>
        </p:spPr>
      </p:pic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78F487C8-F2C3-4FEE-8B1E-150FBA532596}"/>
              </a:ext>
            </a:extLst>
          </p:cNvPr>
          <p:cNvSpPr>
            <a:spLocks/>
          </p:cNvSpPr>
          <p:nvPr/>
        </p:nvSpPr>
        <p:spPr bwMode="auto">
          <a:xfrm rot="1800000">
            <a:off x="6108514" y="-4663120"/>
            <a:ext cx="23004139" cy="23004141"/>
          </a:xfrm>
          <a:custGeom>
            <a:avLst/>
            <a:gdLst>
              <a:gd name="connsiteX0" fmla="*/ 10456427 w 20912854"/>
              <a:gd name="connsiteY0" fmla="*/ 6028864 h 20912855"/>
              <a:gd name="connsiteX1" fmla="*/ 7821943 w 20912854"/>
              <a:gd name="connsiteY1" fmla="*/ 7120044 h 20912855"/>
              <a:gd name="connsiteX2" fmla="*/ 7121444 w 20912854"/>
              <a:gd name="connsiteY2" fmla="*/ 7820837 h 20912855"/>
              <a:gd name="connsiteX3" fmla="*/ 7121444 w 20912854"/>
              <a:gd name="connsiteY3" fmla="*/ 13092017 h 20912855"/>
              <a:gd name="connsiteX4" fmla="*/ 7821943 w 20912854"/>
              <a:gd name="connsiteY4" fmla="*/ 13792810 h 20912855"/>
              <a:gd name="connsiteX5" fmla="*/ 13090911 w 20912854"/>
              <a:gd name="connsiteY5" fmla="*/ 13792810 h 20912855"/>
              <a:gd name="connsiteX6" fmla="*/ 13791410 w 20912854"/>
              <a:gd name="connsiteY6" fmla="*/ 13092017 h 20912855"/>
              <a:gd name="connsiteX7" fmla="*/ 13791410 w 20912854"/>
              <a:gd name="connsiteY7" fmla="*/ 7820837 h 20912855"/>
              <a:gd name="connsiteX8" fmla="*/ 13090911 w 20912854"/>
              <a:gd name="connsiteY8" fmla="*/ 7120044 h 20912855"/>
              <a:gd name="connsiteX9" fmla="*/ 10456427 w 20912854"/>
              <a:gd name="connsiteY9" fmla="*/ 6028864 h 20912855"/>
              <a:gd name="connsiteX10" fmla="*/ 10456427 w 20912854"/>
              <a:gd name="connsiteY10" fmla="*/ 0 h 20912855"/>
              <a:gd name="connsiteX11" fmla="*/ 20912854 w 20912854"/>
              <a:gd name="connsiteY11" fmla="*/ 10456428 h 20912855"/>
              <a:gd name="connsiteX12" fmla="*/ 10456427 w 20912854"/>
              <a:gd name="connsiteY12" fmla="*/ 20912855 h 20912855"/>
              <a:gd name="connsiteX13" fmla="*/ 0 w 20912854"/>
              <a:gd name="connsiteY13" fmla="*/ 10456428 h 20912855"/>
              <a:gd name="connsiteX14" fmla="*/ 10456427 w 20912854"/>
              <a:gd name="connsiteY14" fmla="*/ 0 h 20912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0912854" h="20912855">
                <a:moveTo>
                  <a:pt x="10456427" y="6028864"/>
                </a:moveTo>
                <a:cubicBezTo>
                  <a:pt x="9502759" y="6028864"/>
                  <a:pt x="8549091" y="6392591"/>
                  <a:pt x="7821943" y="7120044"/>
                </a:cubicBezTo>
                <a:cubicBezTo>
                  <a:pt x="7821943" y="7120044"/>
                  <a:pt x="7821943" y="7120044"/>
                  <a:pt x="7121444" y="7820837"/>
                </a:cubicBezTo>
                <a:cubicBezTo>
                  <a:pt x="5667149" y="9275744"/>
                  <a:pt x="5667149" y="11637111"/>
                  <a:pt x="7121444" y="13092017"/>
                </a:cubicBezTo>
                <a:cubicBezTo>
                  <a:pt x="7121444" y="13092017"/>
                  <a:pt x="7121444" y="13092017"/>
                  <a:pt x="7821943" y="13792810"/>
                </a:cubicBezTo>
                <a:cubicBezTo>
                  <a:pt x="9276239" y="15247717"/>
                  <a:pt x="11636615" y="15247717"/>
                  <a:pt x="13090911" y="13792810"/>
                </a:cubicBezTo>
                <a:cubicBezTo>
                  <a:pt x="13090911" y="13792810"/>
                  <a:pt x="13090911" y="13792810"/>
                  <a:pt x="13791410" y="13092017"/>
                </a:cubicBezTo>
                <a:cubicBezTo>
                  <a:pt x="15245706" y="11637111"/>
                  <a:pt x="15245706" y="9275744"/>
                  <a:pt x="13791410" y="7820837"/>
                </a:cubicBezTo>
                <a:cubicBezTo>
                  <a:pt x="13791410" y="7820837"/>
                  <a:pt x="13791410" y="7820837"/>
                  <a:pt x="13090911" y="7120044"/>
                </a:cubicBezTo>
                <a:cubicBezTo>
                  <a:pt x="12363763" y="6392591"/>
                  <a:pt x="11410095" y="6028864"/>
                  <a:pt x="10456427" y="6028864"/>
                </a:cubicBezTo>
                <a:close/>
                <a:moveTo>
                  <a:pt x="10456427" y="0"/>
                </a:moveTo>
                <a:cubicBezTo>
                  <a:pt x="16231352" y="0"/>
                  <a:pt x="20912854" y="4681502"/>
                  <a:pt x="20912854" y="10456428"/>
                </a:cubicBezTo>
                <a:cubicBezTo>
                  <a:pt x="20912854" y="16231352"/>
                  <a:pt x="16231352" y="20912855"/>
                  <a:pt x="10456427" y="20912855"/>
                </a:cubicBezTo>
                <a:cubicBezTo>
                  <a:pt x="4681502" y="20912855"/>
                  <a:pt x="0" y="16231352"/>
                  <a:pt x="0" y="10456428"/>
                </a:cubicBezTo>
                <a:cubicBezTo>
                  <a:pt x="0" y="4681502"/>
                  <a:pt x="4681502" y="0"/>
                  <a:pt x="10456427" y="0"/>
                </a:cubicBezTo>
                <a:close/>
              </a:path>
            </a:pathLst>
          </a:custGeom>
          <a:solidFill>
            <a:schemeClr val="accent1">
              <a:alpha val="70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86513FE8-59B4-4272-8D06-AF6F1DE4C281}"/>
              </a:ext>
            </a:extLst>
          </p:cNvPr>
          <p:cNvSpPr>
            <a:spLocks/>
          </p:cNvSpPr>
          <p:nvPr/>
        </p:nvSpPr>
        <p:spPr bwMode="auto">
          <a:xfrm rot="20700000">
            <a:off x="5450947" y="-5301637"/>
            <a:ext cx="24319273" cy="24319274"/>
          </a:xfrm>
          <a:custGeom>
            <a:avLst/>
            <a:gdLst>
              <a:gd name="connsiteX0" fmla="*/ 10456427 w 20912854"/>
              <a:gd name="connsiteY0" fmla="*/ 6028864 h 20912855"/>
              <a:gd name="connsiteX1" fmla="*/ 7821943 w 20912854"/>
              <a:gd name="connsiteY1" fmla="*/ 7120044 h 20912855"/>
              <a:gd name="connsiteX2" fmla="*/ 7121444 w 20912854"/>
              <a:gd name="connsiteY2" fmla="*/ 7820837 h 20912855"/>
              <a:gd name="connsiteX3" fmla="*/ 7121444 w 20912854"/>
              <a:gd name="connsiteY3" fmla="*/ 13092017 h 20912855"/>
              <a:gd name="connsiteX4" fmla="*/ 7821943 w 20912854"/>
              <a:gd name="connsiteY4" fmla="*/ 13792810 h 20912855"/>
              <a:gd name="connsiteX5" fmla="*/ 13090911 w 20912854"/>
              <a:gd name="connsiteY5" fmla="*/ 13792810 h 20912855"/>
              <a:gd name="connsiteX6" fmla="*/ 13791410 w 20912854"/>
              <a:gd name="connsiteY6" fmla="*/ 13092017 h 20912855"/>
              <a:gd name="connsiteX7" fmla="*/ 13791410 w 20912854"/>
              <a:gd name="connsiteY7" fmla="*/ 7820837 h 20912855"/>
              <a:gd name="connsiteX8" fmla="*/ 13090911 w 20912854"/>
              <a:gd name="connsiteY8" fmla="*/ 7120044 h 20912855"/>
              <a:gd name="connsiteX9" fmla="*/ 10456427 w 20912854"/>
              <a:gd name="connsiteY9" fmla="*/ 6028864 h 20912855"/>
              <a:gd name="connsiteX10" fmla="*/ 10456427 w 20912854"/>
              <a:gd name="connsiteY10" fmla="*/ 0 h 20912855"/>
              <a:gd name="connsiteX11" fmla="*/ 20912854 w 20912854"/>
              <a:gd name="connsiteY11" fmla="*/ 10456428 h 20912855"/>
              <a:gd name="connsiteX12" fmla="*/ 10456427 w 20912854"/>
              <a:gd name="connsiteY12" fmla="*/ 20912855 h 20912855"/>
              <a:gd name="connsiteX13" fmla="*/ 0 w 20912854"/>
              <a:gd name="connsiteY13" fmla="*/ 10456428 h 20912855"/>
              <a:gd name="connsiteX14" fmla="*/ 10456427 w 20912854"/>
              <a:gd name="connsiteY14" fmla="*/ 0 h 20912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0912854" h="20912855">
                <a:moveTo>
                  <a:pt x="10456427" y="6028864"/>
                </a:moveTo>
                <a:cubicBezTo>
                  <a:pt x="9502759" y="6028864"/>
                  <a:pt x="8549091" y="6392591"/>
                  <a:pt x="7821943" y="7120044"/>
                </a:cubicBezTo>
                <a:cubicBezTo>
                  <a:pt x="7821943" y="7120044"/>
                  <a:pt x="7821943" y="7120044"/>
                  <a:pt x="7121444" y="7820837"/>
                </a:cubicBezTo>
                <a:cubicBezTo>
                  <a:pt x="5667149" y="9275744"/>
                  <a:pt x="5667149" y="11637111"/>
                  <a:pt x="7121444" y="13092017"/>
                </a:cubicBezTo>
                <a:cubicBezTo>
                  <a:pt x="7121444" y="13092017"/>
                  <a:pt x="7121444" y="13092017"/>
                  <a:pt x="7821943" y="13792810"/>
                </a:cubicBezTo>
                <a:cubicBezTo>
                  <a:pt x="9276239" y="15247717"/>
                  <a:pt x="11636615" y="15247717"/>
                  <a:pt x="13090911" y="13792810"/>
                </a:cubicBezTo>
                <a:cubicBezTo>
                  <a:pt x="13090911" y="13792810"/>
                  <a:pt x="13090911" y="13792810"/>
                  <a:pt x="13791410" y="13092017"/>
                </a:cubicBezTo>
                <a:cubicBezTo>
                  <a:pt x="15245706" y="11637111"/>
                  <a:pt x="15245706" y="9275744"/>
                  <a:pt x="13791410" y="7820837"/>
                </a:cubicBezTo>
                <a:cubicBezTo>
                  <a:pt x="13791410" y="7820837"/>
                  <a:pt x="13791410" y="7820837"/>
                  <a:pt x="13090911" y="7120044"/>
                </a:cubicBezTo>
                <a:cubicBezTo>
                  <a:pt x="12363763" y="6392591"/>
                  <a:pt x="11410095" y="6028864"/>
                  <a:pt x="10456427" y="6028864"/>
                </a:cubicBezTo>
                <a:close/>
                <a:moveTo>
                  <a:pt x="10456427" y="0"/>
                </a:moveTo>
                <a:cubicBezTo>
                  <a:pt x="16231352" y="0"/>
                  <a:pt x="20912854" y="4681502"/>
                  <a:pt x="20912854" y="10456428"/>
                </a:cubicBezTo>
                <a:cubicBezTo>
                  <a:pt x="20912854" y="16231352"/>
                  <a:pt x="16231352" y="20912855"/>
                  <a:pt x="10456427" y="20912855"/>
                </a:cubicBezTo>
                <a:cubicBezTo>
                  <a:pt x="4681502" y="20912855"/>
                  <a:pt x="0" y="16231352"/>
                  <a:pt x="0" y="10456428"/>
                </a:cubicBezTo>
                <a:cubicBezTo>
                  <a:pt x="0" y="4681502"/>
                  <a:pt x="4681502" y="0"/>
                  <a:pt x="10456427" y="0"/>
                </a:cubicBezTo>
                <a:close/>
              </a:path>
            </a:pathLst>
          </a:custGeom>
          <a:solidFill>
            <a:schemeClr val="accent4">
              <a:alpha val="70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F31E18FD-DCDF-4791-B24A-41326B9A49B1}"/>
              </a:ext>
            </a:extLst>
          </p:cNvPr>
          <p:cNvSpPr>
            <a:spLocks/>
          </p:cNvSpPr>
          <p:nvPr/>
        </p:nvSpPr>
        <p:spPr bwMode="auto">
          <a:xfrm rot="20989499">
            <a:off x="4958307" y="-5794277"/>
            <a:ext cx="25304553" cy="25304555"/>
          </a:xfrm>
          <a:custGeom>
            <a:avLst/>
            <a:gdLst>
              <a:gd name="connsiteX0" fmla="*/ 10456427 w 20912854"/>
              <a:gd name="connsiteY0" fmla="*/ 6028864 h 20912855"/>
              <a:gd name="connsiteX1" fmla="*/ 7821943 w 20912854"/>
              <a:gd name="connsiteY1" fmla="*/ 7120044 h 20912855"/>
              <a:gd name="connsiteX2" fmla="*/ 7121444 w 20912854"/>
              <a:gd name="connsiteY2" fmla="*/ 7820837 h 20912855"/>
              <a:gd name="connsiteX3" fmla="*/ 7121444 w 20912854"/>
              <a:gd name="connsiteY3" fmla="*/ 13092017 h 20912855"/>
              <a:gd name="connsiteX4" fmla="*/ 7821943 w 20912854"/>
              <a:gd name="connsiteY4" fmla="*/ 13792810 h 20912855"/>
              <a:gd name="connsiteX5" fmla="*/ 13090911 w 20912854"/>
              <a:gd name="connsiteY5" fmla="*/ 13792810 h 20912855"/>
              <a:gd name="connsiteX6" fmla="*/ 13791410 w 20912854"/>
              <a:gd name="connsiteY6" fmla="*/ 13092017 h 20912855"/>
              <a:gd name="connsiteX7" fmla="*/ 13791410 w 20912854"/>
              <a:gd name="connsiteY7" fmla="*/ 7820837 h 20912855"/>
              <a:gd name="connsiteX8" fmla="*/ 13090911 w 20912854"/>
              <a:gd name="connsiteY8" fmla="*/ 7120044 h 20912855"/>
              <a:gd name="connsiteX9" fmla="*/ 10456427 w 20912854"/>
              <a:gd name="connsiteY9" fmla="*/ 6028864 h 20912855"/>
              <a:gd name="connsiteX10" fmla="*/ 10456427 w 20912854"/>
              <a:gd name="connsiteY10" fmla="*/ 0 h 20912855"/>
              <a:gd name="connsiteX11" fmla="*/ 20912854 w 20912854"/>
              <a:gd name="connsiteY11" fmla="*/ 10456428 h 20912855"/>
              <a:gd name="connsiteX12" fmla="*/ 10456427 w 20912854"/>
              <a:gd name="connsiteY12" fmla="*/ 20912855 h 20912855"/>
              <a:gd name="connsiteX13" fmla="*/ 0 w 20912854"/>
              <a:gd name="connsiteY13" fmla="*/ 10456428 h 20912855"/>
              <a:gd name="connsiteX14" fmla="*/ 10456427 w 20912854"/>
              <a:gd name="connsiteY14" fmla="*/ 0 h 20912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0912854" h="20912855">
                <a:moveTo>
                  <a:pt x="10456427" y="6028864"/>
                </a:moveTo>
                <a:cubicBezTo>
                  <a:pt x="9502759" y="6028864"/>
                  <a:pt x="8549091" y="6392591"/>
                  <a:pt x="7821943" y="7120044"/>
                </a:cubicBezTo>
                <a:cubicBezTo>
                  <a:pt x="7821943" y="7120044"/>
                  <a:pt x="7821943" y="7120044"/>
                  <a:pt x="7121444" y="7820837"/>
                </a:cubicBezTo>
                <a:cubicBezTo>
                  <a:pt x="5667149" y="9275744"/>
                  <a:pt x="5667149" y="11637111"/>
                  <a:pt x="7121444" y="13092017"/>
                </a:cubicBezTo>
                <a:cubicBezTo>
                  <a:pt x="7121444" y="13092017"/>
                  <a:pt x="7121444" y="13092017"/>
                  <a:pt x="7821943" y="13792810"/>
                </a:cubicBezTo>
                <a:cubicBezTo>
                  <a:pt x="9276239" y="15247717"/>
                  <a:pt x="11636615" y="15247717"/>
                  <a:pt x="13090911" y="13792810"/>
                </a:cubicBezTo>
                <a:cubicBezTo>
                  <a:pt x="13090911" y="13792810"/>
                  <a:pt x="13090911" y="13792810"/>
                  <a:pt x="13791410" y="13092017"/>
                </a:cubicBezTo>
                <a:cubicBezTo>
                  <a:pt x="15245706" y="11637111"/>
                  <a:pt x="15245706" y="9275744"/>
                  <a:pt x="13791410" y="7820837"/>
                </a:cubicBezTo>
                <a:cubicBezTo>
                  <a:pt x="13791410" y="7820837"/>
                  <a:pt x="13791410" y="7820837"/>
                  <a:pt x="13090911" y="7120044"/>
                </a:cubicBezTo>
                <a:cubicBezTo>
                  <a:pt x="12363763" y="6392591"/>
                  <a:pt x="11410095" y="6028864"/>
                  <a:pt x="10456427" y="6028864"/>
                </a:cubicBezTo>
                <a:close/>
                <a:moveTo>
                  <a:pt x="10456427" y="0"/>
                </a:moveTo>
                <a:cubicBezTo>
                  <a:pt x="16231352" y="0"/>
                  <a:pt x="20912854" y="4681502"/>
                  <a:pt x="20912854" y="10456428"/>
                </a:cubicBezTo>
                <a:cubicBezTo>
                  <a:pt x="20912854" y="16231352"/>
                  <a:pt x="16231352" y="20912855"/>
                  <a:pt x="10456427" y="20912855"/>
                </a:cubicBezTo>
                <a:cubicBezTo>
                  <a:pt x="4681502" y="20912855"/>
                  <a:pt x="0" y="16231352"/>
                  <a:pt x="0" y="10456428"/>
                </a:cubicBezTo>
                <a:cubicBezTo>
                  <a:pt x="0" y="4681502"/>
                  <a:pt x="4681502" y="0"/>
                  <a:pt x="10456427" y="0"/>
                </a:cubicBezTo>
                <a:close/>
              </a:path>
            </a:pathLst>
          </a:custGeom>
          <a:solidFill>
            <a:schemeClr val="bg2">
              <a:alpha val="70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BF11C7FA-A585-49E4-8246-72E1EAC903BC}"/>
              </a:ext>
            </a:extLst>
          </p:cNvPr>
          <p:cNvSpPr>
            <a:spLocks/>
          </p:cNvSpPr>
          <p:nvPr/>
        </p:nvSpPr>
        <p:spPr bwMode="auto">
          <a:xfrm>
            <a:off x="4045957" y="-6643118"/>
            <a:ext cx="27141943" cy="27141946"/>
          </a:xfrm>
          <a:custGeom>
            <a:avLst/>
            <a:gdLst>
              <a:gd name="connsiteX0" fmla="*/ 10456427 w 20912854"/>
              <a:gd name="connsiteY0" fmla="*/ 6028864 h 20912855"/>
              <a:gd name="connsiteX1" fmla="*/ 7821943 w 20912854"/>
              <a:gd name="connsiteY1" fmla="*/ 7120044 h 20912855"/>
              <a:gd name="connsiteX2" fmla="*/ 7121444 w 20912854"/>
              <a:gd name="connsiteY2" fmla="*/ 7820837 h 20912855"/>
              <a:gd name="connsiteX3" fmla="*/ 7121444 w 20912854"/>
              <a:gd name="connsiteY3" fmla="*/ 13092017 h 20912855"/>
              <a:gd name="connsiteX4" fmla="*/ 7821943 w 20912854"/>
              <a:gd name="connsiteY4" fmla="*/ 13792810 h 20912855"/>
              <a:gd name="connsiteX5" fmla="*/ 13090911 w 20912854"/>
              <a:gd name="connsiteY5" fmla="*/ 13792810 h 20912855"/>
              <a:gd name="connsiteX6" fmla="*/ 13791410 w 20912854"/>
              <a:gd name="connsiteY6" fmla="*/ 13092017 h 20912855"/>
              <a:gd name="connsiteX7" fmla="*/ 13791410 w 20912854"/>
              <a:gd name="connsiteY7" fmla="*/ 7820837 h 20912855"/>
              <a:gd name="connsiteX8" fmla="*/ 13090911 w 20912854"/>
              <a:gd name="connsiteY8" fmla="*/ 7120044 h 20912855"/>
              <a:gd name="connsiteX9" fmla="*/ 10456427 w 20912854"/>
              <a:gd name="connsiteY9" fmla="*/ 6028864 h 20912855"/>
              <a:gd name="connsiteX10" fmla="*/ 10456427 w 20912854"/>
              <a:gd name="connsiteY10" fmla="*/ 0 h 20912855"/>
              <a:gd name="connsiteX11" fmla="*/ 20912854 w 20912854"/>
              <a:gd name="connsiteY11" fmla="*/ 10456428 h 20912855"/>
              <a:gd name="connsiteX12" fmla="*/ 10456427 w 20912854"/>
              <a:gd name="connsiteY12" fmla="*/ 20912855 h 20912855"/>
              <a:gd name="connsiteX13" fmla="*/ 0 w 20912854"/>
              <a:gd name="connsiteY13" fmla="*/ 10456428 h 20912855"/>
              <a:gd name="connsiteX14" fmla="*/ 10456427 w 20912854"/>
              <a:gd name="connsiteY14" fmla="*/ 0 h 20912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0912854" h="20912855">
                <a:moveTo>
                  <a:pt x="10456427" y="6028864"/>
                </a:moveTo>
                <a:cubicBezTo>
                  <a:pt x="9502759" y="6028864"/>
                  <a:pt x="8549091" y="6392591"/>
                  <a:pt x="7821943" y="7120044"/>
                </a:cubicBezTo>
                <a:cubicBezTo>
                  <a:pt x="7821943" y="7120044"/>
                  <a:pt x="7821943" y="7120044"/>
                  <a:pt x="7121444" y="7820837"/>
                </a:cubicBezTo>
                <a:cubicBezTo>
                  <a:pt x="5667149" y="9275744"/>
                  <a:pt x="5667149" y="11637111"/>
                  <a:pt x="7121444" y="13092017"/>
                </a:cubicBezTo>
                <a:cubicBezTo>
                  <a:pt x="7121444" y="13092017"/>
                  <a:pt x="7121444" y="13092017"/>
                  <a:pt x="7821943" y="13792810"/>
                </a:cubicBezTo>
                <a:cubicBezTo>
                  <a:pt x="9276239" y="15247717"/>
                  <a:pt x="11636615" y="15247717"/>
                  <a:pt x="13090911" y="13792810"/>
                </a:cubicBezTo>
                <a:cubicBezTo>
                  <a:pt x="13090911" y="13792810"/>
                  <a:pt x="13090911" y="13792810"/>
                  <a:pt x="13791410" y="13092017"/>
                </a:cubicBezTo>
                <a:cubicBezTo>
                  <a:pt x="15245706" y="11637111"/>
                  <a:pt x="15245706" y="9275744"/>
                  <a:pt x="13791410" y="7820837"/>
                </a:cubicBezTo>
                <a:cubicBezTo>
                  <a:pt x="13791410" y="7820837"/>
                  <a:pt x="13791410" y="7820837"/>
                  <a:pt x="13090911" y="7120044"/>
                </a:cubicBezTo>
                <a:cubicBezTo>
                  <a:pt x="12363763" y="6392591"/>
                  <a:pt x="11410095" y="6028864"/>
                  <a:pt x="10456427" y="6028864"/>
                </a:cubicBezTo>
                <a:close/>
                <a:moveTo>
                  <a:pt x="10456427" y="0"/>
                </a:moveTo>
                <a:cubicBezTo>
                  <a:pt x="16231352" y="0"/>
                  <a:pt x="20912854" y="4681502"/>
                  <a:pt x="20912854" y="10456428"/>
                </a:cubicBezTo>
                <a:cubicBezTo>
                  <a:pt x="20912854" y="16231352"/>
                  <a:pt x="16231352" y="20912855"/>
                  <a:pt x="10456427" y="20912855"/>
                </a:cubicBezTo>
                <a:cubicBezTo>
                  <a:pt x="4681502" y="20912855"/>
                  <a:pt x="0" y="16231352"/>
                  <a:pt x="0" y="10456428"/>
                </a:cubicBezTo>
                <a:cubicBezTo>
                  <a:pt x="0" y="4681502"/>
                  <a:pt x="4681502" y="0"/>
                  <a:pt x="1045642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EDE9287-3BB4-4A10-998D-5D858659E1AC}"/>
              </a:ext>
            </a:extLst>
          </p:cNvPr>
          <p:cNvSpPr txBox="1"/>
          <p:nvPr/>
        </p:nvSpPr>
        <p:spPr>
          <a:xfrm>
            <a:off x="3157199" y="1489297"/>
            <a:ext cx="8348058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0" b="1" dirty="0">
                <a:latin typeface="Futura Md BT" panose="020B0602020204020303" pitchFamily="34" charset="0"/>
              </a:rPr>
              <a:t>The </a:t>
            </a:r>
            <a:br>
              <a:rPr lang="en-US" sz="9000" b="1" dirty="0">
                <a:latin typeface="Futura Md BT" panose="020B0602020204020303" pitchFamily="34" charset="0"/>
              </a:rPr>
            </a:br>
            <a:r>
              <a:rPr lang="en-US" sz="9000" b="1" dirty="0">
                <a:latin typeface="Futura Md BT" panose="020B0602020204020303" pitchFamily="34" charset="0"/>
              </a:rPr>
              <a:t>End Game</a:t>
            </a:r>
          </a:p>
          <a:p>
            <a:endParaRPr lang="en-US" sz="4400" b="1" dirty="0">
              <a:latin typeface="+mj-lt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D9D55555-8E5F-4024-9289-A786602D3FC4}"/>
              </a:ext>
            </a:extLst>
          </p:cNvPr>
          <p:cNvSpPr txBox="1"/>
          <p:nvPr/>
        </p:nvSpPr>
        <p:spPr>
          <a:xfrm>
            <a:off x="3157199" y="4685778"/>
            <a:ext cx="7370124" cy="68941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400" dirty="0">
                <a:latin typeface="FUTURA MEDIUM BT" panose="020B0602020204020303" pitchFamily="34" charset="0"/>
              </a:rPr>
              <a:t>Offer all consumer services for free, subsidized by our data marketplace, allowing Breadcrumbs to become the “Google” of personal data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3400" dirty="0">
              <a:latin typeface="FUTURA MEDIUM BT" panose="020B0602020204020303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400" dirty="0">
                <a:latin typeface="FUTURA MEDIUM BT" panose="020B0602020204020303" pitchFamily="34" charset="0"/>
              </a:rPr>
              <a:t>By creating a consent-based protocol for information exchange, we promise to make the world a more private, transparent, and fair place, while also dominating a $500B per year market.</a:t>
            </a:r>
          </a:p>
        </p:txBody>
      </p:sp>
    </p:spTree>
    <p:extLst>
      <p:ext uri="{BB962C8B-B14F-4D97-AF65-F5344CB8AC3E}">
        <p14:creationId xmlns:p14="http://schemas.microsoft.com/office/powerpoint/2010/main" val="975531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18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57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10" dur="96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2" dur="57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6" grpId="0" animBg="1"/>
      <p:bldP spid="5" grpId="0" animBg="1"/>
      <p:bldP spid="4" grpId="0" animBg="1"/>
      <p:bldP spid="44" grpId="0"/>
      <p:bldP spid="45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6736E1E-8587-EA94-91A8-32112E10C21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422399" y="-906229"/>
            <a:ext cx="26248504" cy="14740762"/>
          </a:xfrm>
          <a:prstGeom prst="rect">
            <a:avLst/>
          </a:prstGeom>
        </p:spPr>
      </p:pic>
      <p:sp>
        <p:nvSpPr>
          <p:cNvPr id="27" name="Freeform 26">
            <a:extLst>
              <a:ext uri="{FF2B5EF4-FFF2-40B4-BE49-F238E27FC236}">
                <a16:creationId xmlns:a16="http://schemas.microsoft.com/office/drawing/2014/main" id="{0E551CD4-5CA7-055E-A7E2-562E3F2FE73D}"/>
              </a:ext>
            </a:extLst>
          </p:cNvPr>
          <p:cNvSpPr/>
          <p:nvPr/>
        </p:nvSpPr>
        <p:spPr>
          <a:xfrm>
            <a:off x="-1953219" y="-152400"/>
            <a:ext cx="3257477" cy="13986933"/>
          </a:xfrm>
          <a:custGeom>
            <a:avLst/>
            <a:gdLst>
              <a:gd name="connsiteX0" fmla="*/ 1 w 3257477"/>
              <a:gd name="connsiteY0" fmla="*/ 0 h 13986933"/>
              <a:gd name="connsiteX1" fmla="*/ 3257477 w 3257477"/>
              <a:gd name="connsiteY1" fmla="*/ 0 h 13986933"/>
              <a:gd name="connsiteX2" fmla="*/ 2179494 w 3257477"/>
              <a:gd name="connsiteY2" fmla="*/ 2935503 h 13986933"/>
              <a:gd name="connsiteX3" fmla="*/ 454290 w 3257477"/>
              <a:gd name="connsiteY3" fmla="*/ 7617257 h 13986933"/>
              <a:gd name="connsiteX4" fmla="*/ 256747 w 3257477"/>
              <a:gd name="connsiteY4" fmla="*/ 12002701 h 13986933"/>
              <a:gd name="connsiteX5" fmla="*/ 1123017 w 3257477"/>
              <a:gd name="connsiteY5" fmla="*/ 13941981 h 13986933"/>
              <a:gd name="connsiteX6" fmla="*/ 1153540 w 3257477"/>
              <a:gd name="connsiteY6" fmla="*/ 13986933 h 13986933"/>
              <a:gd name="connsiteX7" fmla="*/ 1 w 3257477"/>
              <a:gd name="connsiteY7" fmla="*/ 13986933 h 13986933"/>
              <a:gd name="connsiteX8" fmla="*/ 1 w 3257477"/>
              <a:gd name="connsiteY8" fmla="*/ 0 h 13986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57477" h="13986933">
                <a:moveTo>
                  <a:pt x="1" y="0"/>
                </a:moveTo>
                <a:lnTo>
                  <a:pt x="3257477" y="0"/>
                </a:lnTo>
                <a:lnTo>
                  <a:pt x="2179494" y="2935503"/>
                </a:lnTo>
                <a:cubicBezTo>
                  <a:pt x="1606625" y="4496085"/>
                  <a:pt x="1027167" y="6056675"/>
                  <a:pt x="454290" y="7617257"/>
                </a:cubicBezTo>
                <a:cubicBezTo>
                  <a:pt x="-72490" y="9019813"/>
                  <a:pt x="-144919" y="10554055"/>
                  <a:pt x="256747" y="12002701"/>
                </a:cubicBezTo>
                <a:cubicBezTo>
                  <a:pt x="451820" y="12707682"/>
                  <a:pt x="747131" y="13357798"/>
                  <a:pt x="1123017" y="13941981"/>
                </a:cubicBezTo>
                <a:lnTo>
                  <a:pt x="1153540" y="13986933"/>
                </a:lnTo>
                <a:lnTo>
                  <a:pt x="1" y="13986933"/>
                </a:lnTo>
                <a:lnTo>
                  <a:pt x="1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6F7001C3-7E42-84AC-BA95-1DC718CF0ED3}"/>
              </a:ext>
            </a:extLst>
          </p:cNvPr>
          <p:cNvSpPr/>
          <p:nvPr/>
        </p:nvSpPr>
        <p:spPr>
          <a:xfrm>
            <a:off x="1562245" y="-152400"/>
            <a:ext cx="21190270" cy="13986933"/>
          </a:xfrm>
          <a:custGeom>
            <a:avLst/>
            <a:gdLst>
              <a:gd name="connsiteX0" fmla="*/ 4208849 w 21190270"/>
              <a:gd name="connsiteY0" fmla="*/ 0 h 13986933"/>
              <a:gd name="connsiteX1" fmla="*/ 21190270 w 21190270"/>
              <a:gd name="connsiteY1" fmla="*/ 0 h 13986933"/>
              <a:gd name="connsiteX2" fmla="*/ 21190270 w 21190270"/>
              <a:gd name="connsiteY2" fmla="*/ 13986933 h 13986933"/>
              <a:gd name="connsiteX3" fmla="*/ 9454264 w 21190270"/>
              <a:gd name="connsiteY3" fmla="*/ 13986933 h 13986933"/>
              <a:gd name="connsiteX4" fmla="*/ 9471330 w 21190270"/>
              <a:gd name="connsiteY4" fmla="*/ 13962488 h 13986933"/>
              <a:gd name="connsiteX5" fmla="*/ 10542923 w 21190270"/>
              <a:gd name="connsiteY5" fmla="*/ 11080835 h 13986933"/>
              <a:gd name="connsiteX6" fmla="*/ 10556086 w 21190270"/>
              <a:gd name="connsiteY6" fmla="*/ 10922801 h 13986933"/>
              <a:gd name="connsiteX7" fmla="*/ 10556086 w 21190270"/>
              <a:gd name="connsiteY7" fmla="*/ 10903051 h 13986933"/>
              <a:gd name="connsiteX8" fmla="*/ 10463900 w 21190270"/>
              <a:gd name="connsiteY8" fmla="*/ 10810865 h 13986933"/>
              <a:gd name="connsiteX9" fmla="*/ 10213686 w 21190270"/>
              <a:gd name="connsiteY9" fmla="*/ 10810865 h 13986933"/>
              <a:gd name="connsiteX10" fmla="*/ 7178113 w 21190270"/>
              <a:gd name="connsiteY10" fmla="*/ 10810865 h 13986933"/>
              <a:gd name="connsiteX11" fmla="*/ 6980571 w 21190270"/>
              <a:gd name="connsiteY11" fmla="*/ 10962311 h 13986933"/>
              <a:gd name="connsiteX12" fmla="*/ 6960813 w 21190270"/>
              <a:gd name="connsiteY12" fmla="*/ 11054497 h 13986933"/>
              <a:gd name="connsiteX13" fmla="*/ 3470896 w 21190270"/>
              <a:gd name="connsiteY13" fmla="*/ 13662057 h 13986933"/>
              <a:gd name="connsiteX14" fmla="*/ 737 w 21190270"/>
              <a:gd name="connsiteY14" fmla="*/ 10047033 h 13986933"/>
              <a:gd name="connsiteX15" fmla="*/ 3615761 w 21190270"/>
              <a:gd name="connsiteY15" fmla="*/ 6576866 h 13986933"/>
              <a:gd name="connsiteX16" fmla="*/ 6322096 w 21190270"/>
              <a:gd name="connsiteY16" fmla="*/ 7920155 h 13986933"/>
              <a:gd name="connsiteX17" fmla="*/ 6967401 w 21190270"/>
              <a:gd name="connsiteY17" fmla="*/ 9210767 h 13986933"/>
              <a:gd name="connsiteX18" fmla="*/ 7243961 w 21190270"/>
              <a:gd name="connsiteY18" fmla="*/ 9428067 h 13986933"/>
              <a:gd name="connsiteX19" fmla="*/ 8758453 w 21190270"/>
              <a:gd name="connsiteY19" fmla="*/ 9428067 h 13986933"/>
              <a:gd name="connsiteX20" fmla="*/ 8751865 w 21190270"/>
              <a:gd name="connsiteY20" fmla="*/ 9441237 h 13986933"/>
              <a:gd name="connsiteX21" fmla="*/ 10404640 w 21190270"/>
              <a:gd name="connsiteY21" fmla="*/ 9441237 h 13986933"/>
              <a:gd name="connsiteX22" fmla="*/ 10549505 w 21190270"/>
              <a:gd name="connsiteY22" fmla="*/ 9263445 h 13986933"/>
              <a:gd name="connsiteX23" fmla="*/ 10470488 w 21190270"/>
              <a:gd name="connsiteY23" fmla="*/ 8763003 h 13986933"/>
              <a:gd name="connsiteX24" fmla="*/ 7948525 w 21190270"/>
              <a:gd name="connsiteY24" fmla="*/ 4614611 h 13986933"/>
              <a:gd name="connsiteX25" fmla="*/ 3661857 w 21190270"/>
              <a:gd name="connsiteY25" fmla="*/ 3073779 h 13986933"/>
              <a:gd name="connsiteX26" fmla="*/ 2871688 w 21190270"/>
              <a:gd name="connsiteY26" fmla="*/ 3093537 h 13986933"/>
              <a:gd name="connsiteX27" fmla="*/ 2753162 w 21190270"/>
              <a:gd name="connsiteY27" fmla="*/ 2909164 h 13986933"/>
              <a:gd name="connsiteX28" fmla="*/ 2911196 w 21190270"/>
              <a:gd name="connsiteY28" fmla="*/ 2599677 h 13986933"/>
              <a:gd name="connsiteX29" fmla="*/ 4074226 w 21190270"/>
              <a:gd name="connsiteY29" fmla="*/ 268676 h 13986933"/>
              <a:gd name="connsiteX30" fmla="*/ 4208849 w 21190270"/>
              <a:gd name="connsiteY30" fmla="*/ 0 h 13986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21190270" h="13986933">
                <a:moveTo>
                  <a:pt x="4208849" y="0"/>
                </a:moveTo>
                <a:lnTo>
                  <a:pt x="21190270" y="0"/>
                </a:lnTo>
                <a:lnTo>
                  <a:pt x="21190270" y="13986933"/>
                </a:lnTo>
                <a:lnTo>
                  <a:pt x="9454264" y="13986933"/>
                </a:lnTo>
                <a:lnTo>
                  <a:pt x="9471330" y="13962488"/>
                </a:lnTo>
                <a:cubicBezTo>
                  <a:pt x="10022521" y="13109351"/>
                  <a:pt x="10394766" y="12130281"/>
                  <a:pt x="10542923" y="11080835"/>
                </a:cubicBezTo>
                <a:cubicBezTo>
                  <a:pt x="10556086" y="11028157"/>
                  <a:pt x="10556086" y="10975479"/>
                  <a:pt x="10556086" y="10922801"/>
                </a:cubicBezTo>
                <a:cubicBezTo>
                  <a:pt x="10556086" y="10916221"/>
                  <a:pt x="10556086" y="10903051"/>
                  <a:pt x="10556086" y="10903051"/>
                </a:cubicBezTo>
                <a:cubicBezTo>
                  <a:pt x="10556086" y="10850373"/>
                  <a:pt x="10516578" y="10810865"/>
                  <a:pt x="10463900" y="10810865"/>
                </a:cubicBezTo>
                <a:cubicBezTo>
                  <a:pt x="10378301" y="10810865"/>
                  <a:pt x="10299284" y="10810865"/>
                  <a:pt x="10213686" y="10810865"/>
                </a:cubicBezTo>
                <a:lnTo>
                  <a:pt x="7178113" y="10810865"/>
                </a:lnTo>
                <a:cubicBezTo>
                  <a:pt x="7033249" y="10810865"/>
                  <a:pt x="7020079" y="10824033"/>
                  <a:pt x="6980571" y="10962311"/>
                </a:cubicBezTo>
                <a:cubicBezTo>
                  <a:pt x="6973983" y="10995237"/>
                  <a:pt x="6967401" y="11021577"/>
                  <a:pt x="6960813" y="11054497"/>
                </a:cubicBezTo>
                <a:cubicBezTo>
                  <a:pt x="6532808" y="12621667"/>
                  <a:pt x="5090744" y="13694985"/>
                  <a:pt x="3470896" y="13662057"/>
                </a:cubicBezTo>
                <a:cubicBezTo>
                  <a:pt x="1515229" y="13622549"/>
                  <a:pt x="-38772" y="12002701"/>
                  <a:pt x="737" y="10047033"/>
                </a:cubicBezTo>
                <a:cubicBezTo>
                  <a:pt x="40245" y="8091359"/>
                  <a:pt x="1660094" y="6537358"/>
                  <a:pt x="3615761" y="6576866"/>
                </a:cubicBezTo>
                <a:cubicBezTo>
                  <a:pt x="4721999" y="6603205"/>
                  <a:pt x="5624112" y="7064138"/>
                  <a:pt x="6322096" y="7920155"/>
                </a:cubicBezTo>
                <a:cubicBezTo>
                  <a:pt x="6624994" y="8302071"/>
                  <a:pt x="6848876" y="8736665"/>
                  <a:pt x="6967401" y="9210767"/>
                </a:cubicBezTo>
                <a:cubicBezTo>
                  <a:pt x="7026660" y="9428067"/>
                  <a:pt x="7033249" y="9428067"/>
                  <a:pt x="7243961" y="9428067"/>
                </a:cubicBezTo>
                <a:lnTo>
                  <a:pt x="8758453" y="9428067"/>
                </a:lnTo>
                <a:lnTo>
                  <a:pt x="8751865" y="9441237"/>
                </a:lnTo>
                <a:lnTo>
                  <a:pt x="10404640" y="9441237"/>
                </a:lnTo>
                <a:cubicBezTo>
                  <a:pt x="10536335" y="9434647"/>
                  <a:pt x="10569262" y="9401727"/>
                  <a:pt x="10549505" y="9263445"/>
                </a:cubicBezTo>
                <a:cubicBezTo>
                  <a:pt x="10529747" y="9092241"/>
                  <a:pt x="10503415" y="8927625"/>
                  <a:pt x="10470488" y="8763003"/>
                </a:cubicBezTo>
                <a:cubicBezTo>
                  <a:pt x="10121493" y="7083896"/>
                  <a:pt x="9291821" y="5687929"/>
                  <a:pt x="7948525" y="4614611"/>
                </a:cubicBezTo>
                <a:cubicBezTo>
                  <a:pt x="6736932" y="3626898"/>
                  <a:pt x="5222439" y="3086949"/>
                  <a:pt x="3661857" y="3073779"/>
                </a:cubicBezTo>
                <a:cubicBezTo>
                  <a:pt x="3398467" y="3067198"/>
                  <a:pt x="3135078" y="3086949"/>
                  <a:pt x="2871688" y="3093537"/>
                </a:cubicBezTo>
                <a:cubicBezTo>
                  <a:pt x="2713654" y="3100118"/>
                  <a:pt x="2687315" y="3060610"/>
                  <a:pt x="2753162" y="2909164"/>
                </a:cubicBezTo>
                <a:cubicBezTo>
                  <a:pt x="2805840" y="2803808"/>
                  <a:pt x="2858518" y="2705033"/>
                  <a:pt x="2911196" y="2599677"/>
                </a:cubicBezTo>
                <a:cubicBezTo>
                  <a:pt x="3296402" y="1822677"/>
                  <a:pt x="3684902" y="1045676"/>
                  <a:pt x="4074226" y="268676"/>
                </a:cubicBezTo>
                <a:lnTo>
                  <a:pt x="4208849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8D158F7D-9356-67A8-1B08-C0B52DC59883}"/>
              </a:ext>
            </a:extLst>
          </p:cNvPr>
          <p:cNvSpPr/>
          <p:nvPr/>
        </p:nvSpPr>
        <p:spPr>
          <a:xfrm>
            <a:off x="-1946686" y="-6524685"/>
            <a:ext cx="2018037" cy="11908761"/>
          </a:xfrm>
          <a:custGeom>
            <a:avLst/>
            <a:gdLst>
              <a:gd name="connsiteX0" fmla="*/ 952 w 291914"/>
              <a:gd name="connsiteY0" fmla="*/ 1722632 h 1722631"/>
              <a:gd name="connsiteX1" fmla="*/ 952 w 291914"/>
              <a:gd name="connsiteY1" fmla="*/ 1374969 h 1722631"/>
              <a:gd name="connsiteX2" fmla="*/ 952 w 291914"/>
              <a:gd name="connsiteY2" fmla="*/ 1342584 h 1722631"/>
              <a:gd name="connsiteX3" fmla="*/ 3810 w 291914"/>
              <a:gd name="connsiteY3" fmla="*/ 465331 h 1722631"/>
              <a:gd name="connsiteX4" fmla="*/ 3810 w 291914"/>
              <a:gd name="connsiteY4" fmla="*/ 40516 h 1722631"/>
              <a:gd name="connsiteX5" fmla="*/ 48577 w 291914"/>
              <a:gd name="connsiteY5" fmla="*/ 4321 h 1722631"/>
              <a:gd name="connsiteX6" fmla="*/ 271463 w 291914"/>
              <a:gd name="connsiteY6" fmla="*/ 96714 h 1722631"/>
              <a:gd name="connsiteX7" fmla="*/ 290513 w 291914"/>
              <a:gd name="connsiteY7" fmla="*/ 136719 h 1722631"/>
              <a:gd name="connsiteX8" fmla="*/ 211455 w 291914"/>
              <a:gd name="connsiteY8" fmla="*/ 576774 h 1722631"/>
              <a:gd name="connsiteX9" fmla="*/ 122872 w 291914"/>
              <a:gd name="connsiteY9" fmla="*/ 1071122 h 1722631"/>
              <a:gd name="connsiteX10" fmla="*/ 16192 w 291914"/>
              <a:gd name="connsiteY10" fmla="*/ 1664529 h 1722631"/>
              <a:gd name="connsiteX11" fmla="*/ 0 w 291914"/>
              <a:gd name="connsiteY11" fmla="*/ 1720726 h 1722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91914" h="1722631">
                <a:moveTo>
                  <a:pt x="952" y="1722632"/>
                </a:moveTo>
                <a:lnTo>
                  <a:pt x="952" y="1374969"/>
                </a:lnTo>
                <a:cubicBezTo>
                  <a:pt x="952" y="1364491"/>
                  <a:pt x="952" y="1354014"/>
                  <a:pt x="952" y="1342584"/>
                </a:cubicBezTo>
                <a:cubicBezTo>
                  <a:pt x="1905" y="1050166"/>
                  <a:pt x="2858" y="757749"/>
                  <a:pt x="3810" y="465331"/>
                </a:cubicBezTo>
                <a:cubicBezTo>
                  <a:pt x="3810" y="323409"/>
                  <a:pt x="3810" y="182439"/>
                  <a:pt x="3810" y="40516"/>
                </a:cubicBezTo>
                <a:cubicBezTo>
                  <a:pt x="3810" y="-1394"/>
                  <a:pt x="8572" y="-5204"/>
                  <a:pt x="48577" y="4321"/>
                </a:cubicBezTo>
                <a:cubicBezTo>
                  <a:pt x="126683" y="24324"/>
                  <a:pt x="201930" y="54804"/>
                  <a:pt x="271463" y="96714"/>
                </a:cubicBezTo>
                <a:cubicBezTo>
                  <a:pt x="287655" y="103381"/>
                  <a:pt x="295275" y="120527"/>
                  <a:pt x="290513" y="136719"/>
                </a:cubicBezTo>
                <a:cubicBezTo>
                  <a:pt x="262890" y="283404"/>
                  <a:pt x="238125" y="430089"/>
                  <a:pt x="211455" y="576774"/>
                </a:cubicBezTo>
                <a:cubicBezTo>
                  <a:pt x="181927" y="741557"/>
                  <a:pt x="152400" y="906339"/>
                  <a:pt x="122872" y="1071122"/>
                </a:cubicBezTo>
                <a:cubicBezTo>
                  <a:pt x="87630" y="1269241"/>
                  <a:pt x="51435" y="1466409"/>
                  <a:pt x="16192" y="1664529"/>
                </a:cubicBezTo>
                <a:cubicBezTo>
                  <a:pt x="12383" y="1681674"/>
                  <a:pt x="10477" y="1692151"/>
                  <a:pt x="0" y="1720726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3EE38FAB-85DB-7DC3-CA39-3738CF49348C}"/>
              </a:ext>
            </a:extLst>
          </p:cNvPr>
          <p:cNvSpPr/>
          <p:nvPr/>
        </p:nvSpPr>
        <p:spPr>
          <a:xfrm>
            <a:off x="-702172" y="-8231514"/>
            <a:ext cx="3746470" cy="11126555"/>
          </a:xfrm>
          <a:custGeom>
            <a:avLst/>
            <a:gdLst>
              <a:gd name="connsiteX0" fmla="*/ 953 w 541936"/>
              <a:gd name="connsiteY0" fmla="*/ 1608531 h 1609483"/>
              <a:gd name="connsiteX1" fmla="*/ 89535 w 541936"/>
              <a:gd name="connsiteY1" fmla="*/ 1138949 h 1609483"/>
              <a:gd name="connsiteX2" fmla="*/ 224790 w 541936"/>
              <a:gd name="connsiteY2" fmla="*/ 384568 h 1609483"/>
              <a:gd name="connsiteX3" fmla="*/ 285750 w 541936"/>
              <a:gd name="connsiteY3" fmla="*/ 43573 h 1609483"/>
              <a:gd name="connsiteX4" fmla="*/ 342900 w 541936"/>
              <a:gd name="connsiteY4" fmla="*/ 13093 h 1609483"/>
              <a:gd name="connsiteX5" fmla="*/ 521017 w 541936"/>
              <a:gd name="connsiteY5" fmla="*/ 123583 h 1609483"/>
              <a:gd name="connsiteX6" fmla="*/ 535305 w 541936"/>
              <a:gd name="connsiteY6" fmla="*/ 173113 h 1609483"/>
              <a:gd name="connsiteX7" fmla="*/ 456248 w 541936"/>
              <a:gd name="connsiteY7" fmla="*/ 387426 h 1609483"/>
              <a:gd name="connsiteX8" fmla="*/ 200025 w 541936"/>
              <a:gd name="connsiteY8" fmla="*/ 1085608 h 1609483"/>
              <a:gd name="connsiteX9" fmla="*/ 35242 w 541936"/>
              <a:gd name="connsiteY9" fmla="*/ 1530426 h 1609483"/>
              <a:gd name="connsiteX10" fmla="*/ 0 w 541936"/>
              <a:gd name="connsiteY10" fmla="*/ 1609483 h 1609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41936" h="1609483">
                <a:moveTo>
                  <a:pt x="953" y="1608531"/>
                </a:moveTo>
                <a:cubicBezTo>
                  <a:pt x="24765" y="1478038"/>
                  <a:pt x="66675" y="1268488"/>
                  <a:pt x="89535" y="1138949"/>
                </a:cubicBezTo>
                <a:cubicBezTo>
                  <a:pt x="134303" y="887488"/>
                  <a:pt x="180023" y="636028"/>
                  <a:pt x="224790" y="384568"/>
                </a:cubicBezTo>
                <a:cubicBezTo>
                  <a:pt x="244792" y="270268"/>
                  <a:pt x="264795" y="156921"/>
                  <a:pt x="285750" y="43573"/>
                </a:cubicBezTo>
                <a:cubicBezTo>
                  <a:pt x="294323" y="-1194"/>
                  <a:pt x="289560" y="-11672"/>
                  <a:pt x="342900" y="13093"/>
                </a:cubicBezTo>
                <a:cubicBezTo>
                  <a:pt x="406717" y="41668"/>
                  <a:pt x="466725" y="78816"/>
                  <a:pt x="521017" y="123583"/>
                </a:cubicBezTo>
                <a:cubicBezTo>
                  <a:pt x="545783" y="143586"/>
                  <a:pt x="545783" y="144538"/>
                  <a:pt x="535305" y="173113"/>
                </a:cubicBezTo>
                <a:cubicBezTo>
                  <a:pt x="509588" y="244551"/>
                  <a:pt x="482917" y="315988"/>
                  <a:pt x="456248" y="387426"/>
                </a:cubicBezTo>
                <a:cubicBezTo>
                  <a:pt x="370523" y="619836"/>
                  <a:pt x="284798" y="853199"/>
                  <a:pt x="200025" y="1085608"/>
                </a:cubicBezTo>
                <a:cubicBezTo>
                  <a:pt x="145733" y="1234199"/>
                  <a:pt x="90488" y="1382788"/>
                  <a:pt x="35242" y="1530426"/>
                </a:cubicBezTo>
                <a:lnTo>
                  <a:pt x="0" y="1609483"/>
                </a:ln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1">
            <a:extLst>
              <a:ext uri="{FF2B5EF4-FFF2-40B4-BE49-F238E27FC236}">
                <a16:creationId xmlns:a16="http://schemas.microsoft.com/office/drawing/2014/main" id="{B91503F2-DFAC-123C-FB4B-57CEB23A4D9E}"/>
              </a:ext>
            </a:extLst>
          </p:cNvPr>
          <p:cNvSpPr>
            <a:spLocks/>
          </p:cNvSpPr>
          <p:nvPr/>
        </p:nvSpPr>
        <p:spPr bwMode="auto">
          <a:xfrm rot="1800000">
            <a:off x="12544573" y="-14780390"/>
            <a:ext cx="23004139" cy="23004141"/>
          </a:xfrm>
          <a:custGeom>
            <a:avLst/>
            <a:gdLst>
              <a:gd name="connsiteX0" fmla="*/ 10456427 w 20912854"/>
              <a:gd name="connsiteY0" fmla="*/ 6028864 h 20912855"/>
              <a:gd name="connsiteX1" fmla="*/ 7821943 w 20912854"/>
              <a:gd name="connsiteY1" fmla="*/ 7120044 h 20912855"/>
              <a:gd name="connsiteX2" fmla="*/ 7121444 w 20912854"/>
              <a:gd name="connsiteY2" fmla="*/ 7820837 h 20912855"/>
              <a:gd name="connsiteX3" fmla="*/ 7121444 w 20912854"/>
              <a:gd name="connsiteY3" fmla="*/ 13092017 h 20912855"/>
              <a:gd name="connsiteX4" fmla="*/ 7821943 w 20912854"/>
              <a:gd name="connsiteY4" fmla="*/ 13792810 h 20912855"/>
              <a:gd name="connsiteX5" fmla="*/ 13090911 w 20912854"/>
              <a:gd name="connsiteY5" fmla="*/ 13792810 h 20912855"/>
              <a:gd name="connsiteX6" fmla="*/ 13791410 w 20912854"/>
              <a:gd name="connsiteY6" fmla="*/ 13092017 h 20912855"/>
              <a:gd name="connsiteX7" fmla="*/ 13791410 w 20912854"/>
              <a:gd name="connsiteY7" fmla="*/ 7820837 h 20912855"/>
              <a:gd name="connsiteX8" fmla="*/ 13090911 w 20912854"/>
              <a:gd name="connsiteY8" fmla="*/ 7120044 h 20912855"/>
              <a:gd name="connsiteX9" fmla="*/ 10456427 w 20912854"/>
              <a:gd name="connsiteY9" fmla="*/ 6028864 h 20912855"/>
              <a:gd name="connsiteX10" fmla="*/ 10456427 w 20912854"/>
              <a:gd name="connsiteY10" fmla="*/ 0 h 20912855"/>
              <a:gd name="connsiteX11" fmla="*/ 20912854 w 20912854"/>
              <a:gd name="connsiteY11" fmla="*/ 10456428 h 20912855"/>
              <a:gd name="connsiteX12" fmla="*/ 10456427 w 20912854"/>
              <a:gd name="connsiteY12" fmla="*/ 20912855 h 20912855"/>
              <a:gd name="connsiteX13" fmla="*/ 0 w 20912854"/>
              <a:gd name="connsiteY13" fmla="*/ 10456428 h 20912855"/>
              <a:gd name="connsiteX14" fmla="*/ 10456427 w 20912854"/>
              <a:gd name="connsiteY14" fmla="*/ 0 h 20912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0912854" h="20912855">
                <a:moveTo>
                  <a:pt x="10456427" y="6028864"/>
                </a:moveTo>
                <a:cubicBezTo>
                  <a:pt x="9502759" y="6028864"/>
                  <a:pt x="8549091" y="6392591"/>
                  <a:pt x="7821943" y="7120044"/>
                </a:cubicBezTo>
                <a:cubicBezTo>
                  <a:pt x="7821943" y="7120044"/>
                  <a:pt x="7821943" y="7120044"/>
                  <a:pt x="7121444" y="7820837"/>
                </a:cubicBezTo>
                <a:cubicBezTo>
                  <a:pt x="5667149" y="9275744"/>
                  <a:pt x="5667149" y="11637111"/>
                  <a:pt x="7121444" y="13092017"/>
                </a:cubicBezTo>
                <a:cubicBezTo>
                  <a:pt x="7121444" y="13092017"/>
                  <a:pt x="7121444" y="13092017"/>
                  <a:pt x="7821943" y="13792810"/>
                </a:cubicBezTo>
                <a:cubicBezTo>
                  <a:pt x="9276239" y="15247717"/>
                  <a:pt x="11636615" y="15247717"/>
                  <a:pt x="13090911" y="13792810"/>
                </a:cubicBezTo>
                <a:cubicBezTo>
                  <a:pt x="13090911" y="13792810"/>
                  <a:pt x="13090911" y="13792810"/>
                  <a:pt x="13791410" y="13092017"/>
                </a:cubicBezTo>
                <a:cubicBezTo>
                  <a:pt x="15245706" y="11637111"/>
                  <a:pt x="15245706" y="9275744"/>
                  <a:pt x="13791410" y="7820837"/>
                </a:cubicBezTo>
                <a:cubicBezTo>
                  <a:pt x="13791410" y="7820837"/>
                  <a:pt x="13791410" y="7820837"/>
                  <a:pt x="13090911" y="7120044"/>
                </a:cubicBezTo>
                <a:cubicBezTo>
                  <a:pt x="12363763" y="6392591"/>
                  <a:pt x="11410095" y="6028864"/>
                  <a:pt x="10456427" y="6028864"/>
                </a:cubicBezTo>
                <a:close/>
                <a:moveTo>
                  <a:pt x="10456427" y="0"/>
                </a:moveTo>
                <a:cubicBezTo>
                  <a:pt x="16231352" y="0"/>
                  <a:pt x="20912854" y="4681502"/>
                  <a:pt x="20912854" y="10456428"/>
                </a:cubicBezTo>
                <a:cubicBezTo>
                  <a:pt x="20912854" y="16231352"/>
                  <a:pt x="16231352" y="20912855"/>
                  <a:pt x="10456427" y="20912855"/>
                </a:cubicBezTo>
                <a:cubicBezTo>
                  <a:pt x="4681502" y="20912855"/>
                  <a:pt x="0" y="16231352"/>
                  <a:pt x="0" y="10456428"/>
                </a:cubicBezTo>
                <a:cubicBezTo>
                  <a:pt x="0" y="4681502"/>
                  <a:pt x="4681502" y="0"/>
                  <a:pt x="10456427" y="0"/>
                </a:cubicBezTo>
                <a:close/>
              </a:path>
            </a:pathLst>
          </a:custGeom>
          <a:solidFill>
            <a:schemeClr val="accent1">
              <a:alpha val="70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32" name="Freeform: Shape 5">
            <a:extLst>
              <a:ext uri="{FF2B5EF4-FFF2-40B4-BE49-F238E27FC236}">
                <a16:creationId xmlns:a16="http://schemas.microsoft.com/office/drawing/2014/main" id="{D4836254-8260-D7E4-6D35-BD6881EF16C6}"/>
              </a:ext>
            </a:extLst>
          </p:cNvPr>
          <p:cNvSpPr>
            <a:spLocks/>
          </p:cNvSpPr>
          <p:nvPr/>
        </p:nvSpPr>
        <p:spPr bwMode="auto">
          <a:xfrm rot="20700000">
            <a:off x="11887006" y="-15418907"/>
            <a:ext cx="24319273" cy="24319274"/>
          </a:xfrm>
          <a:custGeom>
            <a:avLst/>
            <a:gdLst>
              <a:gd name="connsiteX0" fmla="*/ 10456427 w 20912854"/>
              <a:gd name="connsiteY0" fmla="*/ 6028864 h 20912855"/>
              <a:gd name="connsiteX1" fmla="*/ 7821943 w 20912854"/>
              <a:gd name="connsiteY1" fmla="*/ 7120044 h 20912855"/>
              <a:gd name="connsiteX2" fmla="*/ 7121444 w 20912854"/>
              <a:gd name="connsiteY2" fmla="*/ 7820837 h 20912855"/>
              <a:gd name="connsiteX3" fmla="*/ 7121444 w 20912854"/>
              <a:gd name="connsiteY3" fmla="*/ 13092017 h 20912855"/>
              <a:gd name="connsiteX4" fmla="*/ 7821943 w 20912854"/>
              <a:gd name="connsiteY4" fmla="*/ 13792810 h 20912855"/>
              <a:gd name="connsiteX5" fmla="*/ 13090911 w 20912854"/>
              <a:gd name="connsiteY5" fmla="*/ 13792810 h 20912855"/>
              <a:gd name="connsiteX6" fmla="*/ 13791410 w 20912854"/>
              <a:gd name="connsiteY6" fmla="*/ 13092017 h 20912855"/>
              <a:gd name="connsiteX7" fmla="*/ 13791410 w 20912854"/>
              <a:gd name="connsiteY7" fmla="*/ 7820837 h 20912855"/>
              <a:gd name="connsiteX8" fmla="*/ 13090911 w 20912854"/>
              <a:gd name="connsiteY8" fmla="*/ 7120044 h 20912855"/>
              <a:gd name="connsiteX9" fmla="*/ 10456427 w 20912854"/>
              <a:gd name="connsiteY9" fmla="*/ 6028864 h 20912855"/>
              <a:gd name="connsiteX10" fmla="*/ 10456427 w 20912854"/>
              <a:gd name="connsiteY10" fmla="*/ 0 h 20912855"/>
              <a:gd name="connsiteX11" fmla="*/ 20912854 w 20912854"/>
              <a:gd name="connsiteY11" fmla="*/ 10456428 h 20912855"/>
              <a:gd name="connsiteX12" fmla="*/ 10456427 w 20912854"/>
              <a:gd name="connsiteY12" fmla="*/ 20912855 h 20912855"/>
              <a:gd name="connsiteX13" fmla="*/ 0 w 20912854"/>
              <a:gd name="connsiteY13" fmla="*/ 10456428 h 20912855"/>
              <a:gd name="connsiteX14" fmla="*/ 10456427 w 20912854"/>
              <a:gd name="connsiteY14" fmla="*/ 0 h 20912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0912854" h="20912855">
                <a:moveTo>
                  <a:pt x="10456427" y="6028864"/>
                </a:moveTo>
                <a:cubicBezTo>
                  <a:pt x="9502759" y="6028864"/>
                  <a:pt x="8549091" y="6392591"/>
                  <a:pt x="7821943" y="7120044"/>
                </a:cubicBezTo>
                <a:cubicBezTo>
                  <a:pt x="7821943" y="7120044"/>
                  <a:pt x="7821943" y="7120044"/>
                  <a:pt x="7121444" y="7820837"/>
                </a:cubicBezTo>
                <a:cubicBezTo>
                  <a:pt x="5667149" y="9275744"/>
                  <a:pt x="5667149" y="11637111"/>
                  <a:pt x="7121444" y="13092017"/>
                </a:cubicBezTo>
                <a:cubicBezTo>
                  <a:pt x="7121444" y="13092017"/>
                  <a:pt x="7121444" y="13092017"/>
                  <a:pt x="7821943" y="13792810"/>
                </a:cubicBezTo>
                <a:cubicBezTo>
                  <a:pt x="9276239" y="15247717"/>
                  <a:pt x="11636615" y="15247717"/>
                  <a:pt x="13090911" y="13792810"/>
                </a:cubicBezTo>
                <a:cubicBezTo>
                  <a:pt x="13090911" y="13792810"/>
                  <a:pt x="13090911" y="13792810"/>
                  <a:pt x="13791410" y="13092017"/>
                </a:cubicBezTo>
                <a:cubicBezTo>
                  <a:pt x="15245706" y="11637111"/>
                  <a:pt x="15245706" y="9275744"/>
                  <a:pt x="13791410" y="7820837"/>
                </a:cubicBezTo>
                <a:cubicBezTo>
                  <a:pt x="13791410" y="7820837"/>
                  <a:pt x="13791410" y="7820837"/>
                  <a:pt x="13090911" y="7120044"/>
                </a:cubicBezTo>
                <a:cubicBezTo>
                  <a:pt x="12363763" y="6392591"/>
                  <a:pt x="11410095" y="6028864"/>
                  <a:pt x="10456427" y="6028864"/>
                </a:cubicBezTo>
                <a:close/>
                <a:moveTo>
                  <a:pt x="10456427" y="0"/>
                </a:moveTo>
                <a:cubicBezTo>
                  <a:pt x="16231352" y="0"/>
                  <a:pt x="20912854" y="4681502"/>
                  <a:pt x="20912854" y="10456428"/>
                </a:cubicBezTo>
                <a:cubicBezTo>
                  <a:pt x="20912854" y="16231352"/>
                  <a:pt x="16231352" y="20912855"/>
                  <a:pt x="10456427" y="20912855"/>
                </a:cubicBezTo>
                <a:cubicBezTo>
                  <a:pt x="4681502" y="20912855"/>
                  <a:pt x="0" y="16231352"/>
                  <a:pt x="0" y="10456428"/>
                </a:cubicBezTo>
                <a:cubicBezTo>
                  <a:pt x="0" y="4681502"/>
                  <a:pt x="4681502" y="0"/>
                  <a:pt x="10456427" y="0"/>
                </a:cubicBezTo>
                <a:close/>
              </a:path>
            </a:pathLst>
          </a:custGeom>
          <a:solidFill>
            <a:schemeClr val="accent4">
              <a:alpha val="70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33" name="Freeform: Shape 4">
            <a:extLst>
              <a:ext uri="{FF2B5EF4-FFF2-40B4-BE49-F238E27FC236}">
                <a16:creationId xmlns:a16="http://schemas.microsoft.com/office/drawing/2014/main" id="{280FC0E3-C2B6-6FAC-7532-3AEDB7E17431}"/>
              </a:ext>
            </a:extLst>
          </p:cNvPr>
          <p:cNvSpPr>
            <a:spLocks/>
          </p:cNvSpPr>
          <p:nvPr/>
        </p:nvSpPr>
        <p:spPr bwMode="auto">
          <a:xfrm rot="20989499">
            <a:off x="11394366" y="-15911547"/>
            <a:ext cx="25304553" cy="25304555"/>
          </a:xfrm>
          <a:custGeom>
            <a:avLst/>
            <a:gdLst>
              <a:gd name="connsiteX0" fmla="*/ 10456427 w 20912854"/>
              <a:gd name="connsiteY0" fmla="*/ 6028864 h 20912855"/>
              <a:gd name="connsiteX1" fmla="*/ 7821943 w 20912854"/>
              <a:gd name="connsiteY1" fmla="*/ 7120044 h 20912855"/>
              <a:gd name="connsiteX2" fmla="*/ 7121444 w 20912854"/>
              <a:gd name="connsiteY2" fmla="*/ 7820837 h 20912855"/>
              <a:gd name="connsiteX3" fmla="*/ 7121444 w 20912854"/>
              <a:gd name="connsiteY3" fmla="*/ 13092017 h 20912855"/>
              <a:gd name="connsiteX4" fmla="*/ 7821943 w 20912854"/>
              <a:gd name="connsiteY4" fmla="*/ 13792810 h 20912855"/>
              <a:gd name="connsiteX5" fmla="*/ 13090911 w 20912854"/>
              <a:gd name="connsiteY5" fmla="*/ 13792810 h 20912855"/>
              <a:gd name="connsiteX6" fmla="*/ 13791410 w 20912854"/>
              <a:gd name="connsiteY6" fmla="*/ 13092017 h 20912855"/>
              <a:gd name="connsiteX7" fmla="*/ 13791410 w 20912854"/>
              <a:gd name="connsiteY7" fmla="*/ 7820837 h 20912855"/>
              <a:gd name="connsiteX8" fmla="*/ 13090911 w 20912854"/>
              <a:gd name="connsiteY8" fmla="*/ 7120044 h 20912855"/>
              <a:gd name="connsiteX9" fmla="*/ 10456427 w 20912854"/>
              <a:gd name="connsiteY9" fmla="*/ 6028864 h 20912855"/>
              <a:gd name="connsiteX10" fmla="*/ 10456427 w 20912854"/>
              <a:gd name="connsiteY10" fmla="*/ 0 h 20912855"/>
              <a:gd name="connsiteX11" fmla="*/ 20912854 w 20912854"/>
              <a:gd name="connsiteY11" fmla="*/ 10456428 h 20912855"/>
              <a:gd name="connsiteX12" fmla="*/ 10456427 w 20912854"/>
              <a:gd name="connsiteY12" fmla="*/ 20912855 h 20912855"/>
              <a:gd name="connsiteX13" fmla="*/ 0 w 20912854"/>
              <a:gd name="connsiteY13" fmla="*/ 10456428 h 20912855"/>
              <a:gd name="connsiteX14" fmla="*/ 10456427 w 20912854"/>
              <a:gd name="connsiteY14" fmla="*/ 0 h 20912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0912854" h="20912855">
                <a:moveTo>
                  <a:pt x="10456427" y="6028864"/>
                </a:moveTo>
                <a:cubicBezTo>
                  <a:pt x="9502759" y="6028864"/>
                  <a:pt x="8549091" y="6392591"/>
                  <a:pt x="7821943" y="7120044"/>
                </a:cubicBezTo>
                <a:cubicBezTo>
                  <a:pt x="7821943" y="7120044"/>
                  <a:pt x="7821943" y="7120044"/>
                  <a:pt x="7121444" y="7820837"/>
                </a:cubicBezTo>
                <a:cubicBezTo>
                  <a:pt x="5667149" y="9275744"/>
                  <a:pt x="5667149" y="11637111"/>
                  <a:pt x="7121444" y="13092017"/>
                </a:cubicBezTo>
                <a:cubicBezTo>
                  <a:pt x="7121444" y="13092017"/>
                  <a:pt x="7121444" y="13092017"/>
                  <a:pt x="7821943" y="13792810"/>
                </a:cubicBezTo>
                <a:cubicBezTo>
                  <a:pt x="9276239" y="15247717"/>
                  <a:pt x="11636615" y="15247717"/>
                  <a:pt x="13090911" y="13792810"/>
                </a:cubicBezTo>
                <a:cubicBezTo>
                  <a:pt x="13090911" y="13792810"/>
                  <a:pt x="13090911" y="13792810"/>
                  <a:pt x="13791410" y="13092017"/>
                </a:cubicBezTo>
                <a:cubicBezTo>
                  <a:pt x="15245706" y="11637111"/>
                  <a:pt x="15245706" y="9275744"/>
                  <a:pt x="13791410" y="7820837"/>
                </a:cubicBezTo>
                <a:cubicBezTo>
                  <a:pt x="13791410" y="7820837"/>
                  <a:pt x="13791410" y="7820837"/>
                  <a:pt x="13090911" y="7120044"/>
                </a:cubicBezTo>
                <a:cubicBezTo>
                  <a:pt x="12363763" y="6392591"/>
                  <a:pt x="11410095" y="6028864"/>
                  <a:pt x="10456427" y="6028864"/>
                </a:cubicBezTo>
                <a:close/>
                <a:moveTo>
                  <a:pt x="10456427" y="0"/>
                </a:moveTo>
                <a:cubicBezTo>
                  <a:pt x="16231352" y="0"/>
                  <a:pt x="20912854" y="4681502"/>
                  <a:pt x="20912854" y="10456428"/>
                </a:cubicBezTo>
                <a:cubicBezTo>
                  <a:pt x="20912854" y="16231352"/>
                  <a:pt x="16231352" y="20912855"/>
                  <a:pt x="10456427" y="20912855"/>
                </a:cubicBezTo>
                <a:cubicBezTo>
                  <a:pt x="4681502" y="20912855"/>
                  <a:pt x="0" y="16231352"/>
                  <a:pt x="0" y="10456428"/>
                </a:cubicBezTo>
                <a:cubicBezTo>
                  <a:pt x="0" y="4681502"/>
                  <a:pt x="4681502" y="0"/>
                  <a:pt x="10456427" y="0"/>
                </a:cubicBezTo>
                <a:close/>
              </a:path>
            </a:pathLst>
          </a:custGeom>
          <a:solidFill>
            <a:schemeClr val="bg2">
              <a:alpha val="70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34" name="Freeform: Shape 3">
            <a:extLst>
              <a:ext uri="{FF2B5EF4-FFF2-40B4-BE49-F238E27FC236}">
                <a16:creationId xmlns:a16="http://schemas.microsoft.com/office/drawing/2014/main" id="{8F1F7B28-3329-4BC0-463A-46566CB57E99}"/>
              </a:ext>
            </a:extLst>
          </p:cNvPr>
          <p:cNvSpPr>
            <a:spLocks/>
          </p:cNvSpPr>
          <p:nvPr/>
        </p:nvSpPr>
        <p:spPr bwMode="auto">
          <a:xfrm>
            <a:off x="10482016" y="-16760388"/>
            <a:ext cx="27141943" cy="27141946"/>
          </a:xfrm>
          <a:custGeom>
            <a:avLst/>
            <a:gdLst>
              <a:gd name="connsiteX0" fmla="*/ 10456427 w 20912854"/>
              <a:gd name="connsiteY0" fmla="*/ 6028864 h 20912855"/>
              <a:gd name="connsiteX1" fmla="*/ 7821943 w 20912854"/>
              <a:gd name="connsiteY1" fmla="*/ 7120044 h 20912855"/>
              <a:gd name="connsiteX2" fmla="*/ 7121444 w 20912854"/>
              <a:gd name="connsiteY2" fmla="*/ 7820837 h 20912855"/>
              <a:gd name="connsiteX3" fmla="*/ 7121444 w 20912854"/>
              <a:gd name="connsiteY3" fmla="*/ 13092017 h 20912855"/>
              <a:gd name="connsiteX4" fmla="*/ 7821943 w 20912854"/>
              <a:gd name="connsiteY4" fmla="*/ 13792810 h 20912855"/>
              <a:gd name="connsiteX5" fmla="*/ 13090911 w 20912854"/>
              <a:gd name="connsiteY5" fmla="*/ 13792810 h 20912855"/>
              <a:gd name="connsiteX6" fmla="*/ 13791410 w 20912854"/>
              <a:gd name="connsiteY6" fmla="*/ 13092017 h 20912855"/>
              <a:gd name="connsiteX7" fmla="*/ 13791410 w 20912854"/>
              <a:gd name="connsiteY7" fmla="*/ 7820837 h 20912855"/>
              <a:gd name="connsiteX8" fmla="*/ 13090911 w 20912854"/>
              <a:gd name="connsiteY8" fmla="*/ 7120044 h 20912855"/>
              <a:gd name="connsiteX9" fmla="*/ 10456427 w 20912854"/>
              <a:gd name="connsiteY9" fmla="*/ 6028864 h 20912855"/>
              <a:gd name="connsiteX10" fmla="*/ 10456427 w 20912854"/>
              <a:gd name="connsiteY10" fmla="*/ 0 h 20912855"/>
              <a:gd name="connsiteX11" fmla="*/ 20912854 w 20912854"/>
              <a:gd name="connsiteY11" fmla="*/ 10456428 h 20912855"/>
              <a:gd name="connsiteX12" fmla="*/ 10456427 w 20912854"/>
              <a:gd name="connsiteY12" fmla="*/ 20912855 h 20912855"/>
              <a:gd name="connsiteX13" fmla="*/ 0 w 20912854"/>
              <a:gd name="connsiteY13" fmla="*/ 10456428 h 20912855"/>
              <a:gd name="connsiteX14" fmla="*/ 10456427 w 20912854"/>
              <a:gd name="connsiteY14" fmla="*/ 0 h 20912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0912854" h="20912855">
                <a:moveTo>
                  <a:pt x="10456427" y="6028864"/>
                </a:moveTo>
                <a:cubicBezTo>
                  <a:pt x="9502759" y="6028864"/>
                  <a:pt x="8549091" y="6392591"/>
                  <a:pt x="7821943" y="7120044"/>
                </a:cubicBezTo>
                <a:cubicBezTo>
                  <a:pt x="7821943" y="7120044"/>
                  <a:pt x="7821943" y="7120044"/>
                  <a:pt x="7121444" y="7820837"/>
                </a:cubicBezTo>
                <a:cubicBezTo>
                  <a:pt x="5667149" y="9275744"/>
                  <a:pt x="5667149" y="11637111"/>
                  <a:pt x="7121444" y="13092017"/>
                </a:cubicBezTo>
                <a:cubicBezTo>
                  <a:pt x="7121444" y="13092017"/>
                  <a:pt x="7121444" y="13092017"/>
                  <a:pt x="7821943" y="13792810"/>
                </a:cubicBezTo>
                <a:cubicBezTo>
                  <a:pt x="9276239" y="15247717"/>
                  <a:pt x="11636615" y="15247717"/>
                  <a:pt x="13090911" y="13792810"/>
                </a:cubicBezTo>
                <a:cubicBezTo>
                  <a:pt x="13090911" y="13792810"/>
                  <a:pt x="13090911" y="13792810"/>
                  <a:pt x="13791410" y="13092017"/>
                </a:cubicBezTo>
                <a:cubicBezTo>
                  <a:pt x="15245706" y="11637111"/>
                  <a:pt x="15245706" y="9275744"/>
                  <a:pt x="13791410" y="7820837"/>
                </a:cubicBezTo>
                <a:cubicBezTo>
                  <a:pt x="13791410" y="7820837"/>
                  <a:pt x="13791410" y="7820837"/>
                  <a:pt x="13090911" y="7120044"/>
                </a:cubicBezTo>
                <a:cubicBezTo>
                  <a:pt x="12363763" y="6392591"/>
                  <a:pt x="11410095" y="6028864"/>
                  <a:pt x="10456427" y="6028864"/>
                </a:cubicBezTo>
                <a:close/>
                <a:moveTo>
                  <a:pt x="10456427" y="0"/>
                </a:moveTo>
                <a:cubicBezTo>
                  <a:pt x="16231352" y="0"/>
                  <a:pt x="20912854" y="4681502"/>
                  <a:pt x="20912854" y="10456428"/>
                </a:cubicBezTo>
                <a:cubicBezTo>
                  <a:pt x="20912854" y="16231352"/>
                  <a:pt x="16231352" y="20912855"/>
                  <a:pt x="10456427" y="20912855"/>
                </a:cubicBezTo>
                <a:cubicBezTo>
                  <a:pt x="4681502" y="20912855"/>
                  <a:pt x="0" y="16231352"/>
                  <a:pt x="0" y="10456428"/>
                </a:cubicBezTo>
                <a:cubicBezTo>
                  <a:pt x="0" y="4681502"/>
                  <a:pt x="4681502" y="0"/>
                  <a:pt x="1045642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8C4DDCA-D556-874D-CB22-AC415A40AACE}"/>
              </a:ext>
            </a:extLst>
          </p:cNvPr>
          <p:cNvSpPr txBox="1"/>
          <p:nvPr/>
        </p:nvSpPr>
        <p:spPr>
          <a:xfrm>
            <a:off x="13368492" y="1282199"/>
            <a:ext cx="13263569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0" b="1" dirty="0">
                <a:latin typeface="Futura Md BT" panose="020B0602020204020303" pitchFamily="34" charset="0"/>
              </a:rPr>
              <a:t>Let's Work</a:t>
            </a:r>
          </a:p>
          <a:p>
            <a:r>
              <a:rPr lang="en-US" sz="9000" b="1" dirty="0">
                <a:latin typeface="Futura Md BT" panose="020B0602020204020303" pitchFamily="34" charset="0"/>
              </a:rPr>
              <a:t>Together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82C4BD48-AE43-4234-791F-C33C12756A7E}"/>
              </a:ext>
            </a:extLst>
          </p:cNvPr>
          <p:cNvSpPr txBox="1"/>
          <p:nvPr/>
        </p:nvSpPr>
        <p:spPr>
          <a:xfrm>
            <a:off x="13339917" y="4479716"/>
            <a:ext cx="9412598" cy="7417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400" dirty="0">
                <a:latin typeface="FUTURA MEDIUM BT" panose="020B0602020204020303" pitchFamily="34" charset="0"/>
              </a:rPr>
              <a:t>We're seeking partnerships to expand Breadcrumbs as quickly as possible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3400" dirty="0">
              <a:latin typeface="FUTURA MEDIUM BT" panose="020B0602020204020303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400" dirty="0">
                <a:latin typeface="FUTURA MEDIUM BT" panose="020B0602020204020303" pitchFamily="34" charset="0"/>
              </a:rPr>
              <a:t>We're raising a Seed Round of up to $3M for up to 15% equity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3400" dirty="0">
              <a:latin typeface="FUTURA MEDIUM BT" panose="020B0602020204020303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400" dirty="0">
                <a:latin typeface="FUTURA MEDIUM BT" panose="020B0602020204020303" pitchFamily="34" charset="0"/>
              </a:rPr>
              <a:t>With each new user we bring on, we acquire thousands of additional breadcrumbs, daily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3400" dirty="0">
              <a:latin typeface="FUTURA MEDIUM BT" panose="020B0602020204020303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400" dirty="0">
                <a:latin typeface="FUTURA MEDIUM BT" panose="020B0602020204020303" pitchFamily="34" charset="0"/>
              </a:rPr>
              <a:t>With seed funding, we will quickly achieve "critical mass" regarding the amount of data we can market, making it effectively impossible for competitors to catch up.</a:t>
            </a:r>
          </a:p>
        </p:txBody>
      </p:sp>
      <p:sp>
        <p:nvSpPr>
          <p:cNvPr id="9" name="Rectangle: Rounded Corners 18">
            <a:extLst>
              <a:ext uri="{FF2B5EF4-FFF2-40B4-BE49-F238E27FC236}">
                <a16:creationId xmlns:a16="http://schemas.microsoft.com/office/drawing/2014/main" id="{F319753E-2C15-FF6A-DBBA-338773F83129}"/>
              </a:ext>
            </a:extLst>
          </p:cNvPr>
          <p:cNvSpPr/>
          <p:nvPr/>
        </p:nvSpPr>
        <p:spPr>
          <a:xfrm rot="5400000">
            <a:off x="-26803038" y="14861946"/>
            <a:ext cx="19290843" cy="19290843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  <a:effectLst>
            <a:outerShdw blurRad="685800" sx="102000" sy="102000" algn="ctr" rotWithShape="0">
              <a:schemeClr val="accent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0" name="Rectangle: Rounded Corners 18">
            <a:extLst>
              <a:ext uri="{FF2B5EF4-FFF2-40B4-BE49-F238E27FC236}">
                <a16:creationId xmlns:a16="http://schemas.microsoft.com/office/drawing/2014/main" id="{84AEA84F-E007-D591-E407-F9320944AC20}"/>
              </a:ext>
            </a:extLst>
          </p:cNvPr>
          <p:cNvSpPr/>
          <p:nvPr/>
        </p:nvSpPr>
        <p:spPr>
          <a:xfrm rot="5400000">
            <a:off x="25758144" y="-19056204"/>
            <a:ext cx="19290843" cy="19290843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  <a:effectLst>
            <a:outerShdw blurRad="685800" sx="102000" sy="102000" algn="ctr" rotWithShape="0">
              <a:schemeClr val="accent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44840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18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57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10" dur="96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2" dur="57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32" grpId="0" animBg="1"/>
      <p:bldP spid="33" grpId="0" animBg="1"/>
      <p:bldP spid="34" grpId="0" animBg="1"/>
      <p:bldP spid="35" grpId="0"/>
      <p:bldP spid="36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B350CE3-2344-2417-1EF3-689B73B9D313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25643" y="0"/>
            <a:ext cx="25406801" cy="1422115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3F79A68-E8FA-A972-FF52-7FBF3E32CAB8}"/>
              </a:ext>
            </a:extLst>
          </p:cNvPr>
          <p:cNvSpPr txBox="1"/>
          <p:nvPr/>
        </p:nvSpPr>
        <p:spPr>
          <a:xfrm>
            <a:off x="5871480" y="5888503"/>
            <a:ext cx="12644213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0" b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190500" dist="38100" dir="5400000" sx="103000" sy="103000" algn="t" rotWithShape="0">
                    <a:srgbClr val="377DFF">
                      <a:lumMod val="50000"/>
                      <a:alpha val="53000"/>
                    </a:srgbClr>
                  </a:outerShdw>
                </a:effectLst>
                <a:uLnTx/>
                <a:uFillTx/>
                <a:latin typeface="Futura Md BT" panose="020B0602020204020303" pitchFamily="34" charset="0"/>
              </a:rPr>
              <a:t>The Future</a:t>
            </a:r>
          </a:p>
        </p:txBody>
      </p:sp>
      <p:sp>
        <p:nvSpPr>
          <p:cNvPr id="7" name="Rectangle: Rounded Corners 18">
            <a:extLst>
              <a:ext uri="{FF2B5EF4-FFF2-40B4-BE49-F238E27FC236}">
                <a16:creationId xmlns:a16="http://schemas.microsoft.com/office/drawing/2014/main" id="{120685FD-DC06-EC7B-FAB3-8B81D4AA830E}"/>
              </a:ext>
            </a:extLst>
          </p:cNvPr>
          <p:cNvSpPr/>
          <p:nvPr/>
        </p:nvSpPr>
        <p:spPr>
          <a:xfrm rot="5400000">
            <a:off x="-15314917" y="7939655"/>
            <a:ext cx="19290843" cy="19290843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  <a:effectLst>
            <a:outerShdw blurRad="685800" sx="102000" sy="102000" algn="ctr" rotWithShape="0">
              <a:schemeClr val="accent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" name="Rectangle: Rounded Corners 18">
            <a:extLst>
              <a:ext uri="{FF2B5EF4-FFF2-40B4-BE49-F238E27FC236}">
                <a16:creationId xmlns:a16="http://schemas.microsoft.com/office/drawing/2014/main" id="{7417A9A2-D473-EBB4-C896-628E029A4158}"/>
              </a:ext>
            </a:extLst>
          </p:cNvPr>
          <p:cNvSpPr/>
          <p:nvPr/>
        </p:nvSpPr>
        <p:spPr>
          <a:xfrm rot="5400000">
            <a:off x="18221918" y="-11980040"/>
            <a:ext cx="19290843" cy="19290843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  <a:effectLst>
            <a:outerShdw blurRad="685800" sx="102000" sy="102000" algn="ctr" rotWithShape="0">
              <a:schemeClr val="accent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1313BD6-DBD1-15A7-2D0C-25E33FD7D0B3}"/>
              </a:ext>
            </a:extLst>
          </p:cNvPr>
          <p:cNvSpPr txBox="1">
            <a:spLocks/>
          </p:cNvSpPr>
          <p:nvPr/>
        </p:nvSpPr>
        <p:spPr>
          <a:xfrm>
            <a:off x="23408916" y="8877743"/>
            <a:ext cx="324565" cy="582761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2400" b="1" smtClean="0">
                <a:solidFill>
                  <a:schemeClr val="bg1"/>
                </a:solidFill>
                <a:latin typeface="+mj-lt"/>
              </a:rPr>
              <a:pPr algn="ctr"/>
              <a:t>32</a:t>
            </a:fld>
            <a:endParaRPr lang="en-US" sz="1400" b="1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47F1FAD1-D751-CBC7-DB9B-6F5D5AC3661C}"/>
              </a:ext>
            </a:extLst>
          </p:cNvPr>
          <p:cNvGrpSpPr/>
          <p:nvPr/>
        </p:nvGrpSpPr>
        <p:grpSpPr>
          <a:xfrm>
            <a:off x="23332870" y="446240"/>
            <a:ext cx="476655" cy="337457"/>
            <a:chOff x="6167336" y="2130357"/>
            <a:chExt cx="476655" cy="337457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7FCDD0E-D169-2CE3-1F6C-582B69A9B50B}"/>
                </a:ext>
              </a:extLst>
            </p:cNvPr>
            <p:cNvCxnSpPr/>
            <p:nvPr userDrawn="1"/>
          </p:nvCxnSpPr>
          <p:spPr>
            <a:xfrm>
              <a:off x="6167336" y="2130357"/>
              <a:ext cx="4766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0DC4B0DA-F858-14F4-15FA-B6EE248980FA}"/>
                </a:ext>
              </a:extLst>
            </p:cNvPr>
            <p:cNvCxnSpPr/>
            <p:nvPr userDrawn="1"/>
          </p:nvCxnSpPr>
          <p:spPr>
            <a:xfrm>
              <a:off x="6167336" y="2299086"/>
              <a:ext cx="4766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1BBA54EC-8458-7063-F2DC-8BB833BDFD5B}"/>
                </a:ext>
              </a:extLst>
            </p:cNvPr>
            <p:cNvCxnSpPr/>
            <p:nvPr userDrawn="1"/>
          </p:nvCxnSpPr>
          <p:spPr>
            <a:xfrm>
              <a:off x="6167336" y="2467814"/>
              <a:ext cx="4766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64767AB-7861-C877-DFD6-27EFEB1A738C}"/>
              </a:ext>
            </a:extLst>
          </p:cNvPr>
          <p:cNvGrpSpPr/>
          <p:nvPr/>
        </p:nvGrpSpPr>
        <p:grpSpPr>
          <a:xfrm>
            <a:off x="23519785" y="12234167"/>
            <a:ext cx="102824" cy="698136"/>
            <a:chOff x="729638" y="739163"/>
            <a:chExt cx="102824" cy="698136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03B137FC-99AF-C403-440E-FFC183BF28C6}"/>
                </a:ext>
              </a:extLst>
            </p:cNvPr>
            <p:cNvSpPr/>
            <p:nvPr userDrawn="1"/>
          </p:nvSpPr>
          <p:spPr>
            <a:xfrm>
              <a:off x="729638" y="739163"/>
              <a:ext cx="102824" cy="10282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7AE2A176-5E70-46A1-22CF-F36937613756}"/>
                </a:ext>
              </a:extLst>
            </p:cNvPr>
            <p:cNvSpPr/>
            <p:nvPr userDrawn="1"/>
          </p:nvSpPr>
          <p:spPr>
            <a:xfrm>
              <a:off x="729638" y="1036819"/>
              <a:ext cx="102824" cy="10282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424339E-55B4-FF56-3694-7C129590812B}"/>
                </a:ext>
              </a:extLst>
            </p:cNvPr>
            <p:cNvSpPr/>
            <p:nvPr userDrawn="1"/>
          </p:nvSpPr>
          <p:spPr>
            <a:xfrm>
              <a:off x="729638" y="1334475"/>
              <a:ext cx="102824" cy="10282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1" name="Graphic 29">
            <a:extLst>
              <a:ext uri="{FF2B5EF4-FFF2-40B4-BE49-F238E27FC236}">
                <a16:creationId xmlns:a16="http://schemas.microsoft.com/office/drawing/2014/main" id="{8E4EA0A5-57AB-79F2-FC0F-CEFACE17B661}"/>
              </a:ext>
            </a:extLst>
          </p:cNvPr>
          <p:cNvGrpSpPr/>
          <p:nvPr/>
        </p:nvGrpSpPr>
        <p:grpSpPr>
          <a:xfrm>
            <a:off x="631422" y="446240"/>
            <a:ext cx="589131" cy="1104816"/>
            <a:chOff x="1502100" y="653619"/>
            <a:chExt cx="2035484" cy="3817207"/>
          </a:xfrm>
          <a:solidFill>
            <a:schemeClr val="bg1"/>
          </a:solidFill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0438E4FB-538F-7818-25F0-85AFDC1CDF8F}"/>
                </a:ext>
              </a:extLst>
            </p:cNvPr>
            <p:cNvSpPr/>
            <p:nvPr/>
          </p:nvSpPr>
          <p:spPr>
            <a:xfrm>
              <a:off x="1502100" y="653619"/>
              <a:ext cx="2035484" cy="3817207"/>
            </a:xfrm>
            <a:custGeom>
              <a:avLst/>
              <a:gdLst>
                <a:gd name="connsiteX0" fmla="*/ 1775452 w 2035484"/>
                <a:gd name="connsiteY0" fmla="*/ 2695942 h 3817207"/>
                <a:gd name="connsiteX1" fmla="*/ 1556377 w 2035484"/>
                <a:gd name="connsiteY1" fmla="*/ 2695942 h 3817207"/>
                <a:gd name="connsiteX2" fmla="*/ 1516372 w 2035484"/>
                <a:gd name="connsiteY2" fmla="*/ 2664509 h 3817207"/>
                <a:gd name="connsiteX3" fmla="*/ 1423027 w 2035484"/>
                <a:gd name="connsiteY3" fmla="*/ 2477819 h 3817207"/>
                <a:gd name="connsiteX4" fmla="*/ 1031549 w 2035484"/>
                <a:gd name="connsiteY4" fmla="*/ 2283509 h 3817207"/>
                <a:gd name="connsiteX5" fmla="*/ 508627 w 2035484"/>
                <a:gd name="connsiteY5" fmla="*/ 2785477 h 3817207"/>
                <a:gd name="connsiteX6" fmla="*/ 1010594 w 2035484"/>
                <a:gd name="connsiteY6" fmla="*/ 3308399 h 3817207"/>
                <a:gd name="connsiteX7" fmla="*/ 1515419 w 2035484"/>
                <a:gd name="connsiteY7" fmla="*/ 2931209 h 3817207"/>
                <a:gd name="connsiteX8" fmla="*/ 1518277 w 2035484"/>
                <a:gd name="connsiteY8" fmla="*/ 2917874 h 3817207"/>
                <a:gd name="connsiteX9" fmla="*/ 1546852 w 2035484"/>
                <a:gd name="connsiteY9" fmla="*/ 2895967 h 3817207"/>
                <a:gd name="connsiteX10" fmla="*/ 1985955 w 2035484"/>
                <a:gd name="connsiteY10" fmla="*/ 2895967 h 3817207"/>
                <a:gd name="connsiteX11" fmla="*/ 2022149 w 2035484"/>
                <a:gd name="connsiteY11" fmla="*/ 2895967 h 3817207"/>
                <a:gd name="connsiteX12" fmla="*/ 2035484 w 2035484"/>
                <a:gd name="connsiteY12" fmla="*/ 2909302 h 3817207"/>
                <a:gd name="connsiteX13" fmla="*/ 2035484 w 2035484"/>
                <a:gd name="connsiteY13" fmla="*/ 2912159 h 3817207"/>
                <a:gd name="connsiteX14" fmla="*/ 2033580 w 2035484"/>
                <a:gd name="connsiteY14" fmla="*/ 2935019 h 3817207"/>
                <a:gd name="connsiteX15" fmla="*/ 1294440 w 2035484"/>
                <a:gd name="connsiteY15" fmla="*/ 3779887 h 3817207"/>
                <a:gd name="connsiteX16" fmla="*/ 37139 w 2035484"/>
                <a:gd name="connsiteY16" fmla="*/ 3068369 h 3817207"/>
                <a:gd name="connsiteX17" fmla="*/ 65714 w 2035484"/>
                <a:gd name="connsiteY17" fmla="*/ 2434004 h 3817207"/>
                <a:gd name="connsiteX18" fmla="*/ 315269 w 2035484"/>
                <a:gd name="connsiteY18" fmla="*/ 1756777 h 3817207"/>
                <a:gd name="connsiteX19" fmla="*/ 944872 w 2035484"/>
                <a:gd name="connsiteY19" fmla="*/ 42277 h 3817207"/>
                <a:gd name="connsiteX20" fmla="*/ 1009642 w 2035484"/>
                <a:gd name="connsiteY20" fmla="*/ 20369 h 3817207"/>
                <a:gd name="connsiteX21" fmla="*/ 1340159 w 2035484"/>
                <a:gd name="connsiteY21" fmla="*/ 531862 h 3817207"/>
                <a:gd name="connsiteX22" fmla="*/ 1266817 w 2035484"/>
                <a:gd name="connsiteY22" fmla="*/ 1033829 h 3817207"/>
                <a:gd name="connsiteX23" fmla="*/ 929632 w 2035484"/>
                <a:gd name="connsiteY23" fmla="*/ 1708199 h 3817207"/>
                <a:gd name="connsiteX24" fmla="*/ 906772 w 2035484"/>
                <a:gd name="connsiteY24" fmla="*/ 1752967 h 3817207"/>
                <a:gd name="connsiteX25" fmla="*/ 923917 w 2035484"/>
                <a:gd name="connsiteY25" fmla="*/ 1779637 h 3817207"/>
                <a:gd name="connsiteX26" fmla="*/ 1038217 w 2035484"/>
                <a:gd name="connsiteY26" fmla="*/ 1776779 h 3817207"/>
                <a:gd name="connsiteX27" fmla="*/ 1658294 w 2035484"/>
                <a:gd name="connsiteY27" fmla="*/ 1999664 h 3817207"/>
                <a:gd name="connsiteX28" fmla="*/ 2023102 w 2035484"/>
                <a:gd name="connsiteY28" fmla="*/ 2599739 h 3817207"/>
                <a:gd name="connsiteX29" fmla="*/ 2034532 w 2035484"/>
                <a:gd name="connsiteY29" fmla="*/ 2672129 h 3817207"/>
                <a:gd name="connsiteX30" fmla="*/ 2013577 w 2035484"/>
                <a:gd name="connsiteY30" fmla="*/ 2697847 h 3817207"/>
                <a:gd name="connsiteX31" fmla="*/ 1774499 w 2035484"/>
                <a:gd name="connsiteY31" fmla="*/ 2697847 h 3817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035484" h="3817207">
                  <a:moveTo>
                    <a:pt x="1775452" y="2695942"/>
                  </a:moveTo>
                  <a:lnTo>
                    <a:pt x="1556377" y="2695942"/>
                  </a:lnTo>
                  <a:cubicBezTo>
                    <a:pt x="1525897" y="2695942"/>
                    <a:pt x="1524944" y="2695942"/>
                    <a:pt x="1516372" y="2664509"/>
                  </a:cubicBezTo>
                  <a:cubicBezTo>
                    <a:pt x="1499227" y="2595929"/>
                    <a:pt x="1466842" y="2533064"/>
                    <a:pt x="1423027" y="2477819"/>
                  </a:cubicBezTo>
                  <a:cubicBezTo>
                    <a:pt x="1322062" y="2353994"/>
                    <a:pt x="1191569" y="2287319"/>
                    <a:pt x="1031549" y="2283509"/>
                  </a:cubicBezTo>
                  <a:cubicBezTo>
                    <a:pt x="748657" y="2277794"/>
                    <a:pt x="514342" y="2502584"/>
                    <a:pt x="508627" y="2785477"/>
                  </a:cubicBezTo>
                  <a:cubicBezTo>
                    <a:pt x="502912" y="3068369"/>
                    <a:pt x="727702" y="3302684"/>
                    <a:pt x="1010594" y="3308399"/>
                  </a:cubicBezTo>
                  <a:cubicBezTo>
                    <a:pt x="1244909" y="3313162"/>
                    <a:pt x="1453507" y="3157904"/>
                    <a:pt x="1515419" y="2931209"/>
                  </a:cubicBezTo>
                  <a:cubicBezTo>
                    <a:pt x="1516372" y="2926447"/>
                    <a:pt x="1517324" y="2922637"/>
                    <a:pt x="1518277" y="2917874"/>
                  </a:cubicBezTo>
                  <a:cubicBezTo>
                    <a:pt x="1523992" y="2897872"/>
                    <a:pt x="1525897" y="2895967"/>
                    <a:pt x="1546852" y="2895967"/>
                  </a:cubicBezTo>
                  <a:lnTo>
                    <a:pt x="1985955" y="2895967"/>
                  </a:lnTo>
                  <a:cubicBezTo>
                    <a:pt x="1998337" y="2895967"/>
                    <a:pt x="2009767" y="2895967"/>
                    <a:pt x="2022149" y="2895967"/>
                  </a:cubicBezTo>
                  <a:cubicBezTo>
                    <a:pt x="2029769" y="2895967"/>
                    <a:pt x="2035484" y="2901682"/>
                    <a:pt x="2035484" y="2909302"/>
                  </a:cubicBezTo>
                  <a:cubicBezTo>
                    <a:pt x="2035484" y="2909302"/>
                    <a:pt x="2035484" y="2911207"/>
                    <a:pt x="2035484" y="2912159"/>
                  </a:cubicBezTo>
                  <a:cubicBezTo>
                    <a:pt x="2035484" y="2919779"/>
                    <a:pt x="2035484" y="2927399"/>
                    <a:pt x="2033580" y="2935019"/>
                  </a:cubicBezTo>
                  <a:cubicBezTo>
                    <a:pt x="1976430" y="3339832"/>
                    <a:pt x="1688774" y="3672254"/>
                    <a:pt x="1294440" y="3779887"/>
                  </a:cubicBezTo>
                  <a:cubicBezTo>
                    <a:pt x="750562" y="3930382"/>
                    <a:pt x="187634" y="3612247"/>
                    <a:pt x="37139" y="3068369"/>
                  </a:cubicBezTo>
                  <a:cubicBezTo>
                    <a:pt x="-20963" y="2858819"/>
                    <a:pt x="-10486" y="2636887"/>
                    <a:pt x="65714" y="2434004"/>
                  </a:cubicBezTo>
                  <a:cubicBezTo>
                    <a:pt x="148582" y="2208262"/>
                    <a:pt x="232402" y="1982519"/>
                    <a:pt x="315269" y="1756777"/>
                  </a:cubicBezTo>
                  <a:cubicBezTo>
                    <a:pt x="524819" y="1185277"/>
                    <a:pt x="735322" y="613777"/>
                    <a:pt x="944872" y="42277"/>
                  </a:cubicBezTo>
                  <a:cubicBezTo>
                    <a:pt x="963922" y="-9158"/>
                    <a:pt x="965827" y="-10111"/>
                    <a:pt x="1009642" y="20369"/>
                  </a:cubicBezTo>
                  <a:cubicBezTo>
                    <a:pt x="1189665" y="146099"/>
                    <a:pt x="1301107" y="316597"/>
                    <a:pt x="1340159" y="531862"/>
                  </a:cubicBezTo>
                  <a:cubicBezTo>
                    <a:pt x="1372544" y="702359"/>
                    <a:pt x="1346827" y="879524"/>
                    <a:pt x="1266817" y="1033829"/>
                  </a:cubicBezTo>
                  <a:cubicBezTo>
                    <a:pt x="1154422" y="1258619"/>
                    <a:pt x="1041074" y="1483409"/>
                    <a:pt x="929632" y="1708199"/>
                  </a:cubicBezTo>
                  <a:cubicBezTo>
                    <a:pt x="922012" y="1723439"/>
                    <a:pt x="914392" y="1737727"/>
                    <a:pt x="906772" y="1752967"/>
                  </a:cubicBezTo>
                  <a:cubicBezTo>
                    <a:pt x="897247" y="1774874"/>
                    <a:pt x="901057" y="1780589"/>
                    <a:pt x="923917" y="1779637"/>
                  </a:cubicBezTo>
                  <a:cubicBezTo>
                    <a:pt x="962017" y="1778684"/>
                    <a:pt x="1000117" y="1775827"/>
                    <a:pt x="1038217" y="1776779"/>
                  </a:cubicBezTo>
                  <a:cubicBezTo>
                    <a:pt x="1263959" y="1778684"/>
                    <a:pt x="1483034" y="1856789"/>
                    <a:pt x="1658294" y="1999664"/>
                  </a:cubicBezTo>
                  <a:cubicBezTo>
                    <a:pt x="1852605" y="2154922"/>
                    <a:pt x="1972619" y="2356852"/>
                    <a:pt x="2023102" y="2599739"/>
                  </a:cubicBezTo>
                  <a:cubicBezTo>
                    <a:pt x="2027865" y="2623552"/>
                    <a:pt x="2031674" y="2647364"/>
                    <a:pt x="2034532" y="2672129"/>
                  </a:cubicBezTo>
                  <a:cubicBezTo>
                    <a:pt x="2037390" y="2692132"/>
                    <a:pt x="2032627" y="2696894"/>
                    <a:pt x="2013577" y="2697847"/>
                  </a:cubicBezTo>
                  <a:lnTo>
                    <a:pt x="1774499" y="269784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F784731C-C1F4-4B4A-AF70-F653442D9E49}"/>
                </a:ext>
              </a:extLst>
            </p:cNvPr>
            <p:cNvSpPr/>
            <p:nvPr/>
          </p:nvSpPr>
          <p:spPr>
            <a:xfrm>
              <a:off x="1503045" y="1064002"/>
              <a:ext cx="291914" cy="1722631"/>
            </a:xfrm>
            <a:custGeom>
              <a:avLst/>
              <a:gdLst>
                <a:gd name="connsiteX0" fmla="*/ 952 w 291914"/>
                <a:gd name="connsiteY0" fmla="*/ 1722632 h 1722631"/>
                <a:gd name="connsiteX1" fmla="*/ 952 w 291914"/>
                <a:gd name="connsiteY1" fmla="*/ 1374969 h 1722631"/>
                <a:gd name="connsiteX2" fmla="*/ 952 w 291914"/>
                <a:gd name="connsiteY2" fmla="*/ 1342584 h 1722631"/>
                <a:gd name="connsiteX3" fmla="*/ 3810 w 291914"/>
                <a:gd name="connsiteY3" fmla="*/ 465331 h 1722631"/>
                <a:gd name="connsiteX4" fmla="*/ 3810 w 291914"/>
                <a:gd name="connsiteY4" fmla="*/ 40516 h 1722631"/>
                <a:gd name="connsiteX5" fmla="*/ 48577 w 291914"/>
                <a:gd name="connsiteY5" fmla="*/ 4321 h 1722631"/>
                <a:gd name="connsiteX6" fmla="*/ 271463 w 291914"/>
                <a:gd name="connsiteY6" fmla="*/ 96714 h 1722631"/>
                <a:gd name="connsiteX7" fmla="*/ 290513 w 291914"/>
                <a:gd name="connsiteY7" fmla="*/ 136719 h 1722631"/>
                <a:gd name="connsiteX8" fmla="*/ 211455 w 291914"/>
                <a:gd name="connsiteY8" fmla="*/ 576774 h 1722631"/>
                <a:gd name="connsiteX9" fmla="*/ 122872 w 291914"/>
                <a:gd name="connsiteY9" fmla="*/ 1071122 h 1722631"/>
                <a:gd name="connsiteX10" fmla="*/ 16192 w 291914"/>
                <a:gd name="connsiteY10" fmla="*/ 1664529 h 1722631"/>
                <a:gd name="connsiteX11" fmla="*/ 0 w 291914"/>
                <a:gd name="connsiteY11" fmla="*/ 1720726 h 1722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1914" h="1722631">
                  <a:moveTo>
                    <a:pt x="952" y="1722632"/>
                  </a:moveTo>
                  <a:lnTo>
                    <a:pt x="952" y="1374969"/>
                  </a:lnTo>
                  <a:cubicBezTo>
                    <a:pt x="952" y="1364491"/>
                    <a:pt x="952" y="1354014"/>
                    <a:pt x="952" y="1342584"/>
                  </a:cubicBezTo>
                  <a:cubicBezTo>
                    <a:pt x="1905" y="1050166"/>
                    <a:pt x="2858" y="757749"/>
                    <a:pt x="3810" y="465331"/>
                  </a:cubicBezTo>
                  <a:cubicBezTo>
                    <a:pt x="3810" y="323409"/>
                    <a:pt x="3810" y="182439"/>
                    <a:pt x="3810" y="40516"/>
                  </a:cubicBezTo>
                  <a:cubicBezTo>
                    <a:pt x="3810" y="-1394"/>
                    <a:pt x="8572" y="-5204"/>
                    <a:pt x="48577" y="4321"/>
                  </a:cubicBezTo>
                  <a:cubicBezTo>
                    <a:pt x="126683" y="24324"/>
                    <a:pt x="201930" y="54804"/>
                    <a:pt x="271463" y="96714"/>
                  </a:cubicBezTo>
                  <a:cubicBezTo>
                    <a:pt x="287655" y="103381"/>
                    <a:pt x="295275" y="120527"/>
                    <a:pt x="290513" y="136719"/>
                  </a:cubicBezTo>
                  <a:cubicBezTo>
                    <a:pt x="262890" y="283404"/>
                    <a:pt x="238125" y="430089"/>
                    <a:pt x="211455" y="576774"/>
                  </a:cubicBezTo>
                  <a:cubicBezTo>
                    <a:pt x="181927" y="741557"/>
                    <a:pt x="152400" y="906339"/>
                    <a:pt x="122872" y="1071122"/>
                  </a:cubicBezTo>
                  <a:cubicBezTo>
                    <a:pt x="87630" y="1269241"/>
                    <a:pt x="51435" y="1466409"/>
                    <a:pt x="16192" y="1664529"/>
                  </a:cubicBezTo>
                  <a:cubicBezTo>
                    <a:pt x="12383" y="1681674"/>
                    <a:pt x="10477" y="1692151"/>
                    <a:pt x="0" y="17207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C44AAED8-F098-A50A-6FA6-E288F565366E}"/>
                </a:ext>
              </a:extLst>
            </p:cNvPr>
            <p:cNvSpPr/>
            <p:nvPr/>
          </p:nvSpPr>
          <p:spPr>
            <a:xfrm>
              <a:off x="1683067" y="817105"/>
              <a:ext cx="541936" cy="1609483"/>
            </a:xfrm>
            <a:custGeom>
              <a:avLst/>
              <a:gdLst>
                <a:gd name="connsiteX0" fmla="*/ 953 w 541936"/>
                <a:gd name="connsiteY0" fmla="*/ 1608531 h 1609483"/>
                <a:gd name="connsiteX1" fmla="*/ 89535 w 541936"/>
                <a:gd name="connsiteY1" fmla="*/ 1138949 h 1609483"/>
                <a:gd name="connsiteX2" fmla="*/ 224790 w 541936"/>
                <a:gd name="connsiteY2" fmla="*/ 384568 h 1609483"/>
                <a:gd name="connsiteX3" fmla="*/ 285750 w 541936"/>
                <a:gd name="connsiteY3" fmla="*/ 43573 h 1609483"/>
                <a:gd name="connsiteX4" fmla="*/ 342900 w 541936"/>
                <a:gd name="connsiteY4" fmla="*/ 13093 h 1609483"/>
                <a:gd name="connsiteX5" fmla="*/ 521017 w 541936"/>
                <a:gd name="connsiteY5" fmla="*/ 123583 h 1609483"/>
                <a:gd name="connsiteX6" fmla="*/ 535305 w 541936"/>
                <a:gd name="connsiteY6" fmla="*/ 173113 h 1609483"/>
                <a:gd name="connsiteX7" fmla="*/ 456248 w 541936"/>
                <a:gd name="connsiteY7" fmla="*/ 387426 h 1609483"/>
                <a:gd name="connsiteX8" fmla="*/ 200025 w 541936"/>
                <a:gd name="connsiteY8" fmla="*/ 1085608 h 1609483"/>
                <a:gd name="connsiteX9" fmla="*/ 35242 w 541936"/>
                <a:gd name="connsiteY9" fmla="*/ 1530426 h 1609483"/>
                <a:gd name="connsiteX10" fmla="*/ 0 w 541936"/>
                <a:gd name="connsiteY10" fmla="*/ 1609483 h 1609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1936" h="1609483">
                  <a:moveTo>
                    <a:pt x="953" y="1608531"/>
                  </a:moveTo>
                  <a:cubicBezTo>
                    <a:pt x="24765" y="1478038"/>
                    <a:pt x="66675" y="1268488"/>
                    <a:pt x="89535" y="1138949"/>
                  </a:cubicBezTo>
                  <a:cubicBezTo>
                    <a:pt x="134303" y="887488"/>
                    <a:pt x="180023" y="636028"/>
                    <a:pt x="224790" y="384568"/>
                  </a:cubicBezTo>
                  <a:cubicBezTo>
                    <a:pt x="244792" y="270268"/>
                    <a:pt x="264795" y="156921"/>
                    <a:pt x="285750" y="43573"/>
                  </a:cubicBezTo>
                  <a:cubicBezTo>
                    <a:pt x="294323" y="-1194"/>
                    <a:pt x="289560" y="-11672"/>
                    <a:pt x="342900" y="13093"/>
                  </a:cubicBezTo>
                  <a:cubicBezTo>
                    <a:pt x="406717" y="41668"/>
                    <a:pt x="466725" y="78816"/>
                    <a:pt x="521017" y="123583"/>
                  </a:cubicBezTo>
                  <a:cubicBezTo>
                    <a:pt x="545783" y="143586"/>
                    <a:pt x="545783" y="144538"/>
                    <a:pt x="535305" y="173113"/>
                  </a:cubicBezTo>
                  <a:cubicBezTo>
                    <a:pt x="509588" y="244551"/>
                    <a:pt x="482917" y="315988"/>
                    <a:pt x="456248" y="387426"/>
                  </a:cubicBezTo>
                  <a:cubicBezTo>
                    <a:pt x="370523" y="619836"/>
                    <a:pt x="284798" y="853199"/>
                    <a:pt x="200025" y="1085608"/>
                  </a:cubicBezTo>
                  <a:cubicBezTo>
                    <a:pt x="145733" y="1234199"/>
                    <a:pt x="90488" y="1382788"/>
                    <a:pt x="35242" y="1530426"/>
                  </a:cubicBezTo>
                  <a:lnTo>
                    <a:pt x="0" y="16094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975EF046-14CB-7718-B62D-540A272670C9}"/>
              </a:ext>
            </a:extLst>
          </p:cNvPr>
          <p:cNvSpPr txBox="1"/>
          <p:nvPr/>
        </p:nvSpPr>
        <p:spPr>
          <a:xfrm rot="16200000">
            <a:off x="-1444725" y="5332504"/>
            <a:ext cx="462952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3200" b="1" dirty="0" err="1">
                <a:solidFill>
                  <a:schemeClr val="bg1"/>
                </a:solidFill>
              </a:rPr>
              <a:t>breadcrumbsdata.com</a:t>
            </a:r>
            <a:endParaRPr lang="en-US" sz="3200" b="1" dirty="0">
              <a:solidFill>
                <a:schemeClr val="bg1"/>
              </a:solidFill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2C3C6E37-8215-4991-B997-5C428778A712}"/>
              </a:ext>
            </a:extLst>
          </p:cNvPr>
          <p:cNvGrpSpPr/>
          <p:nvPr/>
        </p:nvGrpSpPr>
        <p:grpSpPr>
          <a:xfrm>
            <a:off x="9769513" y="4433926"/>
            <a:ext cx="4848149" cy="4848149"/>
            <a:chOff x="9989883" y="4654296"/>
            <a:chExt cx="4407408" cy="4407408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BF3805DA-C095-552D-20C0-304EF352D1AE}"/>
                </a:ext>
              </a:extLst>
            </p:cNvPr>
            <p:cNvSpPr/>
            <p:nvPr/>
          </p:nvSpPr>
          <p:spPr>
            <a:xfrm>
              <a:off x="9989883" y="4654296"/>
              <a:ext cx="4407408" cy="440740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Arc 30">
              <a:extLst>
                <a:ext uri="{FF2B5EF4-FFF2-40B4-BE49-F238E27FC236}">
                  <a16:creationId xmlns:a16="http://schemas.microsoft.com/office/drawing/2014/main" id="{197314AC-69B2-4797-CEF2-D60505014FD4}"/>
                </a:ext>
              </a:extLst>
            </p:cNvPr>
            <p:cNvSpPr/>
            <p:nvPr/>
          </p:nvSpPr>
          <p:spPr>
            <a:xfrm>
              <a:off x="9991545" y="4654296"/>
              <a:ext cx="4405746" cy="4405746"/>
            </a:xfrm>
            <a:prstGeom prst="arc">
              <a:avLst>
                <a:gd name="adj1" fmla="val 16200000"/>
                <a:gd name="adj2" fmla="val 20775565"/>
              </a:avLst>
            </a:prstGeom>
            <a:ln w="50800">
              <a:gradFill flip="none" rotWithShape="1">
                <a:gsLst>
                  <a:gs pos="23000">
                    <a:schemeClr val="bg2"/>
                  </a:gs>
                  <a:gs pos="100000">
                    <a:schemeClr val="bg1"/>
                  </a:gs>
                </a:gsLst>
                <a:lin ang="0" scaled="1"/>
                <a:tileRect/>
              </a:gra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B1704C6B-6EBF-02C6-F63F-F4B8BC50BB1D}"/>
              </a:ext>
            </a:extLst>
          </p:cNvPr>
          <p:cNvGrpSpPr/>
          <p:nvPr/>
        </p:nvGrpSpPr>
        <p:grpSpPr>
          <a:xfrm rot="15300000" flipH="1">
            <a:off x="9527105" y="4191518"/>
            <a:ext cx="5332964" cy="5332964"/>
            <a:chOff x="9989883" y="4654296"/>
            <a:chExt cx="4407408" cy="4407408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40FA6939-9355-8424-CC4B-CC6A3F638E32}"/>
                </a:ext>
              </a:extLst>
            </p:cNvPr>
            <p:cNvSpPr/>
            <p:nvPr/>
          </p:nvSpPr>
          <p:spPr>
            <a:xfrm>
              <a:off x="9989883" y="4654296"/>
              <a:ext cx="4407408" cy="440740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Arc 33">
              <a:extLst>
                <a:ext uri="{FF2B5EF4-FFF2-40B4-BE49-F238E27FC236}">
                  <a16:creationId xmlns:a16="http://schemas.microsoft.com/office/drawing/2014/main" id="{143569BA-DBE3-938B-0B26-685C06C7E511}"/>
                </a:ext>
              </a:extLst>
            </p:cNvPr>
            <p:cNvSpPr/>
            <p:nvPr/>
          </p:nvSpPr>
          <p:spPr>
            <a:xfrm>
              <a:off x="9991545" y="4654296"/>
              <a:ext cx="4405746" cy="4405746"/>
            </a:xfrm>
            <a:prstGeom prst="arc">
              <a:avLst>
                <a:gd name="adj1" fmla="val 16200000"/>
                <a:gd name="adj2" fmla="val 20775565"/>
              </a:avLst>
            </a:prstGeom>
            <a:ln w="44450">
              <a:gradFill flip="none" rotWithShape="1">
                <a:gsLst>
                  <a:gs pos="23000">
                    <a:schemeClr val="bg2"/>
                  </a:gs>
                  <a:gs pos="99000">
                    <a:schemeClr val="bg1"/>
                  </a:gs>
                </a:gsLst>
                <a:lin ang="0" scaled="1"/>
                <a:tileRect/>
              </a:gra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D7B8AC2-FBEE-1428-488C-188B51247715}"/>
              </a:ext>
            </a:extLst>
          </p:cNvPr>
          <p:cNvGrpSpPr/>
          <p:nvPr/>
        </p:nvGrpSpPr>
        <p:grpSpPr>
          <a:xfrm>
            <a:off x="9260457" y="3924870"/>
            <a:ext cx="5866260" cy="5866260"/>
            <a:chOff x="9989883" y="4654296"/>
            <a:chExt cx="4407408" cy="4407408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CD94F535-7A60-B133-3994-691171FE0B42}"/>
                </a:ext>
              </a:extLst>
            </p:cNvPr>
            <p:cNvSpPr/>
            <p:nvPr/>
          </p:nvSpPr>
          <p:spPr>
            <a:xfrm>
              <a:off x="9989883" y="4654296"/>
              <a:ext cx="4407408" cy="440740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Arc 36">
              <a:extLst>
                <a:ext uri="{FF2B5EF4-FFF2-40B4-BE49-F238E27FC236}">
                  <a16:creationId xmlns:a16="http://schemas.microsoft.com/office/drawing/2014/main" id="{B7F4D192-FADC-2238-4FC0-FF713E61DFF6}"/>
                </a:ext>
              </a:extLst>
            </p:cNvPr>
            <p:cNvSpPr/>
            <p:nvPr/>
          </p:nvSpPr>
          <p:spPr>
            <a:xfrm>
              <a:off x="9991545" y="4654296"/>
              <a:ext cx="4405746" cy="4405746"/>
            </a:xfrm>
            <a:prstGeom prst="arc">
              <a:avLst>
                <a:gd name="adj1" fmla="val 1000099"/>
                <a:gd name="adj2" fmla="val 7299557"/>
              </a:avLst>
            </a:prstGeom>
            <a:ln w="44450">
              <a:gradFill flip="none" rotWithShape="1">
                <a:gsLst>
                  <a:gs pos="0">
                    <a:schemeClr val="bg2"/>
                  </a:gs>
                  <a:gs pos="48000">
                    <a:schemeClr val="bg1"/>
                  </a:gs>
                </a:gsLst>
                <a:lin ang="10800000" scaled="1"/>
                <a:tileRect/>
              </a:gra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Rectangle: Rounded Corners 20">
            <a:extLst>
              <a:ext uri="{FF2B5EF4-FFF2-40B4-BE49-F238E27FC236}">
                <a16:creationId xmlns:a16="http://schemas.microsoft.com/office/drawing/2014/main" id="{9B97D807-2122-AC0A-8255-598A07E49785}"/>
              </a:ext>
            </a:extLst>
          </p:cNvPr>
          <p:cNvSpPr/>
          <p:nvPr/>
        </p:nvSpPr>
        <p:spPr>
          <a:xfrm rot="2700000">
            <a:off x="33668018" y="5917442"/>
            <a:ext cx="1571681" cy="1543617"/>
          </a:xfrm>
          <a:prstGeom prst="roundRect">
            <a:avLst>
              <a:gd name="adj" fmla="val 42623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blurRad="685800" sx="102000" sy="102000" algn="ctr" rotWithShape="0">
              <a:schemeClr val="accent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89742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iterate type="lt">
                                    <p:tmPct val="15625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9" dur="2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0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11" dur="2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2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3" dur="2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8" dur="15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3" grpId="0" animBg="1"/>
      <p:bldP spid="3" grpId="1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E05CCCB-8555-305A-A340-A0F868755625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25643" y="0"/>
            <a:ext cx="25406801" cy="1422115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3F79A68-E8FA-A972-FF52-7FBF3E32CAB8}"/>
              </a:ext>
            </a:extLst>
          </p:cNvPr>
          <p:cNvSpPr txBox="1"/>
          <p:nvPr/>
        </p:nvSpPr>
        <p:spPr>
          <a:xfrm>
            <a:off x="5871480" y="5888503"/>
            <a:ext cx="12644213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0" b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190500" dist="38100" dir="5400000" sx="103000" sy="103000" algn="t" rotWithShape="0">
                    <a:srgbClr val="377DFF">
                      <a:lumMod val="50000"/>
                      <a:alpha val="53000"/>
                    </a:srgbClr>
                  </a:outerShdw>
                </a:effectLst>
                <a:uLnTx/>
                <a:uFillTx/>
                <a:latin typeface="Futura Md BT" panose="020B0602020204020303" pitchFamily="34" charset="0"/>
              </a:rPr>
              <a:t>The Future</a:t>
            </a:r>
          </a:p>
        </p:txBody>
      </p:sp>
      <p:sp>
        <p:nvSpPr>
          <p:cNvPr id="7" name="Rectangle: Rounded Corners 18">
            <a:extLst>
              <a:ext uri="{FF2B5EF4-FFF2-40B4-BE49-F238E27FC236}">
                <a16:creationId xmlns:a16="http://schemas.microsoft.com/office/drawing/2014/main" id="{120685FD-DC06-EC7B-FAB3-8B81D4AA830E}"/>
              </a:ext>
            </a:extLst>
          </p:cNvPr>
          <p:cNvSpPr/>
          <p:nvPr/>
        </p:nvSpPr>
        <p:spPr>
          <a:xfrm rot="5400000">
            <a:off x="29873098" y="7939655"/>
            <a:ext cx="19290843" cy="19290843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  <a:effectLst>
            <a:outerShdw blurRad="685800" sx="102000" sy="102000" algn="ctr" rotWithShape="0">
              <a:schemeClr val="accent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" name="Rectangle: Rounded Corners 18">
            <a:extLst>
              <a:ext uri="{FF2B5EF4-FFF2-40B4-BE49-F238E27FC236}">
                <a16:creationId xmlns:a16="http://schemas.microsoft.com/office/drawing/2014/main" id="{7417A9A2-D473-EBB4-C896-628E029A4158}"/>
              </a:ext>
            </a:extLst>
          </p:cNvPr>
          <p:cNvSpPr/>
          <p:nvPr/>
        </p:nvSpPr>
        <p:spPr>
          <a:xfrm rot="5400000">
            <a:off x="-26051521" y="-11980040"/>
            <a:ext cx="19290843" cy="19290843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  <a:effectLst>
            <a:outerShdw blurRad="685800" sx="102000" sy="102000" algn="ctr" rotWithShape="0">
              <a:schemeClr val="accent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1313BD6-DBD1-15A7-2D0C-25E33FD7D0B3}"/>
              </a:ext>
            </a:extLst>
          </p:cNvPr>
          <p:cNvSpPr txBox="1">
            <a:spLocks/>
          </p:cNvSpPr>
          <p:nvPr/>
        </p:nvSpPr>
        <p:spPr>
          <a:xfrm>
            <a:off x="23408916" y="8877743"/>
            <a:ext cx="324565" cy="582761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2400" b="1" smtClean="0">
                <a:solidFill>
                  <a:schemeClr val="bg1"/>
                </a:solidFill>
                <a:latin typeface="+mj-lt"/>
              </a:rPr>
              <a:pPr algn="ctr"/>
              <a:t>33</a:t>
            </a:fld>
            <a:endParaRPr lang="en-US" sz="1400" b="1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47F1FAD1-D751-CBC7-DB9B-6F5D5AC3661C}"/>
              </a:ext>
            </a:extLst>
          </p:cNvPr>
          <p:cNvGrpSpPr/>
          <p:nvPr/>
        </p:nvGrpSpPr>
        <p:grpSpPr>
          <a:xfrm>
            <a:off x="23332870" y="446240"/>
            <a:ext cx="476655" cy="337457"/>
            <a:chOff x="6167336" y="2130357"/>
            <a:chExt cx="476655" cy="337457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7FCDD0E-D169-2CE3-1F6C-582B69A9B50B}"/>
                </a:ext>
              </a:extLst>
            </p:cNvPr>
            <p:cNvCxnSpPr/>
            <p:nvPr userDrawn="1"/>
          </p:nvCxnSpPr>
          <p:spPr>
            <a:xfrm>
              <a:off x="6167336" y="2130357"/>
              <a:ext cx="4766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0DC4B0DA-F858-14F4-15FA-B6EE248980FA}"/>
                </a:ext>
              </a:extLst>
            </p:cNvPr>
            <p:cNvCxnSpPr/>
            <p:nvPr userDrawn="1"/>
          </p:nvCxnSpPr>
          <p:spPr>
            <a:xfrm>
              <a:off x="6167336" y="2299086"/>
              <a:ext cx="4766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1BBA54EC-8458-7063-F2DC-8BB833BDFD5B}"/>
                </a:ext>
              </a:extLst>
            </p:cNvPr>
            <p:cNvCxnSpPr/>
            <p:nvPr userDrawn="1"/>
          </p:nvCxnSpPr>
          <p:spPr>
            <a:xfrm>
              <a:off x="6167336" y="2467814"/>
              <a:ext cx="4766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64767AB-7861-C877-DFD6-27EFEB1A738C}"/>
              </a:ext>
            </a:extLst>
          </p:cNvPr>
          <p:cNvGrpSpPr/>
          <p:nvPr/>
        </p:nvGrpSpPr>
        <p:grpSpPr>
          <a:xfrm>
            <a:off x="23519785" y="12234167"/>
            <a:ext cx="102824" cy="698136"/>
            <a:chOff x="729638" y="739163"/>
            <a:chExt cx="102824" cy="698136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03B137FC-99AF-C403-440E-FFC183BF28C6}"/>
                </a:ext>
              </a:extLst>
            </p:cNvPr>
            <p:cNvSpPr/>
            <p:nvPr userDrawn="1"/>
          </p:nvSpPr>
          <p:spPr>
            <a:xfrm>
              <a:off x="729638" y="739163"/>
              <a:ext cx="102824" cy="10282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7AE2A176-5E70-46A1-22CF-F36937613756}"/>
                </a:ext>
              </a:extLst>
            </p:cNvPr>
            <p:cNvSpPr/>
            <p:nvPr userDrawn="1"/>
          </p:nvSpPr>
          <p:spPr>
            <a:xfrm>
              <a:off x="729638" y="1036819"/>
              <a:ext cx="102824" cy="10282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424339E-55B4-FF56-3694-7C129590812B}"/>
                </a:ext>
              </a:extLst>
            </p:cNvPr>
            <p:cNvSpPr/>
            <p:nvPr userDrawn="1"/>
          </p:nvSpPr>
          <p:spPr>
            <a:xfrm>
              <a:off x="729638" y="1334475"/>
              <a:ext cx="102824" cy="10282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1" name="Graphic 29">
            <a:extLst>
              <a:ext uri="{FF2B5EF4-FFF2-40B4-BE49-F238E27FC236}">
                <a16:creationId xmlns:a16="http://schemas.microsoft.com/office/drawing/2014/main" id="{8E4EA0A5-57AB-79F2-FC0F-CEFACE17B661}"/>
              </a:ext>
            </a:extLst>
          </p:cNvPr>
          <p:cNvGrpSpPr/>
          <p:nvPr/>
        </p:nvGrpSpPr>
        <p:grpSpPr>
          <a:xfrm>
            <a:off x="631422" y="446240"/>
            <a:ext cx="589131" cy="1104816"/>
            <a:chOff x="1502100" y="653619"/>
            <a:chExt cx="2035484" cy="3817207"/>
          </a:xfrm>
          <a:solidFill>
            <a:schemeClr val="bg1"/>
          </a:solidFill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0438E4FB-538F-7818-25F0-85AFDC1CDF8F}"/>
                </a:ext>
              </a:extLst>
            </p:cNvPr>
            <p:cNvSpPr/>
            <p:nvPr/>
          </p:nvSpPr>
          <p:spPr>
            <a:xfrm>
              <a:off x="1502100" y="653619"/>
              <a:ext cx="2035484" cy="3817207"/>
            </a:xfrm>
            <a:custGeom>
              <a:avLst/>
              <a:gdLst>
                <a:gd name="connsiteX0" fmla="*/ 1775452 w 2035484"/>
                <a:gd name="connsiteY0" fmla="*/ 2695942 h 3817207"/>
                <a:gd name="connsiteX1" fmla="*/ 1556377 w 2035484"/>
                <a:gd name="connsiteY1" fmla="*/ 2695942 h 3817207"/>
                <a:gd name="connsiteX2" fmla="*/ 1516372 w 2035484"/>
                <a:gd name="connsiteY2" fmla="*/ 2664509 h 3817207"/>
                <a:gd name="connsiteX3" fmla="*/ 1423027 w 2035484"/>
                <a:gd name="connsiteY3" fmla="*/ 2477819 h 3817207"/>
                <a:gd name="connsiteX4" fmla="*/ 1031549 w 2035484"/>
                <a:gd name="connsiteY4" fmla="*/ 2283509 h 3817207"/>
                <a:gd name="connsiteX5" fmla="*/ 508627 w 2035484"/>
                <a:gd name="connsiteY5" fmla="*/ 2785477 h 3817207"/>
                <a:gd name="connsiteX6" fmla="*/ 1010594 w 2035484"/>
                <a:gd name="connsiteY6" fmla="*/ 3308399 h 3817207"/>
                <a:gd name="connsiteX7" fmla="*/ 1515419 w 2035484"/>
                <a:gd name="connsiteY7" fmla="*/ 2931209 h 3817207"/>
                <a:gd name="connsiteX8" fmla="*/ 1518277 w 2035484"/>
                <a:gd name="connsiteY8" fmla="*/ 2917874 h 3817207"/>
                <a:gd name="connsiteX9" fmla="*/ 1546852 w 2035484"/>
                <a:gd name="connsiteY9" fmla="*/ 2895967 h 3817207"/>
                <a:gd name="connsiteX10" fmla="*/ 1985955 w 2035484"/>
                <a:gd name="connsiteY10" fmla="*/ 2895967 h 3817207"/>
                <a:gd name="connsiteX11" fmla="*/ 2022149 w 2035484"/>
                <a:gd name="connsiteY11" fmla="*/ 2895967 h 3817207"/>
                <a:gd name="connsiteX12" fmla="*/ 2035484 w 2035484"/>
                <a:gd name="connsiteY12" fmla="*/ 2909302 h 3817207"/>
                <a:gd name="connsiteX13" fmla="*/ 2035484 w 2035484"/>
                <a:gd name="connsiteY13" fmla="*/ 2912159 h 3817207"/>
                <a:gd name="connsiteX14" fmla="*/ 2033580 w 2035484"/>
                <a:gd name="connsiteY14" fmla="*/ 2935019 h 3817207"/>
                <a:gd name="connsiteX15" fmla="*/ 1294440 w 2035484"/>
                <a:gd name="connsiteY15" fmla="*/ 3779887 h 3817207"/>
                <a:gd name="connsiteX16" fmla="*/ 37139 w 2035484"/>
                <a:gd name="connsiteY16" fmla="*/ 3068369 h 3817207"/>
                <a:gd name="connsiteX17" fmla="*/ 65714 w 2035484"/>
                <a:gd name="connsiteY17" fmla="*/ 2434004 h 3817207"/>
                <a:gd name="connsiteX18" fmla="*/ 315269 w 2035484"/>
                <a:gd name="connsiteY18" fmla="*/ 1756777 h 3817207"/>
                <a:gd name="connsiteX19" fmla="*/ 944872 w 2035484"/>
                <a:gd name="connsiteY19" fmla="*/ 42277 h 3817207"/>
                <a:gd name="connsiteX20" fmla="*/ 1009642 w 2035484"/>
                <a:gd name="connsiteY20" fmla="*/ 20369 h 3817207"/>
                <a:gd name="connsiteX21" fmla="*/ 1340159 w 2035484"/>
                <a:gd name="connsiteY21" fmla="*/ 531862 h 3817207"/>
                <a:gd name="connsiteX22" fmla="*/ 1266817 w 2035484"/>
                <a:gd name="connsiteY22" fmla="*/ 1033829 h 3817207"/>
                <a:gd name="connsiteX23" fmla="*/ 929632 w 2035484"/>
                <a:gd name="connsiteY23" fmla="*/ 1708199 h 3817207"/>
                <a:gd name="connsiteX24" fmla="*/ 906772 w 2035484"/>
                <a:gd name="connsiteY24" fmla="*/ 1752967 h 3817207"/>
                <a:gd name="connsiteX25" fmla="*/ 923917 w 2035484"/>
                <a:gd name="connsiteY25" fmla="*/ 1779637 h 3817207"/>
                <a:gd name="connsiteX26" fmla="*/ 1038217 w 2035484"/>
                <a:gd name="connsiteY26" fmla="*/ 1776779 h 3817207"/>
                <a:gd name="connsiteX27" fmla="*/ 1658294 w 2035484"/>
                <a:gd name="connsiteY27" fmla="*/ 1999664 h 3817207"/>
                <a:gd name="connsiteX28" fmla="*/ 2023102 w 2035484"/>
                <a:gd name="connsiteY28" fmla="*/ 2599739 h 3817207"/>
                <a:gd name="connsiteX29" fmla="*/ 2034532 w 2035484"/>
                <a:gd name="connsiteY29" fmla="*/ 2672129 h 3817207"/>
                <a:gd name="connsiteX30" fmla="*/ 2013577 w 2035484"/>
                <a:gd name="connsiteY30" fmla="*/ 2697847 h 3817207"/>
                <a:gd name="connsiteX31" fmla="*/ 1774499 w 2035484"/>
                <a:gd name="connsiteY31" fmla="*/ 2697847 h 3817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035484" h="3817207">
                  <a:moveTo>
                    <a:pt x="1775452" y="2695942"/>
                  </a:moveTo>
                  <a:lnTo>
                    <a:pt x="1556377" y="2695942"/>
                  </a:lnTo>
                  <a:cubicBezTo>
                    <a:pt x="1525897" y="2695942"/>
                    <a:pt x="1524944" y="2695942"/>
                    <a:pt x="1516372" y="2664509"/>
                  </a:cubicBezTo>
                  <a:cubicBezTo>
                    <a:pt x="1499227" y="2595929"/>
                    <a:pt x="1466842" y="2533064"/>
                    <a:pt x="1423027" y="2477819"/>
                  </a:cubicBezTo>
                  <a:cubicBezTo>
                    <a:pt x="1322062" y="2353994"/>
                    <a:pt x="1191569" y="2287319"/>
                    <a:pt x="1031549" y="2283509"/>
                  </a:cubicBezTo>
                  <a:cubicBezTo>
                    <a:pt x="748657" y="2277794"/>
                    <a:pt x="514342" y="2502584"/>
                    <a:pt x="508627" y="2785477"/>
                  </a:cubicBezTo>
                  <a:cubicBezTo>
                    <a:pt x="502912" y="3068369"/>
                    <a:pt x="727702" y="3302684"/>
                    <a:pt x="1010594" y="3308399"/>
                  </a:cubicBezTo>
                  <a:cubicBezTo>
                    <a:pt x="1244909" y="3313162"/>
                    <a:pt x="1453507" y="3157904"/>
                    <a:pt x="1515419" y="2931209"/>
                  </a:cubicBezTo>
                  <a:cubicBezTo>
                    <a:pt x="1516372" y="2926447"/>
                    <a:pt x="1517324" y="2922637"/>
                    <a:pt x="1518277" y="2917874"/>
                  </a:cubicBezTo>
                  <a:cubicBezTo>
                    <a:pt x="1523992" y="2897872"/>
                    <a:pt x="1525897" y="2895967"/>
                    <a:pt x="1546852" y="2895967"/>
                  </a:cubicBezTo>
                  <a:lnTo>
                    <a:pt x="1985955" y="2895967"/>
                  </a:lnTo>
                  <a:cubicBezTo>
                    <a:pt x="1998337" y="2895967"/>
                    <a:pt x="2009767" y="2895967"/>
                    <a:pt x="2022149" y="2895967"/>
                  </a:cubicBezTo>
                  <a:cubicBezTo>
                    <a:pt x="2029769" y="2895967"/>
                    <a:pt x="2035484" y="2901682"/>
                    <a:pt x="2035484" y="2909302"/>
                  </a:cubicBezTo>
                  <a:cubicBezTo>
                    <a:pt x="2035484" y="2909302"/>
                    <a:pt x="2035484" y="2911207"/>
                    <a:pt x="2035484" y="2912159"/>
                  </a:cubicBezTo>
                  <a:cubicBezTo>
                    <a:pt x="2035484" y="2919779"/>
                    <a:pt x="2035484" y="2927399"/>
                    <a:pt x="2033580" y="2935019"/>
                  </a:cubicBezTo>
                  <a:cubicBezTo>
                    <a:pt x="1976430" y="3339832"/>
                    <a:pt x="1688774" y="3672254"/>
                    <a:pt x="1294440" y="3779887"/>
                  </a:cubicBezTo>
                  <a:cubicBezTo>
                    <a:pt x="750562" y="3930382"/>
                    <a:pt x="187634" y="3612247"/>
                    <a:pt x="37139" y="3068369"/>
                  </a:cubicBezTo>
                  <a:cubicBezTo>
                    <a:pt x="-20963" y="2858819"/>
                    <a:pt x="-10486" y="2636887"/>
                    <a:pt x="65714" y="2434004"/>
                  </a:cubicBezTo>
                  <a:cubicBezTo>
                    <a:pt x="148582" y="2208262"/>
                    <a:pt x="232402" y="1982519"/>
                    <a:pt x="315269" y="1756777"/>
                  </a:cubicBezTo>
                  <a:cubicBezTo>
                    <a:pt x="524819" y="1185277"/>
                    <a:pt x="735322" y="613777"/>
                    <a:pt x="944872" y="42277"/>
                  </a:cubicBezTo>
                  <a:cubicBezTo>
                    <a:pt x="963922" y="-9158"/>
                    <a:pt x="965827" y="-10111"/>
                    <a:pt x="1009642" y="20369"/>
                  </a:cubicBezTo>
                  <a:cubicBezTo>
                    <a:pt x="1189665" y="146099"/>
                    <a:pt x="1301107" y="316597"/>
                    <a:pt x="1340159" y="531862"/>
                  </a:cubicBezTo>
                  <a:cubicBezTo>
                    <a:pt x="1372544" y="702359"/>
                    <a:pt x="1346827" y="879524"/>
                    <a:pt x="1266817" y="1033829"/>
                  </a:cubicBezTo>
                  <a:cubicBezTo>
                    <a:pt x="1154422" y="1258619"/>
                    <a:pt x="1041074" y="1483409"/>
                    <a:pt x="929632" y="1708199"/>
                  </a:cubicBezTo>
                  <a:cubicBezTo>
                    <a:pt x="922012" y="1723439"/>
                    <a:pt x="914392" y="1737727"/>
                    <a:pt x="906772" y="1752967"/>
                  </a:cubicBezTo>
                  <a:cubicBezTo>
                    <a:pt x="897247" y="1774874"/>
                    <a:pt x="901057" y="1780589"/>
                    <a:pt x="923917" y="1779637"/>
                  </a:cubicBezTo>
                  <a:cubicBezTo>
                    <a:pt x="962017" y="1778684"/>
                    <a:pt x="1000117" y="1775827"/>
                    <a:pt x="1038217" y="1776779"/>
                  </a:cubicBezTo>
                  <a:cubicBezTo>
                    <a:pt x="1263959" y="1778684"/>
                    <a:pt x="1483034" y="1856789"/>
                    <a:pt x="1658294" y="1999664"/>
                  </a:cubicBezTo>
                  <a:cubicBezTo>
                    <a:pt x="1852605" y="2154922"/>
                    <a:pt x="1972619" y="2356852"/>
                    <a:pt x="2023102" y="2599739"/>
                  </a:cubicBezTo>
                  <a:cubicBezTo>
                    <a:pt x="2027865" y="2623552"/>
                    <a:pt x="2031674" y="2647364"/>
                    <a:pt x="2034532" y="2672129"/>
                  </a:cubicBezTo>
                  <a:cubicBezTo>
                    <a:pt x="2037390" y="2692132"/>
                    <a:pt x="2032627" y="2696894"/>
                    <a:pt x="2013577" y="2697847"/>
                  </a:cubicBezTo>
                  <a:lnTo>
                    <a:pt x="1774499" y="269784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F784731C-C1F4-4B4A-AF70-F653442D9E49}"/>
                </a:ext>
              </a:extLst>
            </p:cNvPr>
            <p:cNvSpPr/>
            <p:nvPr/>
          </p:nvSpPr>
          <p:spPr>
            <a:xfrm>
              <a:off x="1503045" y="1064002"/>
              <a:ext cx="291914" cy="1722631"/>
            </a:xfrm>
            <a:custGeom>
              <a:avLst/>
              <a:gdLst>
                <a:gd name="connsiteX0" fmla="*/ 952 w 291914"/>
                <a:gd name="connsiteY0" fmla="*/ 1722632 h 1722631"/>
                <a:gd name="connsiteX1" fmla="*/ 952 w 291914"/>
                <a:gd name="connsiteY1" fmla="*/ 1374969 h 1722631"/>
                <a:gd name="connsiteX2" fmla="*/ 952 w 291914"/>
                <a:gd name="connsiteY2" fmla="*/ 1342584 h 1722631"/>
                <a:gd name="connsiteX3" fmla="*/ 3810 w 291914"/>
                <a:gd name="connsiteY3" fmla="*/ 465331 h 1722631"/>
                <a:gd name="connsiteX4" fmla="*/ 3810 w 291914"/>
                <a:gd name="connsiteY4" fmla="*/ 40516 h 1722631"/>
                <a:gd name="connsiteX5" fmla="*/ 48577 w 291914"/>
                <a:gd name="connsiteY5" fmla="*/ 4321 h 1722631"/>
                <a:gd name="connsiteX6" fmla="*/ 271463 w 291914"/>
                <a:gd name="connsiteY6" fmla="*/ 96714 h 1722631"/>
                <a:gd name="connsiteX7" fmla="*/ 290513 w 291914"/>
                <a:gd name="connsiteY7" fmla="*/ 136719 h 1722631"/>
                <a:gd name="connsiteX8" fmla="*/ 211455 w 291914"/>
                <a:gd name="connsiteY8" fmla="*/ 576774 h 1722631"/>
                <a:gd name="connsiteX9" fmla="*/ 122872 w 291914"/>
                <a:gd name="connsiteY9" fmla="*/ 1071122 h 1722631"/>
                <a:gd name="connsiteX10" fmla="*/ 16192 w 291914"/>
                <a:gd name="connsiteY10" fmla="*/ 1664529 h 1722631"/>
                <a:gd name="connsiteX11" fmla="*/ 0 w 291914"/>
                <a:gd name="connsiteY11" fmla="*/ 1720726 h 1722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1914" h="1722631">
                  <a:moveTo>
                    <a:pt x="952" y="1722632"/>
                  </a:moveTo>
                  <a:lnTo>
                    <a:pt x="952" y="1374969"/>
                  </a:lnTo>
                  <a:cubicBezTo>
                    <a:pt x="952" y="1364491"/>
                    <a:pt x="952" y="1354014"/>
                    <a:pt x="952" y="1342584"/>
                  </a:cubicBezTo>
                  <a:cubicBezTo>
                    <a:pt x="1905" y="1050166"/>
                    <a:pt x="2858" y="757749"/>
                    <a:pt x="3810" y="465331"/>
                  </a:cubicBezTo>
                  <a:cubicBezTo>
                    <a:pt x="3810" y="323409"/>
                    <a:pt x="3810" y="182439"/>
                    <a:pt x="3810" y="40516"/>
                  </a:cubicBezTo>
                  <a:cubicBezTo>
                    <a:pt x="3810" y="-1394"/>
                    <a:pt x="8572" y="-5204"/>
                    <a:pt x="48577" y="4321"/>
                  </a:cubicBezTo>
                  <a:cubicBezTo>
                    <a:pt x="126683" y="24324"/>
                    <a:pt x="201930" y="54804"/>
                    <a:pt x="271463" y="96714"/>
                  </a:cubicBezTo>
                  <a:cubicBezTo>
                    <a:pt x="287655" y="103381"/>
                    <a:pt x="295275" y="120527"/>
                    <a:pt x="290513" y="136719"/>
                  </a:cubicBezTo>
                  <a:cubicBezTo>
                    <a:pt x="262890" y="283404"/>
                    <a:pt x="238125" y="430089"/>
                    <a:pt x="211455" y="576774"/>
                  </a:cubicBezTo>
                  <a:cubicBezTo>
                    <a:pt x="181927" y="741557"/>
                    <a:pt x="152400" y="906339"/>
                    <a:pt x="122872" y="1071122"/>
                  </a:cubicBezTo>
                  <a:cubicBezTo>
                    <a:pt x="87630" y="1269241"/>
                    <a:pt x="51435" y="1466409"/>
                    <a:pt x="16192" y="1664529"/>
                  </a:cubicBezTo>
                  <a:cubicBezTo>
                    <a:pt x="12383" y="1681674"/>
                    <a:pt x="10477" y="1692151"/>
                    <a:pt x="0" y="17207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C44AAED8-F098-A50A-6FA6-E288F565366E}"/>
                </a:ext>
              </a:extLst>
            </p:cNvPr>
            <p:cNvSpPr/>
            <p:nvPr/>
          </p:nvSpPr>
          <p:spPr>
            <a:xfrm>
              <a:off x="1683067" y="817105"/>
              <a:ext cx="541936" cy="1609483"/>
            </a:xfrm>
            <a:custGeom>
              <a:avLst/>
              <a:gdLst>
                <a:gd name="connsiteX0" fmla="*/ 953 w 541936"/>
                <a:gd name="connsiteY0" fmla="*/ 1608531 h 1609483"/>
                <a:gd name="connsiteX1" fmla="*/ 89535 w 541936"/>
                <a:gd name="connsiteY1" fmla="*/ 1138949 h 1609483"/>
                <a:gd name="connsiteX2" fmla="*/ 224790 w 541936"/>
                <a:gd name="connsiteY2" fmla="*/ 384568 h 1609483"/>
                <a:gd name="connsiteX3" fmla="*/ 285750 w 541936"/>
                <a:gd name="connsiteY3" fmla="*/ 43573 h 1609483"/>
                <a:gd name="connsiteX4" fmla="*/ 342900 w 541936"/>
                <a:gd name="connsiteY4" fmla="*/ 13093 h 1609483"/>
                <a:gd name="connsiteX5" fmla="*/ 521017 w 541936"/>
                <a:gd name="connsiteY5" fmla="*/ 123583 h 1609483"/>
                <a:gd name="connsiteX6" fmla="*/ 535305 w 541936"/>
                <a:gd name="connsiteY6" fmla="*/ 173113 h 1609483"/>
                <a:gd name="connsiteX7" fmla="*/ 456248 w 541936"/>
                <a:gd name="connsiteY7" fmla="*/ 387426 h 1609483"/>
                <a:gd name="connsiteX8" fmla="*/ 200025 w 541936"/>
                <a:gd name="connsiteY8" fmla="*/ 1085608 h 1609483"/>
                <a:gd name="connsiteX9" fmla="*/ 35242 w 541936"/>
                <a:gd name="connsiteY9" fmla="*/ 1530426 h 1609483"/>
                <a:gd name="connsiteX10" fmla="*/ 0 w 541936"/>
                <a:gd name="connsiteY10" fmla="*/ 1609483 h 1609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1936" h="1609483">
                  <a:moveTo>
                    <a:pt x="953" y="1608531"/>
                  </a:moveTo>
                  <a:cubicBezTo>
                    <a:pt x="24765" y="1478038"/>
                    <a:pt x="66675" y="1268488"/>
                    <a:pt x="89535" y="1138949"/>
                  </a:cubicBezTo>
                  <a:cubicBezTo>
                    <a:pt x="134303" y="887488"/>
                    <a:pt x="180023" y="636028"/>
                    <a:pt x="224790" y="384568"/>
                  </a:cubicBezTo>
                  <a:cubicBezTo>
                    <a:pt x="244792" y="270268"/>
                    <a:pt x="264795" y="156921"/>
                    <a:pt x="285750" y="43573"/>
                  </a:cubicBezTo>
                  <a:cubicBezTo>
                    <a:pt x="294323" y="-1194"/>
                    <a:pt x="289560" y="-11672"/>
                    <a:pt x="342900" y="13093"/>
                  </a:cubicBezTo>
                  <a:cubicBezTo>
                    <a:pt x="406717" y="41668"/>
                    <a:pt x="466725" y="78816"/>
                    <a:pt x="521017" y="123583"/>
                  </a:cubicBezTo>
                  <a:cubicBezTo>
                    <a:pt x="545783" y="143586"/>
                    <a:pt x="545783" y="144538"/>
                    <a:pt x="535305" y="173113"/>
                  </a:cubicBezTo>
                  <a:cubicBezTo>
                    <a:pt x="509588" y="244551"/>
                    <a:pt x="482917" y="315988"/>
                    <a:pt x="456248" y="387426"/>
                  </a:cubicBezTo>
                  <a:cubicBezTo>
                    <a:pt x="370523" y="619836"/>
                    <a:pt x="284798" y="853199"/>
                    <a:pt x="200025" y="1085608"/>
                  </a:cubicBezTo>
                  <a:cubicBezTo>
                    <a:pt x="145733" y="1234199"/>
                    <a:pt x="90488" y="1382788"/>
                    <a:pt x="35242" y="1530426"/>
                  </a:cubicBezTo>
                  <a:lnTo>
                    <a:pt x="0" y="16094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975EF046-14CB-7718-B62D-540A272670C9}"/>
              </a:ext>
            </a:extLst>
          </p:cNvPr>
          <p:cNvSpPr txBox="1"/>
          <p:nvPr/>
        </p:nvSpPr>
        <p:spPr>
          <a:xfrm rot="16200000">
            <a:off x="-1444725" y="5332504"/>
            <a:ext cx="462952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3200" b="1" dirty="0" err="1">
                <a:solidFill>
                  <a:schemeClr val="bg1"/>
                </a:solidFill>
              </a:rPr>
              <a:t>breadcrumbsdata.com</a:t>
            </a:r>
            <a:endParaRPr lang="en-US" sz="3200" b="1" dirty="0">
              <a:solidFill>
                <a:schemeClr val="bg1"/>
              </a:solidFill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2C3C6E37-8215-4991-B997-5C428778A712}"/>
              </a:ext>
            </a:extLst>
          </p:cNvPr>
          <p:cNvGrpSpPr/>
          <p:nvPr/>
        </p:nvGrpSpPr>
        <p:grpSpPr>
          <a:xfrm>
            <a:off x="9769513" y="4433926"/>
            <a:ext cx="4848149" cy="4848149"/>
            <a:chOff x="9989883" y="4654296"/>
            <a:chExt cx="4407408" cy="4407408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BF3805DA-C095-552D-20C0-304EF352D1AE}"/>
                </a:ext>
              </a:extLst>
            </p:cNvPr>
            <p:cNvSpPr/>
            <p:nvPr/>
          </p:nvSpPr>
          <p:spPr>
            <a:xfrm>
              <a:off x="9989883" y="4654296"/>
              <a:ext cx="4407408" cy="440740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Arc 30">
              <a:extLst>
                <a:ext uri="{FF2B5EF4-FFF2-40B4-BE49-F238E27FC236}">
                  <a16:creationId xmlns:a16="http://schemas.microsoft.com/office/drawing/2014/main" id="{197314AC-69B2-4797-CEF2-D60505014FD4}"/>
                </a:ext>
              </a:extLst>
            </p:cNvPr>
            <p:cNvSpPr/>
            <p:nvPr/>
          </p:nvSpPr>
          <p:spPr>
            <a:xfrm>
              <a:off x="9991545" y="4654296"/>
              <a:ext cx="4405746" cy="4405746"/>
            </a:xfrm>
            <a:prstGeom prst="arc">
              <a:avLst>
                <a:gd name="adj1" fmla="val 16200000"/>
                <a:gd name="adj2" fmla="val 20775565"/>
              </a:avLst>
            </a:prstGeom>
            <a:ln w="50800">
              <a:gradFill flip="none" rotWithShape="1">
                <a:gsLst>
                  <a:gs pos="23000">
                    <a:schemeClr val="bg2"/>
                  </a:gs>
                  <a:gs pos="100000">
                    <a:schemeClr val="bg1"/>
                  </a:gs>
                </a:gsLst>
                <a:lin ang="0" scaled="1"/>
                <a:tileRect/>
              </a:gra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3" name="Rectangle: Rounded Corners 20">
            <a:extLst>
              <a:ext uri="{FF2B5EF4-FFF2-40B4-BE49-F238E27FC236}">
                <a16:creationId xmlns:a16="http://schemas.microsoft.com/office/drawing/2014/main" id="{9B97D807-2122-AC0A-8255-598A07E49785}"/>
              </a:ext>
            </a:extLst>
          </p:cNvPr>
          <p:cNvSpPr/>
          <p:nvPr/>
        </p:nvSpPr>
        <p:spPr>
          <a:xfrm rot="2700000">
            <a:off x="33668018" y="5917442"/>
            <a:ext cx="1571681" cy="1543617"/>
          </a:xfrm>
          <a:prstGeom prst="roundRect">
            <a:avLst>
              <a:gd name="adj" fmla="val 42623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blurRad="685800" sx="102000" sy="102000" algn="ctr" rotWithShape="0">
              <a:schemeClr val="accent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604DF43-F909-2542-1B5C-44B431B31311}"/>
              </a:ext>
            </a:extLst>
          </p:cNvPr>
          <p:cNvSpPr txBox="1"/>
          <p:nvPr/>
        </p:nvSpPr>
        <p:spPr>
          <a:xfrm>
            <a:off x="4009833" y="8210140"/>
            <a:ext cx="15989736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400" dirty="0">
                <a:solidFill>
                  <a:schemeClr val="bg1"/>
                </a:solidFill>
                <a:latin typeface="FUTURA MEDIUM BT" panose="020B0602020204020303" pitchFamily="34" charset="0"/>
              </a:rPr>
              <a:t>”The Killer App for AI will be… A super-competent colleague who knows absolutely everything about my whole life, every email, every conversation..."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8163781-5853-32AC-C3B9-CE48D1B61BAB}"/>
              </a:ext>
            </a:extLst>
          </p:cNvPr>
          <p:cNvSpPr txBox="1"/>
          <p:nvPr/>
        </p:nvSpPr>
        <p:spPr>
          <a:xfrm>
            <a:off x="7642316" y="9494652"/>
            <a:ext cx="12644213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500" b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190500" dist="38100" dir="5400000" sx="103000" sy="103000" algn="t" rotWithShape="0">
                    <a:srgbClr val="377DFF">
                      <a:lumMod val="50000"/>
                      <a:alpha val="53000"/>
                    </a:srgbClr>
                  </a:outerShdw>
                </a:effectLst>
                <a:uLnTx/>
                <a:uFillTx/>
                <a:latin typeface="Futura Md BT" panose="020B0602020204020303" pitchFamily="34" charset="0"/>
              </a:rPr>
              <a:t>Sam Altman</a:t>
            </a:r>
          </a:p>
        </p:txBody>
      </p:sp>
    </p:spTree>
    <p:extLst>
      <p:ext uri="{BB962C8B-B14F-4D97-AF65-F5344CB8AC3E}">
        <p14:creationId xmlns:p14="http://schemas.microsoft.com/office/powerpoint/2010/main" val="219294509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iterate type="lt">
                                    <p:tmPct val="15625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9" dur="2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4" dur="15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5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1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1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iterate type="lt">
                                    <p:tmPct val="15625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7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3" grpId="0" animBg="1"/>
      <p:bldP spid="3" grpId="1" animBg="1"/>
      <p:bldP spid="2" grpId="0"/>
      <p:bldP spid="26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FD69A2CA-5345-71E1-8CDF-05D0C72522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4763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3" progId="TCLayout.ActiveDocument.1">
                  <p:embed/>
                </p:oleObj>
              </mc:Choice>
              <mc:Fallback>
                <p:oleObj name="think-cell Slide" r:id="rId3" imgW="344" imgH="34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FD69A2CA-5345-71E1-8CDF-05D0C72522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763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eform: Shape 2">
            <a:extLst>
              <a:ext uri="{FF2B5EF4-FFF2-40B4-BE49-F238E27FC236}">
                <a16:creationId xmlns:a16="http://schemas.microsoft.com/office/drawing/2014/main" id="{70032A55-9534-B63C-ECBE-4F2F51EA96B2}"/>
              </a:ext>
            </a:extLst>
          </p:cNvPr>
          <p:cNvSpPr/>
          <p:nvPr/>
        </p:nvSpPr>
        <p:spPr>
          <a:xfrm>
            <a:off x="-230641" y="-5566228"/>
            <a:ext cx="24848456" cy="24848456"/>
          </a:xfrm>
          <a:custGeom>
            <a:avLst/>
            <a:gdLst>
              <a:gd name="connsiteX0" fmla="*/ 7788517 w 7788516"/>
              <a:gd name="connsiteY0" fmla="*/ 3894258 h 7788516"/>
              <a:gd name="connsiteX1" fmla="*/ 3894258 w 7788516"/>
              <a:gd name="connsiteY1" fmla="*/ 7788517 h 7788516"/>
              <a:gd name="connsiteX2" fmla="*/ 0 w 7788516"/>
              <a:gd name="connsiteY2" fmla="*/ 3894258 h 7788516"/>
              <a:gd name="connsiteX3" fmla="*/ 3894258 w 7788516"/>
              <a:gd name="connsiteY3" fmla="*/ 0 h 7788516"/>
              <a:gd name="connsiteX4" fmla="*/ 7788517 w 7788516"/>
              <a:gd name="connsiteY4" fmla="*/ 3894258 h 7788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88516" h="7788516">
                <a:moveTo>
                  <a:pt x="7788517" y="3894258"/>
                </a:moveTo>
                <a:cubicBezTo>
                  <a:pt x="7788517" y="6044998"/>
                  <a:pt x="6044998" y="7788517"/>
                  <a:pt x="3894258" y="7788517"/>
                </a:cubicBezTo>
                <a:cubicBezTo>
                  <a:pt x="1743519" y="7788517"/>
                  <a:pt x="0" y="6044998"/>
                  <a:pt x="0" y="3894258"/>
                </a:cubicBezTo>
                <a:cubicBezTo>
                  <a:pt x="0" y="1743519"/>
                  <a:pt x="1743519" y="0"/>
                  <a:pt x="3894258" y="0"/>
                </a:cubicBezTo>
                <a:cubicBezTo>
                  <a:pt x="6044998" y="0"/>
                  <a:pt x="7788517" y="1743519"/>
                  <a:pt x="7788517" y="3894258"/>
                </a:cubicBezTo>
                <a:close/>
              </a:path>
            </a:pathLst>
          </a:custGeom>
          <a:solidFill>
            <a:schemeClr val="bg1">
              <a:alpha val="18224"/>
            </a:schemeClr>
          </a:solidFill>
          <a:ln w="12700" cap="flat">
            <a:noFill/>
            <a:prstDash val="solid"/>
            <a:miter/>
          </a:ln>
          <a:effectLst>
            <a:outerShdw blurRad="444500" dist="190500" dir="5400000" algn="t" rotWithShape="0">
              <a:prstClr val="black">
                <a:alpha val="10000"/>
              </a:prstClr>
            </a:outerShdw>
          </a:effectLst>
        </p:spPr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 sz="3600" dirty="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799DD407-F0D3-35AB-FE33-48D37DB1D210}"/>
              </a:ext>
            </a:extLst>
          </p:cNvPr>
          <p:cNvSpPr/>
          <p:nvPr/>
        </p:nvSpPr>
        <p:spPr>
          <a:xfrm>
            <a:off x="21079702" y="10840423"/>
            <a:ext cx="2875578" cy="2875578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glow rad="1905000">
              <a:schemeClr val="tx1"/>
            </a:glow>
            <a:outerShdw blurRad="50800" dist="38100" dir="8100000" algn="tr" rotWithShape="0">
              <a:schemeClr val="tx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60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2A1395DA-65E7-6D2C-76AB-6F769C9A3D42}"/>
              </a:ext>
            </a:extLst>
          </p:cNvPr>
          <p:cNvSpPr/>
          <p:nvPr/>
        </p:nvSpPr>
        <p:spPr>
          <a:xfrm>
            <a:off x="-1052617" y="-1339472"/>
            <a:ext cx="6009976" cy="6009976"/>
          </a:xfrm>
          <a:prstGeom prst="ellipse">
            <a:avLst/>
          </a:prstGeom>
          <a:solidFill>
            <a:schemeClr val="bg2"/>
          </a:solidFill>
          <a:ln>
            <a:noFill/>
          </a:ln>
          <a:effectLst>
            <a:glow rad="1905000">
              <a:schemeClr val="bg2"/>
            </a:glow>
            <a:outerShdw blurRad="50800" dist="38100" dir="8100000" algn="tr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600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716D96AD-362A-761D-AC60-5228A11EF1D8}"/>
              </a:ext>
            </a:extLst>
          </p:cNvPr>
          <p:cNvSpPr/>
          <p:nvPr/>
        </p:nvSpPr>
        <p:spPr>
          <a:xfrm>
            <a:off x="2363366" y="-2972223"/>
            <a:ext cx="19660446" cy="19660446"/>
          </a:xfrm>
          <a:custGeom>
            <a:avLst/>
            <a:gdLst>
              <a:gd name="connsiteX0" fmla="*/ 6162384 w 6162383"/>
              <a:gd name="connsiteY0" fmla="*/ 3081192 h 6162383"/>
              <a:gd name="connsiteX1" fmla="*/ 3081192 w 6162383"/>
              <a:gd name="connsiteY1" fmla="*/ 6162384 h 6162383"/>
              <a:gd name="connsiteX2" fmla="*/ 0 w 6162383"/>
              <a:gd name="connsiteY2" fmla="*/ 3081192 h 6162383"/>
              <a:gd name="connsiteX3" fmla="*/ 3081192 w 6162383"/>
              <a:gd name="connsiteY3" fmla="*/ 0 h 6162383"/>
              <a:gd name="connsiteX4" fmla="*/ 6162384 w 6162383"/>
              <a:gd name="connsiteY4" fmla="*/ 3081192 h 61623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62383" h="6162383">
                <a:moveTo>
                  <a:pt x="6162384" y="3081192"/>
                </a:moveTo>
                <a:cubicBezTo>
                  <a:pt x="6162384" y="4782887"/>
                  <a:pt x="4782887" y="6162384"/>
                  <a:pt x="3081192" y="6162384"/>
                </a:cubicBezTo>
                <a:cubicBezTo>
                  <a:pt x="1379497" y="6162384"/>
                  <a:pt x="0" y="4782887"/>
                  <a:pt x="0" y="3081192"/>
                </a:cubicBezTo>
                <a:cubicBezTo>
                  <a:pt x="0" y="1379497"/>
                  <a:pt x="1379497" y="0"/>
                  <a:pt x="3081192" y="0"/>
                </a:cubicBezTo>
                <a:cubicBezTo>
                  <a:pt x="4782887" y="0"/>
                  <a:pt x="6162384" y="1379497"/>
                  <a:pt x="6162384" y="3081192"/>
                </a:cubicBezTo>
                <a:close/>
              </a:path>
            </a:pathLst>
          </a:custGeom>
          <a:solidFill>
            <a:schemeClr val="bg1">
              <a:alpha val="18224"/>
            </a:schemeClr>
          </a:solidFill>
          <a:ln w="12700" cap="flat">
            <a:noFill/>
            <a:prstDash val="solid"/>
            <a:miter/>
          </a:ln>
          <a:effectLst>
            <a:outerShdw blurRad="444500" dist="190500" dir="5400000" algn="t" rotWithShape="0">
              <a:prstClr val="black">
                <a:alpha val="10000"/>
              </a:prstClr>
            </a:outerShdw>
          </a:effectLst>
        </p:spPr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 sz="360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D73E8B1B-7978-290E-2F52-D2978F551E4A}"/>
              </a:ext>
            </a:extLst>
          </p:cNvPr>
          <p:cNvSpPr/>
          <p:nvPr/>
        </p:nvSpPr>
        <p:spPr>
          <a:xfrm>
            <a:off x="4957372" y="-378217"/>
            <a:ext cx="14472438" cy="14472438"/>
          </a:xfrm>
          <a:custGeom>
            <a:avLst/>
            <a:gdLst>
              <a:gd name="connsiteX0" fmla="*/ 4536251 w 4536250"/>
              <a:gd name="connsiteY0" fmla="*/ 2268125 h 4536250"/>
              <a:gd name="connsiteX1" fmla="*/ 2268125 w 4536250"/>
              <a:gd name="connsiteY1" fmla="*/ 4536251 h 4536250"/>
              <a:gd name="connsiteX2" fmla="*/ 0 w 4536250"/>
              <a:gd name="connsiteY2" fmla="*/ 2268125 h 4536250"/>
              <a:gd name="connsiteX3" fmla="*/ 2268125 w 4536250"/>
              <a:gd name="connsiteY3" fmla="*/ 0 h 4536250"/>
              <a:gd name="connsiteX4" fmla="*/ 4536251 w 4536250"/>
              <a:gd name="connsiteY4" fmla="*/ 2268125 h 453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36250" h="4536250">
                <a:moveTo>
                  <a:pt x="4536251" y="2268125"/>
                </a:moveTo>
                <a:cubicBezTo>
                  <a:pt x="4536251" y="3520777"/>
                  <a:pt x="3520776" y="4536251"/>
                  <a:pt x="2268125" y="4536251"/>
                </a:cubicBezTo>
                <a:cubicBezTo>
                  <a:pt x="1015474" y="4536251"/>
                  <a:pt x="0" y="3520776"/>
                  <a:pt x="0" y="2268125"/>
                </a:cubicBezTo>
                <a:cubicBezTo>
                  <a:pt x="0" y="1015474"/>
                  <a:pt x="1015474" y="0"/>
                  <a:pt x="2268125" y="0"/>
                </a:cubicBezTo>
                <a:cubicBezTo>
                  <a:pt x="3520777" y="0"/>
                  <a:pt x="4536251" y="1015474"/>
                  <a:pt x="4536251" y="2268125"/>
                </a:cubicBezTo>
                <a:close/>
              </a:path>
            </a:pathLst>
          </a:custGeom>
          <a:solidFill>
            <a:schemeClr val="bg1">
              <a:alpha val="18224"/>
            </a:schemeClr>
          </a:solidFill>
          <a:ln w="12700" cap="flat">
            <a:noFill/>
            <a:prstDash val="solid"/>
            <a:miter/>
          </a:ln>
          <a:effectLst>
            <a:outerShdw blurRad="444500" dist="190500" dir="5400000" algn="t" rotWithShape="0">
              <a:prstClr val="black">
                <a:alpha val="10000"/>
              </a:prstClr>
            </a:outerShdw>
          </a:effectLst>
        </p:spPr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 sz="360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30D89440-6364-91DC-60B3-EF8B7458B992}"/>
              </a:ext>
            </a:extLst>
          </p:cNvPr>
          <p:cNvSpPr/>
          <p:nvPr/>
        </p:nvSpPr>
        <p:spPr>
          <a:xfrm>
            <a:off x="17218385" y="1630810"/>
            <a:ext cx="240940" cy="240936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60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A8F5CB20-4B69-4DBB-5160-C18CCE31C51D}"/>
              </a:ext>
            </a:extLst>
          </p:cNvPr>
          <p:cNvSpPr/>
          <p:nvPr/>
        </p:nvSpPr>
        <p:spPr>
          <a:xfrm>
            <a:off x="17663305" y="11347898"/>
            <a:ext cx="240940" cy="240936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60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5FADBB03-07D7-D006-1EAB-9ACB5BCD2CD7}"/>
              </a:ext>
            </a:extLst>
          </p:cNvPr>
          <p:cNvSpPr/>
          <p:nvPr/>
        </p:nvSpPr>
        <p:spPr>
          <a:xfrm>
            <a:off x="3298959" y="11163930"/>
            <a:ext cx="240940" cy="240936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60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245B6101-D8A9-2685-69DD-41D867A7A760}"/>
              </a:ext>
            </a:extLst>
          </p:cNvPr>
          <p:cNvSpPr/>
          <p:nvPr/>
        </p:nvSpPr>
        <p:spPr>
          <a:xfrm flipH="1">
            <a:off x="7551372" y="2215785"/>
            <a:ext cx="9284426" cy="9284426"/>
          </a:xfrm>
          <a:custGeom>
            <a:avLst/>
            <a:gdLst>
              <a:gd name="connsiteX0" fmla="*/ 2910118 w 2910117"/>
              <a:gd name="connsiteY0" fmla="*/ 1455059 h 2910117"/>
              <a:gd name="connsiteX1" fmla="*/ 1455059 w 2910117"/>
              <a:gd name="connsiteY1" fmla="*/ 2910118 h 2910117"/>
              <a:gd name="connsiteX2" fmla="*/ 0 w 2910117"/>
              <a:gd name="connsiteY2" fmla="*/ 1455059 h 2910117"/>
              <a:gd name="connsiteX3" fmla="*/ 1455059 w 2910117"/>
              <a:gd name="connsiteY3" fmla="*/ 0 h 2910117"/>
              <a:gd name="connsiteX4" fmla="*/ 2910118 w 2910117"/>
              <a:gd name="connsiteY4" fmla="*/ 1455059 h 2910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10117" h="2910117">
                <a:moveTo>
                  <a:pt x="2910118" y="1455059"/>
                </a:moveTo>
                <a:cubicBezTo>
                  <a:pt x="2910118" y="2258666"/>
                  <a:pt x="2258666" y="2910118"/>
                  <a:pt x="1455059" y="2910118"/>
                </a:cubicBezTo>
                <a:cubicBezTo>
                  <a:pt x="651452" y="2910118"/>
                  <a:pt x="0" y="2258666"/>
                  <a:pt x="0" y="1455059"/>
                </a:cubicBezTo>
                <a:cubicBezTo>
                  <a:pt x="0" y="651452"/>
                  <a:pt x="651452" y="0"/>
                  <a:pt x="1455059" y="0"/>
                </a:cubicBezTo>
                <a:cubicBezTo>
                  <a:pt x="2258666" y="0"/>
                  <a:pt x="2910118" y="651452"/>
                  <a:pt x="2910118" y="1455059"/>
                </a:cubicBezTo>
                <a:close/>
              </a:path>
            </a:pathLst>
          </a:custGeom>
          <a:gradFill>
            <a:gsLst>
              <a:gs pos="0">
                <a:schemeClr val="bg1"/>
              </a:gs>
              <a:gs pos="85000">
                <a:schemeClr val="bg1"/>
              </a:gs>
            </a:gsLst>
            <a:path path="circle">
              <a:fillToRect l="50000" t="50000" r="50000" b="50000"/>
            </a:path>
          </a:gradFill>
          <a:ln w="12700" cap="flat">
            <a:noFill/>
            <a:prstDash val="solid"/>
            <a:miter/>
          </a:ln>
          <a:effectLst>
            <a:outerShdw blurRad="444500" dist="190500" dir="5400000" algn="t" rotWithShape="0">
              <a:prstClr val="black">
                <a:alpha val="10000"/>
              </a:prstClr>
            </a:outerShdw>
          </a:effectLst>
        </p:spPr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 sz="360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623C27D-FC72-26CE-0F62-B0690474C179}"/>
              </a:ext>
            </a:extLst>
          </p:cNvPr>
          <p:cNvGrpSpPr/>
          <p:nvPr/>
        </p:nvGrpSpPr>
        <p:grpSpPr>
          <a:xfrm>
            <a:off x="-35394290" y="-39979600"/>
            <a:ext cx="95504000" cy="95504000"/>
            <a:chOff x="-116114" y="-2783114"/>
            <a:chExt cx="12424228" cy="12424228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1ED418F8-CE1F-8279-FD09-819D0F56A391}"/>
                </a:ext>
              </a:extLst>
            </p:cNvPr>
            <p:cNvSpPr/>
            <p:nvPr/>
          </p:nvSpPr>
          <p:spPr>
            <a:xfrm>
              <a:off x="-116114" y="-2783114"/>
              <a:ext cx="12424228" cy="12424228"/>
            </a:xfrm>
            <a:custGeom>
              <a:avLst/>
              <a:gdLst>
                <a:gd name="connsiteX0" fmla="*/ 7788517 w 7788516"/>
                <a:gd name="connsiteY0" fmla="*/ 3894258 h 7788516"/>
                <a:gd name="connsiteX1" fmla="*/ 3894258 w 7788516"/>
                <a:gd name="connsiteY1" fmla="*/ 7788517 h 7788516"/>
                <a:gd name="connsiteX2" fmla="*/ 0 w 7788516"/>
                <a:gd name="connsiteY2" fmla="*/ 3894258 h 7788516"/>
                <a:gd name="connsiteX3" fmla="*/ 3894258 w 7788516"/>
                <a:gd name="connsiteY3" fmla="*/ 0 h 7788516"/>
                <a:gd name="connsiteX4" fmla="*/ 7788517 w 7788516"/>
                <a:gd name="connsiteY4" fmla="*/ 3894258 h 7788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88516" h="7788516">
                  <a:moveTo>
                    <a:pt x="7788517" y="3894258"/>
                  </a:moveTo>
                  <a:cubicBezTo>
                    <a:pt x="7788517" y="6044998"/>
                    <a:pt x="6044998" y="7788517"/>
                    <a:pt x="3894258" y="7788517"/>
                  </a:cubicBezTo>
                  <a:cubicBezTo>
                    <a:pt x="1743519" y="7788517"/>
                    <a:pt x="0" y="6044998"/>
                    <a:pt x="0" y="3894258"/>
                  </a:cubicBezTo>
                  <a:cubicBezTo>
                    <a:pt x="0" y="1743519"/>
                    <a:pt x="1743519" y="0"/>
                    <a:pt x="3894258" y="0"/>
                  </a:cubicBezTo>
                  <a:cubicBezTo>
                    <a:pt x="6044998" y="0"/>
                    <a:pt x="7788517" y="1743519"/>
                    <a:pt x="7788517" y="3894258"/>
                  </a:cubicBezTo>
                  <a:close/>
                </a:path>
              </a:pathLst>
            </a:custGeom>
            <a:noFill/>
            <a:ln w="12700" cap="flat"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10000"/>
                    </a:schemeClr>
                  </a:gs>
                </a:gsLst>
                <a:lin ang="5400000" scaled="1"/>
              </a:gradFill>
              <a:prstDash val="solid"/>
              <a:miter/>
            </a:ln>
            <a:effectLst>
              <a:outerShdw blurRad="444500" dist="190500" dir="5400000" algn="t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3600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EE879F98-1E52-C717-CB5B-AE86450CB5AE}"/>
                </a:ext>
              </a:extLst>
            </p:cNvPr>
            <p:cNvSpPr/>
            <p:nvPr/>
          </p:nvSpPr>
          <p:spPr>
            <a:xfrm>
              <a:off x="1180889" y="-1486112"/>
              <a:ext cx="9830223" cy="9830223"/>
            </a:xfrm>
            <a:custGeom>
              <a:avLst/>
              <a:gdLst>
                <a:gd name="connsiteX0" fmla="*/ 6162384 w 6162383"/>
                <a:gd name="connsiteY0" fmla="*/ 3081192 h 6162383"/>
                <a:gd name="connsiteX1" fmla="*/ 3081192 w 6162383"/>
                <a:gd name="connsiteY1" fmla="*/ 6162384 h 6162383"/>
                <a:gd name="connsiteX2" fmla="*/ 0 w 6162383"/>
                <a:gd name="connsiteY2" fmla="*/ 3081192 h 6162383"/>
                <a:gd name="connsiteX3" fmla="*/ 3081192 w 6162383"/>
                <a:gd name="connsiteY3" fmla="*/ 0 h 6162383"/>
                <a:gd name="connsiteX4" fmla="*/ 6162384 w 6162383"/>
                <a:gd name="connsiteY4" fmla="*/ 3081192 h 6162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62383" h="6162383">
                  <a:moveTo>
                    <a:pt x="6162384" y="3081192"/>
                  </a:moveTo>
                  <a:cubicBezTo>
                    <a:pt x="6162384" y="4782887"/>
                    <a:pt x="4782887" y="6162384"/>
                    <a:pt x="3081192" y="6162384"/>
                  </a:cubicBezTo>
                  <a:cubicBezTo>
                    <a:pt x="1379497" y="6162384"/>
                    <a:pt x="0" y="4782887"/>
                    <a:pt x="0" y="3081192"/>
                  </a:cubicBezTo>
                  <a:cubicBezTo>
                    <a:pt x="0" y="1379497"/>
                    <a:pt x="1379497" y="0"/>
                    <a:pt x="3081192" y="0"/>
                  </a:cubicBezTo>
                  <a:cubicBezTo>
                    <a:pt x="4782887" y="0"/>
                    <a:pt x="6162384" y="1379497"/>
                    <a:pt x="6162384" y="3081192"/>
                  </a:cubicBezTo>
                  <a:close/>
                </a:path>
              </a:pathLst>
            </a:custGeom>
            <a:noFill/>
            <a:ln w="12700" cap="flat"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10000"/>
                    </a:schemeClr>
                  </a:gs>
                </a:gsLst>
                <a:lin ang="5400000" scaled="1"/>
              </a:gradFill>
              <a:prstDash val="solid"/>
              <a:miter/>
            </a:ln>
            <a:effectLst>
              <a:outerShdw blurRad="444500" dist="190500" dir="5400000" algn="t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360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AF1BAF94-39AF-0AB0-AE8B-9654F80CFC27}"/>
                </a:ext>
              </a:extLst>
            </p:cNvPr>
            <p:cNvSpPr/>
            <p:nvPr/>
          </p:nvSpPr>
          <p:spPr>
            <a:xfrm>
              <a:off x="2477892" y="-189109"/>
              <a:ext cx="7236219" cy="7236219"/>
            </a:xfrm>
            <a:custGeom>
              <a:avLst/>
              <a:gdLst>
                <a:gd name="connsiteX0" fmla="*/ 4536251 w 4536250"/>
                <a:gd name="connsiteY0" fmla="*/ 2268125 h 4536250"/>
                <a:gd name="connsiteX1" fmla="*/ 2268125 w 4536250"/>
                <a:gd name="connsiteY1" fmla="*/ 4536251 h 4536250"/>
                <a:gd name="connsiteX2" fmla="*/ 0 w 4536250"/>
                <a:gd name="connsiteY2" fmla="*/ 2268125 h 4536250"/>
                <a:gd name="connsiteX3" fmla="*/ 2268125 w 4536250"/>
                <a:gd name="connsiteY3" fmla="*/ 0 h 4536250"/>
                <a:gd name="connsiteX4" fmla="*/ 4536251 w 4536250"/>
                <a:gd name="connsiteY4" fmla="*/ 2268125 h 453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36250" h="4536250">
                  <a:moveTo>
                    <a:pt x="4536251" y="2268125"/>
                  </a:moveTo>
                  <a:cubicBezTo>
                    <a:pt x="4536251" y="3520777"/>
                    <a:pt x="3520776" y="4536251"/>
                    <a:pt x="2268125" y="4536251"/>
                  </a:cubicBezTo>
                  <a:cubicBezTo>
                    <a:pt x="1015474" y="4536251"/>
                    <a:pt x="0" y="3520776"/>
                    <a:pt x="0" y="2268125"/>
                  </a:cubicBezTo>
                  <a:cubicBezTo>
                    <a:pt x="0" y="1015474"/>
                    <a:pt x="1015474" y="0"/>
                    <a:pt x="2268125" y="0"/>
                  </a:cubicBezTo>
                  <a:cubicBezTo>
                    <a:pt x="3520777" y="0"/>
                    <a:pt x="4536251" y="1015474"/>
                    <a:pt x="4536251" y="2268125"/>
                  </a:cubicBezTo>
                  <a:close/>
                </a:path>
              </a:pathLst>
            </a:custGeom>
            <a:noFill/>
            <a:ln w="12700" cap="flat"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10000"/>
                    </a:schemeClr>
                  </a:gs>
                </a:gsLst>
                <a:lin ang="5400000" scaled="1"/>
              </a:gradFill>
              <a:prstDash val="solid"/>
              <a:miter/>
            </a:ln>
            <a:effectLst>
              <a:outerShdw blurRad="444500" dist="190500" dir="5400000" algn="t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360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C03E98EC-0EF4-B109-CE1C-2AFFE8976F25}"/>
                </a:ext>
              </a:extLst>
            </p:cNvPr>
            <p:cNvSpPr/>
            <p:nvPr/>
          </p:nvSpPr>
          <p:spPr>
            <a:xfrm>
              <a:off x="3774892" y="1107892"/>
              <a:ext cx="4642213" cy="4642213"/>
            </a:xfrm>
            <a:custGeom>
              <a:avLst/>
              <a:gdLst>
                <a:gd name="connsiteX0" fmla="*/ 2910118 w 2910117"/>
                <a:gd name="connsiteY0" fmla="*/ 1455059 h 2910117"/>
                <a:gd name="connsiteX1" fmla="*/ 1455059 w 2910117"/>
                <a:gd name="connsiteY1" fmla="*/ 2910118 h 2910117"/>
                <a:gd name="connsiteX2" fmla="*/ 0 w 2910117"/>
                <a:gd name="connsiteY2" fmla="*/ 1455059 h 2910117"/>
                <a:gd name="connsiteX3" fmla="*/ 1455059 w 2910117"/>
                <a:gd name="connsiteY3" fmla="*/ 0 h 2910117"/>
                <a:gd name="connsiteX4" fmla="*/ 2910118 w 2910117"/>
                <a:gd name="connsiteY4" fmla="*/ 1455059 h 291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10117" h="2910117">
                  <a:moveTo>
                    <a:pt x="2910118" y="1455059"/>
                  </a:moveTo>
                  <a:cubicBezTo>
                    <a:pt x="2910118" y="2258666"/>
                    <a:pt x="2258666" y="2910118"/>
                    <a:pt x="1455059" y="2910118"/>
                  </a:cubicBezTo>
                  <a:cubicBezTo>
                    <a:pt x="651452" y="2910118"/>
                    <a:pt x="0" y="2258666"/>
                    <a:pt x="0" y="1455059"/>
                  </a:cubicBezTo>
                  <a:cubicBezTo>
                    <a:pt x="0" y="651452"/>
                    <a:pt x="651452" y="0"/>
                    <a:pt x="1455059" y="0"/>
                  </a:cubicBezTo>
                  <a:cubicBezTo>
                    <a:pt x="2258666" y="0"/>
                    <a:pt x="2910118" y="651452"/>
                    <a:pt x="2910118" y="1455059"/>
                  </a:cubicBezTo>
                  <a:close/>
                </a:path>
              </a:pathLst>
            </a:custGeom>
            <a:noFill/>
            <a:ln w="12700" cap="flat">
              <a:gradFill>
                <a:gsLst>
                  <a:gs pos="0">
                    <a:schemeClr val="accent1">
                      <a:alpha val="0"/>
                    </a:schemeClr>
                  </a:gs>
                  <a:gs pos="100000">
                    <a:schemeClr val="accent1">
                      <a:alpha val="10000"/>
                    </a:schemeClr>
                  </a:gs>
                </a:gsLst>
                <a:lin ang="5400000" scaled="1"/>
              </a:gradFill>
              <a:prstDash val="solid"/>
              <a:miter/>
            </a:ln>
            <a:effectLst>
              <a:outerShdw blurRad="444500" dist="190500" dir="5400000" algn="t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3600"/>
            </a:p>
          </p:txBody>
        </p:sp>
      </p:grpSp>
      <p:sp>
        <p:nvSpPr>
          <p:cNvPr id="7" name="Freeform: Shape 30">
            <a:extLst>
              <a:ext uri="{FF2B5EF4-FFF2-40B4-BE49-F238E27FC236}">
                <a16:creationId xmlns:a16="http://schemas.microsoft.com/office/drawing/2014/main" id="{55155B28-38B4-C133-F74C-501ADBDD7746}"/>
              </a:ext>
            </a:extLst>
          </p:cNvPr>
          <p:cNvSpPr/>
          <p:nvPr/>
        </p:nvSpPr>
        <p:spPr>
          <a:xfrm>
            <a:off x="9037470" y="3701883"/>
            <a:ext cx="6312233" cy="6312233"/>
          </a:xfrm>
          <a:custGeom>
            <a:avLst/>
            <a:gdLst>
              <a:gd name="connsiteX0" fmla="*/ 2910118 w 2910117"/>
              <a:gd name="connsiteY0" fmla="*/ 1455059 h 2910117"/>
              <a:gd name="connsiteX1" fmla="*/ 1455059 w 2910117"/>
              <a:gd name="connsiteY1" fmla="*/ 2910118 h 2910117"/>
              <a:gd name="connsiteX2" fmla="*/ 0 w 2910117"/>
              <a:gd name="connsiteY2" fmla="*/ 1455059 h 2910117"/>
              <a:gd name="connsiteX3" fmla="*/ 1455059 w 2910117"/>
              <a:gd name="connsiteY3" fmla="*/ 0 h 2910117"/>
              <a:gd name="connsiteX4" fmla="*/ 2910118 w 2910117"/>
              <a:gd name="connsiteY4" fmla="*/ 1455059 h 2910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10117" h="2910117">
                <a:moveTo>
                  <a:pt x="2910118" y="1455059"/>
                </a:moveTo>
                <a:cubicBezTo>
                  <a:pt x="2910118" y="2258666"/>
                  <a:pt x="2258666" y="2910118"/>
                  <a:pt x="1455059" y="2910118"/>
                </a:cubicBezTo>
                <a:cubicBezTo>
                  <a:pt x="651452" y="2910118"/>
                  <a:pt x="0" y="2258666"/>
                  <a:pt x="0" y="1455059"/>
                </a:cubicBezTo>
                <a:cubicBezTo>
                  <a:pt x="0" y="651452"/>
                  <a:pt x="651452" y="0"/>
                  <a:pt x="1455059" y="0"/>
                </a:cubicBezTo>
                <a:cubicBezTo>
                  <a:pt x="2258666" y="0"/>
                  <a:pt x="2910118" y="651452"/>
                  <a:pt x="2910118" y="1455059"/>
                </a:cubicBezTo>
                <a:close/>
              </a:path>
            </a:pathLst>
          </a:custGeom>
          <a:solidFill>
            <a:schemeClr val="bg2"/>
          </a:solidFill>
          <a:ln w="12700" cap="flat">
            <a:noFill/>
            <a:prstDash val="solid"/>
            <a:miter/>
          </a:ln>
          <a:effectLst>
            <a:outerShdw blurRad="444500" dist="190500" dir="5400000" algn="t" rotWithShape="0">
              <a:prstClr val="black">
                <a:alpha val="10000"/>
              </a:prstClr>
            </a:outerShdw>
          </a:effectLst>
        </p:spPr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 sz="3600"/>
          </a:p>
        </p:txBody>
      </p:sp>
      <p:grpSp>
        <p:nvGrpSpPr>
          <p:cNvPr id="8" name="Graphic 29">
            <a:extLst>
              <a:ext uri="{FF2B5EF4-FFF2-40B4-BE49-F238E27FC236}">
                <a16:creationId xmlns:a16="http://schemas.microsoft.com/office/drawing/2014/main" id="{6998194D-2801-AA41-E623-3C42796D7E52}"/>
              </a:ext>
            </a:extLst>
          </p:cNvPr>
          <p:cNvGrpSpPr/>
          <p:nvPr/>
        </p:nvGrpSpPr>
        <p:grpSpPr>
          <a:xfrm>
            <a:off x="11233466" y="4658706"/>
            <a:ext cx="2257119" cy="4232847"/>
            <a:chOff x="1502100" y="653619"/>
            <a:chExt cx="2035484" cy="3817207"/>
          </a:xfrm>
          <a:solidFill>
            <a:schemeClr val="bg1"/>
          </a:solidFill>
        </p:grpSpPr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139F3B4D-8FA8-6646-D368-52996D5FFF4B}"/>
                </a:ext>
              </a:extLst>
            </p:cNvPr>
            <p:cNvSpPr/>
            <p:nvPr/>
          </p:nvSpPr>
          <p:spPr>
            <a:xfrm>
              <a:off x="1502100" y="653619"/>
              <a:ext cx="2035484" cy="3817207"/>
            </a:xfrm>
            <a:custGeom>
              <a:avLst/>
              <a:gdLst>
                <a:gd name="connsiteX0" fmla="*/ 1775452 w 2035484"/>
                <a:gd name="connsiteY0" fmla="*/ 2695942 h 3817207"/>
                <a:gd name="connsiteX1" fmla="*/ 1556377 w 2035484"/>
                <a:gd name="connsiteY1" fmla="*/ 2695942 h 3817207"/>
                <a:gd name="connsiteX2" fmla="*/ 1516372 w 2035484"/>
                <a:gd name="connsiteY2" fmla="*/ 2664509 h 3817207"/>
                <a:gd name="connsiteX3" fmla="*/ 1423027 w 2035484"/>
                <a:gd name="connsiteY3" fmla="*/ 2477819 h 3817207"/>
                <a:gd name="connsiteX4" fmla="*/ 1031549 w 2035484"/>
                <a:gd name="connsiteY4" fmla="*/ 2283509 h 3817207"/>
                <a:gd name="connsiteX5" fmla="*/ 508627 w 2035484"/>
                <a:gd name="connsiteY5" fmla="*/ 2785477 h 3817207"/>
                <a:gd name="connsiteX6" fmla="*/ 1010594 w 2035484"/>
                <a:gd name="connsiteY6" fmla="*/ 3308399 h 3817207"/>
                <a:gd name="connsiteX7" fmla="*/ 1515419 w 2035484"/>
                <a:gd name="connsiteY7" fmla="*/ 2931209 h 3817207"/>
                <a:gd name="connsiteX8" fmla="*/ 1518277 w 2035484"/>
                <a:gd name="connsiteY8" fmla="*/ 2917874 h 3817207"/>
                <a:gd name="connsiteX9" fmla="*/ 1546852 w 2035484"/>
                <a:gd name="connsiteY9" fmla="*/ 2895967 h 3817207"/>
                <a:gd name="connsiteX10" fmla="*/ 1985955 w 2035484"/>
                <a:gd name="connsiteY10" fmla="*/ 2895967 h 3817207"/>
                <a:gd name="connsiteX11" fmla="*/ 2022149 w 2035484"/>
                <a:gd name="connsiteY11" fmla="*/ 2895967 h 3817207"/>
                <a:gd name="connsiteX12" fmla="*/ 2035484 w 2035484"/>
                <a:gd name="connsiteY12" fmla="*/ 2909302 h 3817207"/>
                <a:gd name="connsiteX13" fmla="*/ 2035484 w 2035484"/>
                <a:gd name="connsiteY13" fmla="*/ 2912159 h 3817207"/>
                <a:gd name="connsiteX14" fmla="*/ 2033580 w 2035484"/>
                <a:gd name="connsiteY14" fmla="*/ 2935019 h 3817207"/>
                <a:gd name="connsiteX15" fmla="*/ 1294440 w 2035484"/>
                <a:gd name="connsiteY15" fmla="*/ 3779887 h 3817207"/>
                <a:gd name="connsiteX16" fmla="*/ 37139 w 2035484"/>
                <a:gd name="connsiteY16" fmla="*/ 3068369 h 3817207"/>
                <a:gd name="connsiteX17" fmla="*/ 65714 w 2035484"/>
                <a:gd name="connsiteY17" fmla="*/ 2434004 h 3817207"/>
                <a:gd name="connsiteX18" fmla="*/ 315269 w 2035484"/>
                <a:gd name="connsiteY18" fmla="*/ 1756777 h 3817207"/>
                <a:gd name="connsiteX19" fmla="*/ 944872 w 2035484"/>
                <a:gd name="connsiteY19" fmla="*/ 42277 h 3817207"/>
                <a:gd name="connsiteX20" fmla="*/ 1009642 w 2035484"/>
                <a:gd name="connsiteY20" fmla="*/ 20369 h 3817207"/>
                <a:gd name="connsiteX21" fmla="*/ 1340159 w 2035484"/>
                <a:gd name="connsiteY21" fmla="*/ 531862 h 3817207"/>
                <a:gd name="connsiteX22" fmla="*/ 1266817 w 2035484"/>
                <a:gd name="connsiteY22" fmla="*/ 1033829 h 3817207"/>
                <a:gd name="connsiteX23" fmla="*/ 929632 w 2035484"/>
                <a:gd name="connsiteY23" fmla="*/ 1708199 h 3817207"/>
                <a:gd name="connsiteX24" fmla="*/ 906772 w 2035484"/>
                <a:gd name="connsiteY24" fmla="*/ 1752967 h 3817207"/>
                <a:gd name="connsiteX25" fmla="*/ 923917 w 2035484"/>
                <a:gd name="connsiteY25" fmla="*/ 1779637 h 3817207"/>
                <a:gd name="connsiteX26" fmla="*/ 1038217 w 2035484"/>
                <a:gd name="connsiteY26" fmla="*/ 1776779 h 3817207"/>
                <a:gd name="connsiteX27" fmla="*/ 1658294 w 2035484"/>
                <a:gd name="connsiteY27" fmla="*/ 1999664 h 3817207"/>
                <a:gd name="connsiteX28" fmla="*/ 2023102 w 2035484"/>
                <a:gd name="connsiteY28" fmla="*/ 2599739 h 3817207"/>
                <a:gd name="connsiteX29" fmla="*/ 2034532 w 2035484"/>
                <a:gd name="connsiteY29" fmla="*/ 2672129 h 3817207"/>
                <a:gd name="connsiteX30" fmla="*/ 2013577 w 2035484"/>
                <a:gd name="connsiteY30" fmla="*/ 2697847 h 3817207"/>
                <a:gd name="connsiteX31" fmla="*/ 1774499 w 2035484"/>
                <a:gd name="connsiteY31" fmla="*/ 2697847 h 3817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035484" h="3817207">
                  <a:moveTo>
                    <a:pt x="1775452" y="2695942"/>
                  </a:moveTo>
                  <a:lnTo>
                    <a:pt x="1556377" y="2695942"/>
                  </a:lnTo>
                  <a:cubicBezTo>
                    <a:pt x="1525897" y="2695942"/>
                    <a:pt x="1524944" y="2695942"/>
                    <a:pt x="1516372" y="2664509"/>
                  </a:cubicBezTo>
                  <a:cubicBezTo>
                    <a:pt x="1499227" y="2595929"/>
                    <a:pt x="1466842" y="2533064"/>
                    <a:pt x="1423027" y="2477819"/>
                  </a:cubicBezTo>
                  <a:cubicBezTo>
                    <a:pt x="1322062" y="2353994"/>
                    <a:pt x="1191569" y="2287319"/>
                    <a:pt x="1031549" y="2283509"/>
                  </a:cubicBezTo>
                  <a:cubicBezTo>
                    <a:pt x="748657" y="2277794"/>
                    <a:pt x="514342" y="2502584"/>
                    <a:pt x="508627" y="2785477"/>
                  </a:cubicBezTo>
                  <a:cubicBezTo>
                    <a:pt x="502912" y="3068369"/>
                    <a:pt x="727702" y="3302684"/>
                    <a:pt x="1010594" y="3308399"/>
                  </a:cubicBezTo>
                  <a:cubicBezTo>
                    <a:pt x="1244909" y="3313162"/>
                    <a:pt x="1453507" y="3157904"/>
                    <a:pt x="1515419" y="2931209"/>
                  </a:cubicBezTo>
                  <a:cubicBezTo>
                    <a:pt x="1516372" y="2926447"/>
                    <a:pt x="1517324" y="2922637"/>
                    <a:pt x="1518277" y="2917874"/>
                  </a:cubicBezTo>
                  <a:cubicBezTo>
                    <a:pt x="1523992" y="2897872"/>
                    <a:pt x="1525897" y="2895967"/>
                    <a:pt x="1546852" y="2895967"/>
                  </a:cubicBezTo>
                  <a:lnTo>
                    <a:pt x="1985955" y="2895967"/>
                  </a:lnTo>
                  <a:cubicBezTo>
                    <a:pt x="1998337" y="2895967"/>
                    <a:pt x="2009767" y="2895967"/>
                    <a:pt x="2022149" y="2895967"/>
                  </a:cubicBezTo>
                  <a:cubicBezTo>
                    <a:pt x="2029769" y="2895967"/>
                    <a:pt x="2035484" y="2901682"/>
                    <a:pt x="2035484" y="2909302"/>
                  </a:cubicBezTo>
                  <a:cubicBezTo>
                    <a:pt x="2035484" y="2909302"/>
                    <a:pt x="2035484" y="2911207"/>
                    <a:pt x="2035484" y="2912159"/>
                  </a:cubicBezTo>
                  <a:cubicBezTo>
                    <a:pt x="2035484" y="2919779"/>
                    <a:pt x="2035484" y="2927399"/>
                    <a:pt x="2033580" y="2935019"/>
                  </a:cubicBezTo>
                  <a:cubicBezTo>
                    <a:pt x="1976430" y="3339832"/>
                    <a:pt x="1688774" y="3672254"/>
                    <a:pt x="1294440" y="3779887"/>
                  </a:cubicBezTo>
                  <a:cubicBezTo>
                    <a:pt x="750562" y="3930382"/>
                    <a:pt x="187634" y="3612247"/>
                    <a:pt x="37139" y="3068369"/>
                  </a:cubicBezTo>
                  <a:cubicBezTo>
                    <a:pt x="-20963" y="2858819"/>
                    <a:pt x="-10486" y="2636887"/>
                    <a:pt x="65714" y="2434004"/>
                  </a:cubicBezTo>
                  <a:cubicBezTo>
                    <a:pt x="148582" y="2208262"/>
                    <a:pt x="232402" y="1982519"/>
                    <a:pt x="315269" y="1756777"/>
                  </a:cubicBezTo>
                  <a:cubicBezTo>
                    <a:pt x="524819" y="1185277"/>
                    <a:pt x="735322" y="613777"/>
                    <a:pt x="944872" y="42277"/>
                  </a:cubicBezTo>
                  <a:cubicBezTo>
                    <a:pt x="963922" y="-9158"/>
                    <a:pt x="965827" y="-10111"/>
                    <a:pt x="1009642" y="20369"/>
                  </a:cubicBezTo>
                  <a:cubicBezTo>
                    <a:pt x="1189665" y="146099"/>
                    <a:pt x="1301107" y="316597"/>
                    <a:pt x="1340159" y="531862"/>
                  </a:cubicBezTo>
                  <a:cubicBezTo>
                    <a:pt x="1372544" y="702359"/>
                    <a:pt x="1346827" y="879524"/>
                    <a:pt x="1266817" y="1033829"/>
                  </a:cubicBezTo>
                  <a:cubicBezTo>
                    <a:pt x="1154422" y="1258619"/>
                    <a:pt x="1041074" y="1483409"/>
                    <a:pt x="929632" y="1708199"/>
                  </a:cubicBezTo>
                  <a:cubicBezTo>
                    <a:pt x="922012" y="1723439"/>
                    <a:pt x="914392" y="1737727"/>
                    <a:pt x="906772" y="1752967"/>
                  </a:cubicBezTo>
                  <a:cubicBezTo>
                    <a:pt x="897247" y="1774874"/>
                    <a:pt x="901057" y="1780589"/>
                    <a:pt x="923917" y="1779637"/>
                  </a:cubicBezTo>
                  <a:cubicBezTo>
                    <a:pt x="962017" y="1778684"/>
                    <a:pt x="1000117" y="1775827"/>
                    <a:pt x="1038217" y="1776779"/>
                  </a:cubicBezTo>
                  <a:cubicBezTo>
                    <a:pt x="1263959" y="1778684"/>
                    <a:pt x="1483034" y="1856789"/>
                    <a:pt x="1658294" y="1999664"/>
                  </a:cubicBezTo>
                  <a:cubicBezTo>
                    <a:pt x="1852605" y="2154922"/>
                    <a:pt x="1972619" y="2356852"/>
                    <a:pt x="2023102" y="2599739"/>
                  </a:cubicBezTo>
                  <a:cubicBezTo>
                    <a:pt x="2027865" y="2623552"/>
                    <a:pt x="2031674" y="2647364"/>
                    <a:pt x="2034532" y="2672129"/>
                  </a:cubicBezTo>
                  <a:cubicBezTo>
                    <a:pt x="2037390" y="2692132"/>
                    <a:pt x="2032627" y="2696894"/>
                    <a:pt x="2013577" y="2697847"/>
                  </a:cubicBezTo>
                  <a:lnTo>
                    <a:pt x="1774499" y="269784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8D19E80-EFE1-0F8B-FF61-C4539B3703A6}"/>
                </a:ext>
              </a:extLst>
            </p:cNvPr>
            <p:cNvSpPr/>
            <p:nvPr/>
          </p:nvSpPr>
          <p:spPr>
            <a:xfrm>
              <a:off x="1503045" y="1064002"/>
              <a:ext cx="291914" cy="1722631"/>
            </a:xfrm>
            <a:custGeom>
              <a:avLst/>
              <a:gdLst>
                <a:gd name="connsiteX0" fmla="*/ 952 w 291914"/>
                <a:gd name="connsiteY0" fmla="*/ 1722632 h 1722631"/>
                <a:gd name="connsiteX1" fmla="*/ 952 w 291914"/>
                <a:gd name="connsiteY1" fmla="*/ 1374969 h 1722631"/>
                <a:gd name="connsiteX2" fmla="*/ 952 w 291914"/>
                <a:gd name="connsiteY2" fmla="*/ 1342584 h 1722631"/>
                <a:gd name="connsiteX3" fmla="*/ 3810 w 291914"/>
                <a:gd name="connsiteY3" fmla="*/ 465331 h 1722631"/>
                <a:gd name="connsiteX4" fmla="*/ 3810 w 291914"/>
                <a:gd name="connsiteY4" fmla="*/ 40516 h 1722631"/>
                <a:gd name="connsiteX5" fmla="*/ 48577 w 291914"/>
                <a:gd name="connsiteY5" fmla="*/ 4321 h 1722631"/>
                <a:gd name="connsiteX6" fmla="*/ 271463 w 291914"/>
                <a:gd name="connsiteY6" fmla="*/ 96714 h 1722631"/>
                <a:gd name="connsiteX7" fmla="*/ 290513 w 291914"/>
                <a:gd name="connsiteY7" fmla="*/ 136719 h 1722631"/>
                <a:gd name="connsiteX8" fmla="*/ 211455 w 291914"/>
                <a:gd name="connsiteY8" fmla="*/ 576774 h 1722631"/>
                <a:gd name="connsiteX9" fmla="*/ 122872 w 291914"/>
                <a:gd name="connsiteY9" fmla="*/ 1071122 h 1722631"/>
                <a:gd name="connsiteX10" fmla="*/ 16192 w 291914"/>
                <a:gd name="connsiteY10" fmla="*/ 1664529 h 1722631"/>
                <a:gd name="connsiteX11" fmla="*/ 0 w 291914"/>
                <a:gd name="connsiteY11" fmla="*/ 1720726 h 1722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1914" h="1722631">
                  <a:moveTo>
                    <a:pt x="952" y="1722632"/>
                  </a:moveTo>
                  <a:lnTo>
                    <a:pt x="952" y="1374969"/>
                  </a:lnTo>
                  <a:cubicBezTo>
                    <a:pt x="952" y="1364491"/>
                    <a:pt x="952" y="1354014"/>
                    <a:pt x="952" y="1342584"/>
                  </a:cubicBezTo>
                  <a:cubicBezTo>
                    <a:pt x="1905" y="1050166"/>
                    <a:pt x="2858" y="757749"/>
                    <a:pt x="3810" y="465331"/>
                  </a:cubicBezTo>
                  <a:cubicBezTo>
                    <a:pt x="3810" y="323409"/>
                    <a:pt x="3810" y="182439"/>
                    <a:pt x="3810" y="40516"/>
                  </a:cubicBezTo>
                  <a:cubicBezTo>
                    <a:pt x="3810" y="-1394"/>
                    <a:pt x="8572" y="-5204"/>
                    <a:pt x="48577" y="4321"/>
                  </a:cubicBezTo>
                  <a:cubicBezTo>
                    <a:pt x="126683" y="24324"/>
                    <a:pt x="201930" y="54804"/>
                    <a:pt x="271463" y="96714"/>
                  </a:cubicBezTo>
                  <a:cubicBezTo>
                    <a:pt x="287655" y="103381"/>
                    <a:pt x="295275" y="120527"/>
                    <a:pt x="290513" y="136719"/>
                  </a:cubicBezTo>
                  <a:cubicBezTo>
                    <a:pt x="262890" y="283404"/>
                    <a:pt x="238125" y="430089"/>
                    <a:pt x="211455" y="576774"/>
                  </a:cubicBezTo>
                  <a:cubicBezTo>
                    <a:pt x="181927" y="741557"/>
                    <a:pt x="152400" y="906339"/>
                    <a:pt x="122872" y="1071122"/>
                  </a:cubicBezTo>
                  <a:cubicBezTo>
                    <a:pt x="87630" y="1269241"/>
                    <a:pt x="51435" y="1466409"/>
                    <a:pt x="16192" y="1664529"/>
                  </a:cubicBezTo>
                  <a:cubicBezTo>
                    <a:pt x="12383" y="1681674"/>
                    <a:pt x="10477" y="1692151"/>
                    <a:pt x="0" y="17207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3B7B53FD-6C1F-F9A7-5C63-1FBA54D0894B}"/>
                </a:ext>
              </a:extLst>
            </p:cNvPr>
            <p:cNvSpPr/>
            <p:nvPr/>
          </p:nvSpPr>
          <p:spPr>
            <a:xfrm>
              <a:off x="1683067" y="817105"/>
              <a:ext cx="541936" cy="1609483"/>
            </a:xfrm>
            <a:custGeom>
              <a:avLst/>
              <a:gdLst>
                <a:gd name="connsiteX0" fmla="*/ 953 w 541936"/>
                <a:gd name="connsiteY0" fmla="*/ 1608531 h 1609483"/>
                <a:gd name="connsiteX1" fmla="*/ 89535 w 541936"/>
                <a:gd name="connsiteY1" fmla="*/ 1138949 h 1609483"/>
                <a:gd name="connsiteX2" fmla="*/ 224790 w 541936"/>
                <a:gd name="connsiteY2" fmla="*/ 384568 h 1609483"/>
                <a:gd name="connsiteX3" fmla="*/ 285750 w 541936"/>
                <a:gd name="connsiteY3" fmla="*/ 43573 h 1609483"/>
                <a:gd name="connsiteX4" fmla="*/ 342900 w 541936"/>
                <a:gd name="connsiteY4" fmla="*/ 13093 h 1609483"/>
                <a:gd name="connsiteX5" fmla="*/ 521017 w 541936"/>
                <a:gd name="connsiteY5" fmla="*/ 123583 h 1609483"/>
                <a:gd name="connsiteX6" fmla="*/ 535305 w 541936"/>
                <a:gd name="connsiteY6" fmla="*/ 173113 h 1609483"/>
                <a:gd name="connsiteX7" fmla="*/ 456248 w 541936"/>
                <a:gd name="connsiteY7" fmla="*/ 387426 h 1609483"/>
                <a:gd name="connsiteX8" fmla="*/ 200025 w 541936"/>
                <a:gd name="connsiteY8" fmla="*/ 1085608 h 1609483"/>
                <a:gd name="connsiteX9" fmla="*/ 35242 w 541936"/>
                <a:gd name="connsiteY9" fmla="*/ 1530426 h 1609483"/>
                <a:gd name="connsiteX10" fmla="*/ 0 w 541936"/>
                <a:gd name="connsiteY10" fmla="*/ 1609483 h 1609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1936" h="1609483">
                  <a:moveTo>
                    <a:pt x="953" y="1608531"/>
                  </a:moveTo>
                  <a:cubicBezTo>
                    <a:pt x="24765" y="1478038"/>
                    <a:pt x="66675" y="1268488"/>
                    <a:pt x="89535" y="1138949"/>
                  </a:cubicBezTo>
                  <a:cubicBezTo>
                    <a:pt x="134303" y="887488"/>
                    <a:pt x="180023" y="636028"/>
                    <a:pt x="224790" y="384568"/>
                  </a:cubicBezTo>
                  <a:cubicBezTo>
                    <a:pt x="244792" y="270268"/>
                    <a:pt x="264795" y="156921"/>
                    <a:pt x="285750" y="43573"/>
                  </a:cubicBezTo>
                  <a:cubicBezTo>
                    <a:pt x="294323" y="-1194"/>
                    <a:pt x="289560" y="-11672"/>
                    <a:pt x="342900" y="13093"/>
                  </a:cubicBezTo>
                  <a:cubicBezTo>
                    <a:pt x="406717" y="41668"/>
                    <a:pt x="466725" y="78816"/>
                    <a:pt x="521017" y="123583"/>
                  </a:cubicBezTo>
                  <a:cubicBezTo>
                    <a:pt x="545783" y="143586"/>
                    <a:pt x="545783" y="144538"/>
                    <a:pt x="535305" y="173113"/>
                  </a:cubicBezTo>
                  <a:cubicBezTo>
                    <a:pt x="509588" y="244551"/>
                    <a:pt x="482917" y="315988"/>
                    <a:pt x="456248" y="387426"/>
                  </a:cubicBezTo>
                  <a:cubicBezTo>
                    <a:pt x="370523" y="619836"/>
                    <a:pt x="284798" y="853199"/>
                    <a:pt x="200025" y="1085608"/>
                  </a:cubicBezTo>
                  <a:cubicBezTo>
                    <a:pt x="145733" y="1234199"/>
                    <a:pt x="90488" y="1382788"/>
                    <a:pt x="35242" y="1530426"/>
                  </a:cubicBezTo>
                  <a:lnTo>
                    <a:pt x="0" y="16094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E37BD8E9-F2F7-28E6-D5A1-4E7F1C5CCFB4}"/>
              </a:ext>
            </a:extLst>
          </p:cNvPr>
          <p:cNvSpPr txBox="1"/>
          <p:nvPr/>
        </p:nvSpPr>
        <p:spPr>
          <a:xfrm>
            <a:off x="6729451" y="22154960"/>
            <a:ext cx="11169212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>
              <a:defRPr/>
            </a:pPr>
            <a:r>
              <a:rPr lang="en-US" sz="9600" b="1" dirty="0">
                <a:solidFill>
                  <a:schemeClr val="bg2"/>
                </a:solidFill>
                <a:latin typeface="Futura Md BT" panose="020B0602020204020303" pitchFamily="34" charset="0"/>
              </a:rPr>
              <a:t>One more thing…</a:t>
            </a:r>
          </a:p>
        </p:txBody>
      </p:sp>
    </p:spTree>
    <p:extLst>
      <p:ext uri="{BB962C8B-B14F-4D97-AF65-F5344CB8AC3E}">
        <p14:creationId xmlns:p14="http://schemas.microsoft.com/office/powerpoint/2010/main" val="79428393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250" advClick="0" advTm="250">
        <p159:morph option="byObject"/>
      </p:transition>
    </mc:Choice>
    <mc:Fallback xmlns="">
      <p:transition spd="slow" advClick="0" advTm="25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40C8C387-8537-A3CC-164F-F83EA5DE97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4763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3" progId="TCLayout.ActiveDocument.1">
                  <p:embed/>
                </p:oleObj>
              </mc:Choice>
              <mc:Fallback>
                <p:oleObj name="think-cell Slide" r:id="rId4" imgW="344" imgH="343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40C8C387-8537-A3CC-164F-F83EA5DE97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763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: Top Corners Rounded 28">
            <a:extLst>
              <a:ext uri="{FF2B5EF4-FFF2-40B4-BE49-F238E27FC236}">
                <a16:creationId xmlns:a16="http://schemas.microsoft.com/office/drawing/2014/main" id="{62D5108F-1D3B-75DD-A776-854232ED703F}"/>
              </a:ext>
            </a:extLst>
          </p:cNvPr>
          <p:cNvSpPr/>
          <p:nvPr/>
        </p:nvSpPr>
        <p:spPr>
          <a:xfrm rot="5400000">
            <a:off x="-12286078" y="609600"/>
            <a:ext cx="11477716" cy="12496800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100000">
                <a:schemeClr val="bg1">
                  <a:lumMod val="95000"/>
                </a:schemeClr>
              </a:gs>
              <a:gs pos="8000">
                <a:schemeClr val="bg1">
                  <a:lumMod val="95000"/>
                </a:schemeClr>
              </a:gs>
              <a:gs pos="49000">
                <a:schemeClr val="bg2">
                  <a:lumMod val="95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/>
          </a:p>
        </p:txBody>
      </p:sp>
      <p:sp>
        <p:nvSpPr>
          <p:cNvPr id="27" name="Graphic 25">
            <a:extLst>
              <a:ext uri="{FF2B5EF4-FFF2-40B4-BE49-F238E27FC236}">
                <a16:creationId xmlns:a16="http://schemas.microsoft.com/office/drawing/2014/main" id="{1875AB23-511E-3A17-B5CF-A9F291EE64D6}"/>
              </a:ext>
            </a:extLst>
          </p:cNvPr>
          <p:cNvSpPr/>
          <p:nvPr/>
        </p:nvSpPr>
        <p:spPr>
          <a:xfrm>
            <a:off x="1603367" y="-3"/>
            <a:ext cx="22783808" cy="13716000"/>
          </a:xfrm>
          <a:custGeom>
            <a:avLst/>
            <a:gdLst>
              <a:gd name="connsiteX0" fmla="*/ 8543928 w 8543928"/>
              <a:gd name="connsiteY0" fmla="*/ 0 h 5143500"/>
              <a:gd name="connsiteX1" fmla="*/ 8543928 w 8543928"/>
              <a:gd name="connsiteY1" fmla="*/ 5143500 h 5143500"/>
              <a:gd name="connsiteX2" fmla="*/ 7979286 w 8543928"/>
              <a:gd name="connsiteY2" fmla="*/ 5143500 h 5143500"/>
              <a:gd name="connsiteX3" fmla="*/ 7979286 w 8543928"/>
              <a:gd name="connsiteY3" fmla="*/ 5143500 h 5143500"/>
              <a:gd name="connsiteX4" fmla="*/ 7341493 w 8543928"/>
              <a:gd name="connsiteY4" fmla="*/ 4505706 h 5143500"/>
              <a:gd name="connsiteX5" fmla="*/ 1950533 w 8543928"/>
              <a:gd name="connsiteY5" fmla="*/ 4505706 h 5143500"/>
              <a:gd name="connsiteX6" fmla="*/ 3 w 8543928"/>
              <a:gd name="connsiteY6" fmla="*/ 2568131 h 5143500"/>
              <a:gd name="connsiteX7" fmla="*/ 1933959 w 8543928"/>
              <a:gd name="connsiteY7" fmla="*/ 637794 h 5143500"/>
              <a:gd name="connsiteX8" fmla="*/ 7341493 w 8543928"/>
              <a:gd name="connsiteY8" fmla="*/ 637794 h 5143500"/>
              <a:gd name="connsiteX9" fmla="*/ 7979286 w 8543928"/>
              <a:gd name="connsiteY9" fmla="*/ 0 h 5143500"/>
              <a:gd name="connsiteX10" fmla="*/ 7979286 w 8543928"/>
              <a:gd name="connsiteY10" fmla="*/ 0 h 5143500"/>
              <a:gd name="connsiteX11" fmla="*/ 8543928 w 8543928"/>
              <a:gd name="connsiteY11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8543928" h="5143500">
                <a:moveTo>
                  <a:pt x="8543928" y="0"/>
                </a:moveTo>
                <a:lnTo>
                  <a:pt x="8543928" y="5143500"/>
                </a:lnTo>
                <a:lnTo>
                  <a:pt x="7979286" y="5143500"/>
                </a:lnTo>
                <a:lnTo>
                  <a:pt x="7979286" y="5143500"/>
                </a:lnTo>
                <a:cubicBezTo>
                  <a:pt x="7979286" y="4791266"/>
                  <a:pt x="7693727" y="4505706"/>
                  <a:pt x="7341493" y="4505706"/>
                </a:cubicBezTo>
                <a:lnTo>
                  <a:pt x="1950533" y="4505706"/>
                </a:lnTo>
                <a:cubicBezTo>
                  <a:pt x="884781" y="4505706"/>
                  <a:pt x="-1997" y="3633788"/>
                  <a:pt x="3" y="2568131"/>
                </a:cubicBezTo>
                <a:cubicBezTo>
                  <a:pt x="2004" y="1501616"/>
                  <a:pt x="867064" y="637794"/>
                  <a:pt x="1933959" y="637794"/>
                </a:cubicBezTo>
                <a:lnTo>
                  <a:pt x="7341493" y="637794"/>
                </a:lnTo>
                <a:cubicBezTo>
                  <a:pt x="7693727" y="637794"/>
                  <a:pt x="7979286" y="352235"/>
                  <a:pt x="7979286" y="0"/>
                </a:cubicBezTo>
                <a:lnTo>
                  <a:pt x="7979286" y="0"/>
                </a:lnTo>
                <a:lnTo>
                  <a:pt x="8543928" y="0"/>
                </a:lnTo>
                <a:close/>
              </a:path>
            </a:pathLst>
          </a:custGeom>
          <a:gradFill flip="none" rotWithShape="1">
            <a:gsLst>
              <a:gs pos="0">
                <a:schemeClr val="tx1"/>
              </a:gs>
              <a:gs pos="99000">
                <a:schemeClr val="tx1">
                  <a:alpha val="90027"/>
                </a:schemeClr>
              </a:gs>
            </a:gsLst>
            <a:lin ang="0" scaled="1"/>
            <a:tileRect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3600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AB8DBEB-7237-76F8-9E00-8B808F9E9422}"/>
              </a:ext>
            </a:extLst>
          </p:cNvPr>
          <p:cNvGrpSpPr/>
          <p:nvPr/>
        </p:nvGrpSpPr>
        <p:grpSpPr>
          <a:xfrm rot="5400000">
            <a:off x="-3094129" y="-2995658"/>
            <a:ext cx="19707316" cy="19707316"/>
            <a:chOff x="-116114" y="-2783114"/>
            <a:chExt cx="12424228" cy="12424228"/>
          </a:xfrm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FD60E771-8C18-2DBD-1B57-AFC72EE6D30C}"/>
                </a:ext>
              </a:extLst>
            </p:cNvPr>
            <p:cNvSpPr/>
            <p:nvPr/>
          </p:nvSpPr>
          <p:spPr>
            <a:xfrm>
              <a:off x="-116114" y="-2783114"/>
              <a:ext cx="12424228" cy="12424228"/>
            </a:xfrm>
            <a:custGeom>
              <a:avLst/>
              <a:gdLst>
                <a:gd name="connsiteX0" fmla="*/ 7788517 w 7788516"/>
                <a:gd name="connsiteY0" fmla="*/ 3894258 h 7788516"/>
                <a:gd name="connsiteX1" fmla="*/ 3894258 w 7788516"/>
                <a:gd name="connsiteY1" fmla="*/ 7788517 h 7788516"/>
                <a:gd name="connsiteX2" fmla="*/ 0 w 7788516"/>
                <a:gd name="connsiteY2" fmla="*/ 3894258 h 7788516"/>
                <a:gd name="connsiteX3" fmla="*/ 3894258 w 7788516"/>
                <a:gd name="connsiteY3" fmla="*/ 0 h 7788516"/>
                <a:gd name="connsiteX4" fmla="*/ 7788517 w 7788516"/>
                <a:gd name="connsiteY4" fmla="*/ 3894258 h 7788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88516" h="7788516">
                  <a:moveTo>
                    <a:pt x="7788517" y="3894258"/>
                  </a:moveTo>
                  <a:cubicBezTo>
                    <a:pt x="7788517" y="6044998"/>
                    <a:pt x="6044998" y="7788517"/>
                    <a:pt x="3894258" y="7788517"/>
                  </a:cubicBezTo>
                  <a:cubicBezTo>
                    <a:pt x="1743519" y="7788517"/>
                    <a:pt x="0" y="6044998"/>
                    <a:pt x="0" y="3894258"/>
                  </a:cubicBezTo>
                  <a:cubicBezTo>
                    <a:pt x="0" y="1743519"/>
                    <a:pt x="1743519" y="0"/>
                    <a:pt x="3894258" y="0"/>
                  </a:cubicBezTo>
                  <a:cubicBezTo>
                    <a:pt x="6044998" y="0"/>
                    <a:pt x="7788517" y="1743519"/>
                    <a:pt x="7788517" y="3894258"/>
                  </a:cubicBezTo>
                  <a:close/>
                </a:path>
              </a:pathLst>
            </a:custGeom>
            <a:noFill/>
            <a:ln w="12700" cap="flat">
              <a:gradFill>
                <a:gsLst>
                  <a:gs pos="0">
                    <a:srgbClr val="C80451">
                      <a:alpha val="0"/>
                    </a:srgbClr>
                  </a:gs>
                  <a:gs pos="100000">
                    <a:srgbClr val="C80451">
                      <a:alpha val="15000"/>
                    </a:srgbClr>
                  </a:gs>
                </a:gsLst>
                <a:lin ang="5400000" scaled="1"/>
              </a:gradFill>
              <a:prstDash val="solid"/>
              <a:miter/>
            </a:ln>
            <a:effectLst>
              <a:outerShdw blurRad="444500" dist="190500" dir="5400000" algn="t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3600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3F937D30-679F-22BB-F0E5-04D94A328ABC}"/>
                </a:ext>
              </a:extLst>
            </p:cNvPr>
            <p:cNvSpPr/>
            <p:nvPr/>
          </p:nvSpPr>
          <p:spPr>
            <a:xfrm>
              <a:off x="1180889" y="-1486112"/>
              <a:ext cx="9830223" cy="9830223"/>
            </a:xfrm>
            <a:custGeom>
              <a:avLst/>
              <a:gdLst>
                <a:gd name="connsiteX0" fmla="*/ 6162384 w 6162383"/>
                <a:gd name="connsiteY0" fmla="*/ 3081192 h 6162383"/>
                <a:gd name="connsiteX1" fmla="*/ 3081192 w 6162383"/>
                <a:gd name="connsiteY1" fmla="*/ 6162384 h 6162383"/>
                <a:gd name="connsiteX2" fmla="*/ 0 w 6162383"/>
                <a:gd name="connsiteY2" fmla="*/ 3081192 h 6162383"/>
                <a:gd name="connsiteX3" fmla="*/ 3081192 w 6162383"/>
                <a:gd name="connsiteY3" fmla="*/ 0 h 6162383"/>
                <a:gd name="connsiteX4" fmla="*/ 6162384 w 6162383"/>
                <a:gd name="connsiteY4" fmla="*/ 3081192 h 6162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62383" h="6162383">
                  <a:moveTo>
                    <a:pt x="6162384" y="3081192"/>
                  </a:moveTo>
                  <a:cubicBezTo>
                    <a:pt x="6162384" y="4782887"/>
                    <a:pt x="4782887" y="6162384"/>
                    <a:pt x="3081192" y="6162384"/>
                  </a:cubicBezTo>
                  <a:cubicBezTo>
                    <a:pt x="1379497" y="6162384"/>
                    <a:pt x="0" y="4782887"/>
                    <a:pt x="0" y="3081192"/>
                  </a:cubicBezTo>
                  <a:cubicBezTo>
                    <a:pt x="0" y="1379497"/>
                    <a:pt x="1379497" y="0"/>
                    <a:pt x="3081192" y="0"/>
                  </a:cubicBezTo>
                  <a:cubicBezTo>
                    <a:pt x="4782887" y="0"/>
                    <a:pt x="6162384" y="1379497"/>
                    <a:pt x="6162384" y="3081192"/>
                  </a:cubicBezTo>
                  <a:close/>
                </a:path>
              </a:pathLst>
            </a:custGeom>
            <a:noFill/>
            <a:ln w="12700" cap="flat">
              <a:gradFill>
                <a:gsLst>
                  <a:gs pos="0">
                    <a:srgbClr val="C80451">
                      <a:alpha val="0"/>
                    </a:srgbClr>
                  </a:gs>
                  <a:gs pos="100000">
                    <a:srgbClr val="C80451">
                      <a:alpha val="15000"/>
                    </a:srgbClr>
                  </a:gs>
                </a:gsLst>
                <a:lin ang="5400000" scaled="1"/>
              </a:gradFill>
              <a:prstDash val="solid"/>
              <a:miter/>
            </a:ln>
            <a:effectLst>
              <a:outerShdw blurRad="444500" dist="190500" dir="5400000" algn="t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360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9BBDDDF-4BCC-18B1-0A6D-452FEFC35488}"/>
                </a:ext>
              </a:extLst>
            </p:cNvPr>
            <p:cNvSpPr/>
            <p:nvPr/>
          </p:nvSpPr>
          <p:spPr>
            <a:xfrm>
              <a:off x="2477892" y="-189109"/>
              <a:ext cx="7236219" cy="7236219"/>
            </a:xfrm>
            <a:custGeom>
              <a:avLst/>
              <a:gdLst>
                <a:gd name="connsiteX0" fmla="*/ 4536251 w 4536250"/>
                <a:gd name="connsiteY0" fmla="*/ 2268125 h 4536250"/>
                <a:gd name="connsiteX1" fmla="*/ 2268125 w 4536250"/>
                <a:gd name="connsiteY1" fmla="*/ 4536251 h 4536250"/>
                <a:gd name="connsiteX2" fmla="*/ 0 w 4536250"/>
                <a:gd name="connsiteY2" fmla="*/ 2268125 h 4536250"/>
                <a:gd name="connsiteX3" fmla="*/ 2268125 w 4536250"/>
                <a:gd name="connsiteY3" fmla="*/ 0 h 4536250"/>
                <a:gd name="connsiteX4" fmla="*/ 4536251 w 4536250"/>
                <a:gd name="connsiteY4" fmla="*/ 2268125 h 453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36250" h="4536250">
                  <a:moveTo>
                    <a:pt x="4536251" y="2268125"/>
                  </a:moveTo>
                  <a:cubicBezTo>
                    <a:pt x="4536251" y="3520777"/>
                    <a:pt x="3520776" y="4536251"/>
                    <a:pt x="2268125" y="4536251"/>
                  </a:cubicBezTo>
                  <a:cubicBezTo>
                    <a:pt x="1015474" y="4536251"/>
                    <a:pt x="0" y="3520776"/>
                    <a:pt x="0" y="2268125"/>
                  </a:cubicBezTo>
                  <a:cubicBezTo>
                    <a:pt x="0" y="1015474"/>
                    <a:pt x="1015474" y="0"/>
                    <a:pt x="2268125" y="0"/>
                  </a:cubicBezTo>
                  <a:cubicBezTo>
                    <a:pt x="3520777" y="0"/>
                    <a:pt x="4536251" y="1015474"/>
                    <a:pt x="4536251" y="2268125"/>
                  </a:cubicBezTo>
                  <a:close/>
                </a:path>
              </a:pathLst>
            </a:custGeom>
            <a:noFill/>
            <a:ln w="12700" cap="flat">
              <a:gradFill>
                <a:gsLst>
                  <a:gs pos="0">
                    <a:srgbClr val="C80451">
                      <a:alpha val="0"/>
                    </a:srgbClr>
                  </a:gs>
                  <a:gs pos="100000">
                    <a:srgbClr val="C80451">
                      <a:alpha val="15000"/>
                    </a:srgbClr>
                  </a:gs>
                </a:gsLst>
                <a:lin ang="5400000" scaled="1"/>
              </a:gradFill>
              <a:prstDash val="solid"/>
              <a:miter/>
            </a:ln>
            <a:effectLst>
              <a:outerShdw blurRad="444500" dist="190500" dir="5400000" algn="t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360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4B126F6E-0CD5-C72E-AF9C-8530601B74FE}"/>
                </a:ext>
              </a:extLst>
            </p:cNvPr>
            <p:cNvSpPr/>
            <p:nvPr/>
          </p:nvSpPr>
          <p:spPr>
            <a:xfrm>
              <a:off x="3774892" y="1107892"/>
              <a:ext cx="4642213" cy="4642213"/>
            </a:xfrm>
            <a:custGeom>
              <a:avLst/>
              <a:gdLst>
                <a:gd name="connsiteX0" fmla="*/ 2910118 w 2910117"/>
                <a:gd name="connsiteY0" fmla="*/ 1455059 h 2910117"/>
                <a:gd name="connsiteX1" fmla="*/ 1455059 w 2910117"/>
                <a:gd name="connsiteY1" fmla="*/ 2910118 h 2910117"/>
                <a:gd name="connsiteX2" fmla="*/ 0 w 2910117"/>
                <a:gd name="connsiteY2" fmla="*/ 1455059 h 2910117"/>
                <a:gd name="connsiteX3" fmla="*/ 1455059 w 2910117"/>
                <a:gd name="connsiteY3" fmla="*/ 0 h 2910117"/>
                <a:gd name="connsiteX4" fmla="*/ 2910118 w 2910117"/>
                <a:gd name="connsiteY4" fmla="*/ 1455059 h 2910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10117" h="2910117">
                  <a:moveTo>
                    <a:pt x="2910118" y="1455059"/>
                  </a:moveTo>
                  <a:cubicBezTo>
                    <a:pt x="2910118" y="2258666"/>
                    <a:pt x="2258666" y="2910118"/>
                    <a:pt x="1455059" y="2910118"/>
                  </a:cubicBezTo>
                  <a:cubicBezTo>
                    <a:pt x="651452" y="2910118"/>
                    <a:pt x="0" y="2258666"/>
                    <a:pt x="0" y="1455059"/>
                  </a:cubicBezTo>
                  <a:cubicBezTo>
                    <a:pt x="0" y="651452"/>
                    <a:pt x="651452" y="0"/>
                    <a:pt x="1455059" y="0"/>
                  </a:cubicBezTo>
                  <a:cubicBezTo>
                    <a:pt x="2258666" y="0"/>
                    <a:pt x="2910118" y="651452"/>
                    <a:pt x="2910118" y="1455059"/>
                  </a:cubicBezTo>
                  <a:close/>
                </a:path>
              </a:pathLst>
            </a:custGeom>
            <a:noFill/>
            <a:ln w="12700" cap="flat">
              <a:gradFill>
                <a:gsLst>
                  <a:gs pos="0">
                    <a:srgbClr val="C80451">
                      <a:alpha val="0"/>
                    </a:srgbClr>
                  </a:gs>
                  <a:gs pos="100000">
                    <a:srgbClr val="C80451">
                      <a:alpha val="15000"/>
                    </a:srgbClr>
                  </a:gs>
                </a:gsLst>
                <a:lin ang="5400000" scaled="1"/>
              </a:gradFill>
              <a:prstDash val="solid"/>
              <a:miter/>
            </a:ln>
            <a:effectLst>
              <a:outerShdw blurRad="444500" dist="190500" dir="5400000" algn="t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3600"/>
            </a:p>
          </p:txBody>
        </p:sp>
      </p:grp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1A2E8917-1019-7C5B-0C07-B397324515DA}"/>
              </a:ext>
            </a:extLst>
          </p:cNvPr>
          <p:cNvSpPr/>
          <p:nvPr/>
        </p:nvSpPr>
        <p:spPr>
          <a:xfrm>
            <a:off x="2117318" y="2215789"/>
            <a:ext cx="9284426" cy="9284426"/>
          </a:xfrm>
          <a:custGeom>
            <a:avLst/>
            <a:gdLst>
              <a:gd name="connsiteX0" fmla="*/ 2910118 w 2910117"/>
              <a:gd name="connsiteY0" fmla="*/ 1455059 h 2910117"/>
              <a:gd name="connsiteX1" fmla="*/ 1455059 w 2910117"/>
              <a:gd name="connsiteY1" fmla="*/ 2910118 h 2910117"/>
              <a:gd name="connsiteX2" fmla="*/ 0 w 2910117"/>
              <a:gd name="connsiteY2" fmla="*/ 1455059 h 2910117"/>
              <a:gd name="connsiteX3" fmla="*/ 1455059 w 2910117"/>
              <a:gd name="connsiteY3" fmla="*/ 0 h 2910117"/>
              <a:gd name="connsiteX4" fmla="*/ 2910118 w 2910117"/>
              <a:gd name="connsiteY4" fmla="*/ 1455059 h 2910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10117" h="2910117">
                <a:moveTo>
                  <a:pt x="2910118" y="1455059"/>
                </a:moveTo>
                <a:cubicBezTo>
                  <a:pt x="2910118" y="2258666"/>
                  <a:pt x="2258666" y="2910118"/>
                  <a:pt x="1455059" y="2910118"/>
                </a:cubicBezTo>
                <a:cubicBezTo>
                  <a:pt x="651452" y="2910118"/>
                  <a:pt x="0" y="2258666"/>
                  <a:pt x="0" y="1455059"/>
                </a:cubicBezTo>
                <a:cubicBezTo>
                  <a:pt x="0" y="651452"/>
                  <a:pt x="651452" y="0"/>
                  <a:pt x="1455059" y="0"/>
                </a:cubicBezTo>
                <a:cubicBezTo>
                  <a:pt x="2258666" y="0"/>
                  <a:pt x="2910118" y="651452"/>
                  <a:pt x="2910118" y="1455059"/>
                </a:cubicBezTo>
                <a:close/>
              </a:path>
            </a:pathLst>
          </a:custGeom>
          <a:gradFill flip="none" rotWithShape="1">
            <a:gsLst>
              <a:gs pos="18000">
                <a:schemeClr val="bg1"/>
              </a:gs>
              <a:gs pos="0">
                <a:schemeClr val="bg2">
                  <a:lumMod val="85000"/>
                </a:schemeClr>
              </a:gs>
              <a:gs pos="88000">
                <a:schemeClr val="bg1"/>
              </a:gs>
            </a:gsLst>
            <a:path path="circle">
              <a:fillToRect l="50000" t="50000" r="50000" b="50000"/>
            </a:path>
            <a:tileRect/>
          </a:gradFill>
          <a:ln w="12700" cap="flat">
            <a:noFill/>
            <a:prstDash val="solid"/>
            <a:miter/>
          </a:ln>
          <a:effectLst>
            <a:outerShdw blurRad="444500" dist="190500" dir="5400000" algn="t" rotWithShape="0">
              <a:prstClr val="black">
                <a:alpha val="10000"/>
              </a:prstClr>
            </a:outerShdw>
          </a:effectLst>
        </p:spPr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 sz="36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1BDF8B-A626-4B1D-8C8C-E4353CBAABEB}"/>
              </a:ext>
            </a:extLst>
          </p:cNvPr>
          <p:cNvSpPr txBox="1"/>
          <p:nvPr/>
        </p:nvSpPr>
        <p:spPr>
          <a:xfrm>
            <a:off x="12518919" y="5457530"/>
            <a:ext cx="917064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600" b="1" dirty="0">
                <a:solidFill>
                  <a:schemeClr val="bg1"/>
                </a:solidFill>
                <a:latin typeface="Futura Md BT" panose="020B0602020204020303" pitchFamily="34" charset="0"/>
              </a:rPr>
              <a:t>Thank you</a:t>
            </a:r>
            <a:endParaRPr lang="en-US" sz="9600" dirty="0">
              <a:solidFill>
                <a:schemeClr val="bg1"/>
              </a:solidFill>
              <a:latin typeface="FUTURA MEDIUM BT" panose="020B0602020204020303" pitchFamily="34" charset="0"/>
            </a:endParaRPr>
          </a:p>
        </p:txBody>
      </p:sp>
      <p:sp>
        <p:nvSpPr>
          <p:cNvPr id="4" name="!!4.1">
            <a:extLst>
              <a:ext uri="{FF2B5EF4-FFF2-40B4-BE49-F238E27FC236}">
                <a16:creationId xmlns:a16="http://schemas.microsoft.com/office/drawing/2014/main" id="{E34EA04E-D152-08BB-44C1-7C375E9857B4}"/>
              </a:ext>
            </a:extLst>
          </p:cNvPr>
          <p:cNvSpPr/>
          <p:nvPr/>
        </p:nvSpPr>
        <p:spPr>
          <a:xfrm>
            <a:off x="3631077" y="3802304"/>
            <a:ext cx="6111392" cy="6111392"/>
          </a:xfrm>
          <a:prstGeom prst="ellipse">
            <a:avLst/>
          </a:prstGeom>
          <a:solidFill>
            <a:schemeClr val="bg1">
              <a:alpha val="47771"/>
            </a:schemeClr>
          </a:solidFill>
          <a:ln w="85725">
            <a:solidFill>
              <a:schemeClr val="bg2">
                <a:alpha val="1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/>
          </a:p>
        </p:txBody>
      </p:sp>
      <p:sp>
        <p:nvSpPr>
          <p:cNvPr id="3" name="Freeform: Shape 30">
            <a:extLst>
              <a:ext uri="{FF2B5EF4-FFF2-40B4-BE49-F238E27FC236}">
                <a16:creationId xmlns:a16="http://schemas.microsoft.com/office/drawing/2014/main" id="{DD47D00B-6BCE-E8AF-42E8-8822A9385483}"/>
              </a:ext>
            </a:extLst>
          </p:cNvPr>
          <p:cNvSpPr/>
          <p:nvPr/>
        </p:nvSpPr>
        <p:spPr>
          <a:xfrm>
            <a:off x="3057259" y="3089808"/>
            <a:ext cx="7357720" cy="7357720"/>
          </a:xfrm>
          <a:custGeom>
            <a:avLst/>
            <a:gdLst>
              <a:gd name="connsiteX0" fmla="*/ 2910118 w 2910117"/>
              <a:gd name="connsiteY0" fmla="*/ 1455059 h 2910117"/>
              <a:gd name="connsiteX1" fmla="*/ 1455059 w 2910117"/>
              <a:gd name="connsiteY1" fmla="*/ 2910118 h 2910117"/>
              <a:gd name="connsiteX2" fmla="*/ 0 w 2910117"/>
              <a:gd name="connsiteY2" fmla="*/ 1455059 h 2910117"/>
              <a:gd name="connsiteX3" fmla="*/ 1455059 w 2910117"/>
              <a:gd name="connsiteY3" fmla="*/ 0 h 2910117"/>
              <a:gd name="connsiteX4" fmla="*/ 2910118 w 2910117"/>
              <a:gd name="connsiteY4" fmla="*/ 1455059 h 2910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10117" h="2910117">
                <a:moveTo>
                  <a:pt x="2910118" y="1455059"/>
                </a:moveTo>
                <a:cubicBezTo>
                  <a:pt x="2910118" y="2258666"/>
                  <a:pt x="2258666" y="2910118"/>
                  <a:pt x="1455059" y="2910118"/>
                </a:cubicBezTo>
                <a:cubicBezTo>
                  <a:pt x="651452" y="2910118"/>
                  <a:pt x="0" y="2258666"/>
                  <a:pt x="0" y="1455059"/>
                </a:cubicBezTo>
                <a:cubicBezTo>
                  <a:pt x="0" y="651452"/>
                  <a:pt x="651452" y="0"/>
                  <a:pt x="1455059" y="0"/>
                </a:cubicBezTo>
                <a:cubicBezTo>
                  <a:pt x="2258666" y="0"/>
                  <a:pt x="2910118" y="651452"/>
                  <a:pt x="2910118" y="1455059"/>
                </a:cubicBezTo>
                <a:close/>
              </a:path>
            </a:pathLst>
          </a:custGeom>
          <a:solidFill>
            <a:schemeClr val="bg2"/>
          </a:solidFill>
          <a:ln w="12700" cap="flat">
            <a:noFill/>
            <a:prstDash val="solid"/>
            <a:miter/>
          </a:ln>
          <a:effectLst>
            <a:outerShdw blurRad="444500" dist="190500" dir="5400000" algn="t" rotWithShape="0">
              <a:prstClr val="black">
                <a:alpha val="10000"/>
              </a:prstClr>
            </a:outerShdw>
          </a:effectLst>
        </p:spPr>
        <p:txBody>
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 sz="3600"/>
          </a:p>
        </p:txBody>
      </p:sp>
      <p:grpSp>
        <p:nvGrpSpPr>
          <p:cNvPr id="11" name="Graphic 29">
            <a:extLst>
              <a:ext uri="{FF2B5EF4-FFF2-40B4-BE49-F238E27FC236}">
                <a16:creationId xmlns:a16="http://schemas.microsoft.com/office/drawing/2014/main" id="{FFFA80A8-3EB5-B9B4-E7CD-B5C6527F8A18}"/>
              </a:ext>
            </a:extLst>
          </p:cNvPr>
          <p:cNvGrpSpPr/>
          <p:nvPr/>
        </p:nvGrpSpPr>
        <p:grpSpPr>
          <a:xfrm>
            <a:off x="5419162" y="4270164"/>
            <a:ext cx="2630963" cy="4933929"/>
            <a:chOff x="1502100" y="653619"/>
            <a:chExt cx="2035484" cy="3817207"/>
          </a:xfrm>
          <a:solidFill>
            <a:schemeClr val="bg1"/>
          </a:solidFill>
        </p:grpSpPr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1203CCC0-FB23-94BF-4393-51FAD603F612}"/>
                </a:ext>
              </a:extLst>
            </p:cNvPr>
            <p:cNvSpPr/>
            <p:nvPr/>
          </p:nvSpPr>
          <p:spPr>
            <a:xfrm>
              <a:off x="1502100" y="653619"/>
              <a:ext cx="2035484" cy="3817207"/>
            </a:xfrm>
            <a:custGeom>
              <a:avLst/>
              <a:gdLst>
                <a:gd name="connsiteX0" fmla="*/ 1775452 w 2035484"/>
                <a:gd name="connsiteY0" fmla="*/ 2695942 h 3817207"/>
                <a:gd name="connsiteX1" fmla="*/ 1556377 w 2035484"/>
                <a:gd name="connsiteY1" fmla="*/ 2695942 h 3817207"/>
                <a:gd name="connsiteX2" fmla="*/ 1516372 w 2035484"/>
                <a:gd name="connsiteY2" fmla="*/ 2664509 h 3817207"/>
                <a:gd name="connsiteX3" fmla="*/ 1423027 w 2035484"/>
                <a:gd name="connsiteY3" fmla="*/ 2477819 h 3817207"/>
                <a:gd name="connsiteX4" fmla="*/ 1031549 w 2035484"/>
                <a:gd name="connsiteY4" fmla="*/ 2283509 h 3817207"/>
                <a:gd name="connsiteX5" fmla="*/ 508627 w 2035484"/>
                <a:gd name="connsiteY5" fmla="*/ 2785477 h 3817207"/>
                <a:gd name="connsiteX6" fmla="*/ 1010594 w 2035484"/>
                <a:gd name="connsiteY6" fmla="*/ 3308399 h 3817207"/>
                <a:gd name="connsiteX7" fmla="*/ 1515419 w 2035484"/>
                <a:gd name="connsiteY7" fmla="*/ 2931209 h 3817207"/>
                <a:gd name="connsiteX8" fmla="*/ 1518277 w 2035484"/>
                <a:gd name="connsiteY8" fmla="*/ 2917874 h 3817207"/>
                <a:gd name="connsiteX9" fmla="*/ 1546852 w 2035484"/>
                <a:gd name="connsiteY9" fmla="*/ 2895967 h 3817207"/>
                <a:gd name="connsiteX10" fmla="*/ 1985955 w 2035484"/>
                <a:gd name="connsiteY10" fmla="*/ 2895967 h 3817207"/>
                <a:gd name="connsiteX11" fmla="*/ 2022149 w 2035484"/>
                <a:gd name="connsiteY11" fmla="*/ 2895967 h 3817207"/>
                <a:gd name="connsiteX12" fmla="*/ 2035484 w 2035484"/>
                <a:gd name="connsiteY12" fmla="*/ 2909302 h 3817207"/>
                <a:gd name="connsiteX13" fmla="*/ 2035484 w 2035484"/>
                <a:gd name="connsiteY13" fmla="*/ 2912159 h 3817207"/>
                <a:gd name="connsiteX14" fmla="*/ 2033580 w 2035484"/>
                <a:gd name="connsiteY14" fmla="*/ 2935019 h 3817207"/>
                <a:gd name="connsiteX15" fmla="*/ 1294440 w 2035484"/>
                <a:gd name="connsiteY15" fmla="*/ 3779887 h 3817207"/>
                <a:gd name="connsiteX16" fmla="*/ 37139 w 2035484"/>
                <a:gd name="connsiteY16" fmla="*/ 3068369 h 3817207"/>
                <a:gd name="connsiteX17" fmla="*/ 65714 w 2035484"/>
                <a:gd name="connsiteY17" fmla="*/ 2434004 h 3817207"/>
                <a:gd name="connsiteX18" fmla="*/ 315269 w 2035484"/>
                <a:gd name="connsiteY18" fmla="*/ 1756777 h 3817207"/>
                <a:gd name="connsiteX19" fmla="*/ 944872 w 2035484"/>
                <a:gd name="connsiteY19" fmla="*/ 42277 h 3817207"/>
                <a:gd name="connsiteX20" fmla="*/ 1009642 w 2035484"/>
                <a:gd name="connsiteY20" fmla="*/ 20369 h 3817207"/>
                <a:gd name="connsiteX21" fmla="*/ 1340159 w 2035484"/>
                <a:gd name="connsiteY21" fmla="*/ 531862 h 3817207"/>
                <a:gd name="connsiteX22" fmla="*/ 1266817 w 2035484"/>
                <a:gd name="connsiteY22" fmla="*/ 1033829 h 3817207"/>
                <a:gd name="connsiteX23" fmla="*/ 929632 w 2035484"/>
                <a:gd name="connsiteY23" fmla="*/ 1708199 h 3817207"/>
                <a:gd name="connsiteX24" fmla="*/ 906772 w 2035484"/>
                <a:gd name="connsiteY24" fmla="*/ 1752967 h 3817207"/>
                <a:gd name="connsiteX25" fmla="*/ 923917 w 2035484"/>
                <a:gd name="connsiteY25" fmla="*/ 1779637 h 3817207"/>
                <a:gd name="connsiteX26" fmla="*/ 1038217 w 2035484"/>
                <a:gd name="connsiteY26" fmla="*/ 1776779 h 3817207"/>
                <a:gd name="connsiteX27" fmla="*/ 1658294 w 2035484"/>
                <a:gd name="connsiteY27" fmla="*/ 1999664 h 3817207"/>
                <a:gd name="connsiteX28" fmla="*/ 2023102 w 2035484"/>
                <a:gd name="connsiteY28" fmla="*/ 2599739 h 3817207"/>
                <a:gd name="connsiteX29" fmla="*/ 2034532 w 2035484"/>
                <a:gd name="connsiteY29" fmla="*/ 2672129 h 3817207"/>
                <a:gd name="connsiteX30" fmla="*/ 2013577 w 2035484"/>
                <a:gd name="connsiteY30" fmla="*/ 2697847 h 3817207"/>
                <a:gd name="connsiteX31" fmla="*/ 1774499 w 2035484"/>
                <a:gd name="connsiteY31" fmla="*/ 2697847 h 3817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035484" h="3817207">
                  <a:moveTo>
                    <a:pt x="1775452" y="2695942"/>
                  </a:moveTo>
                  <a:lnTo>
                    <a:pt x="1556377" y="2695942"/>
                  </a:lnTo>
                  <a:cubicBezTo>
                    <a:pt x="1525897" y="2695942"/>
                    <a:pt x="1524944" y="2695942"/>
                    <a:pt x="1516372" y="2664509"/>
                  </a:cubicBezTo>
                  <a:cubicBezTo>
                    <a:pt x="1499227" y="2595929"/>
                    <a:pt x="1466842" y="2533064"/>
                    <a:pt x="1423027" y="2477819"/>
                  </a:cubicBezTo>
                  <a:cubicBezTo>
                    <a:pt x="1322062" y="2353994"/>
                    <a:pt x="1191569" y="2287319"/>
                    <a:pt x="1031549" y="2283509"/>
                  </a:cubicBezTo>
                  <a:cubicBezTo>
                    <a:pt x="748657" y="2277794"/>
                    <a:pt x="514342" y="2502584"/>
                    <a:pt x="508627" y="2785477"/>
                  </a:cubicBezTo>
                  <a:cubicBezTo>
                    <a:pt x="502912" y="3068369"/>
                    <a:pt x="727702" y="3302684"/>
                    <a:pt x="1010594" y="3308399"/>
                  </a:cubicBezTo>
                  <a:cubicBezTo>
                    <a:pt x="1244909" y="3313162"/>
                    <a:pt x="1453507" y="3157904"/>
                    <a:pt x="1515419" y="2931209"/>
                  </a:cubicBezTo>
                  <a:cubicBezTo>
                    <a:pt x="1516372" y="2926447"/>
                    <a:pt x="1517324" y="2922637"/>
                    <a:pt x="1518277" y="2917874"/>
                  </a:cubicBezTo>
                  <a:cubicBezTo>
                    <a:pt x="1523992" y="2897872"/>
                    <a:pt x="1525897" y="2895967"/>
                    <a:pt x="1546852" y="2895967"/>
                  </a:cubicBezTo>
                  <a:lnTo>
                    <a:pt x="1985955" y="2895967"/>
                  </a:lnTo>
                  <a:cubicBezTo>
                    <a:pt x="1998337" y="2895967"/>
                    <a:pt x="2009767" y="2895967"/>
                    <a:pt x="2022149" y="2895967"/>
                  </a:cubicBezTo>
                  <a:cubicBezTo>
                    <a:pt x="2029769" y="2895967"/>
                    <a:pt x="2035484" y="2901682"/>
                    <a:pt x="2035484" y="2909302"/>
                  </a:cubicBezTo>
                  <a:cubicBezTo>
                    <a:pt x="2035484" y="2909302"/>
                    <a:pt x="2035484" y="2911207"/>
                    <a:pt x="2035484" y="2912159"/>
                  </a:cubicBezTo>
                  <a:cubicBezTo>
                    <a:pt x="2035484" y="2919779"/>
                    <a:pt x="2035484" y="2927399"/>
                    <a:pt x="2033580" y="2935019"/>
                  </a:cubicBezTo>
                  <a:cubicBezTo>
                    <a:pt x="1976430" y="3339832"/>
                    <a:pt x="1688774" y="3672254"/>
                    <a:pt x="1294440" y="3779887"/>
                  </a:cubicBezTo>
                  <a:cubicBezTo>
                    <a:pt x="750562" y="3930382"/>
                    <a:pt x="187634" y="3612247"/>
                    <a:pt x="37139" y="3068369"/>
                  </a:cubicBezTo>
                  <a:cubicBezTo>
                    <a:pt x="-20963" y="2858819"/>
                    <a:pt x="-10486" y="2636887"/>
                    <a:pt x="65714" y="2434004"/>
                  </a:cubicBezTo>
                  <a:cubicBezTo>
                    <a:pt x="148582" y="2208262"/>
                    <a:pt x="232402" y="1982519"/>
                    <a:pt x="315269" y="1756777"/>
                  </a:cubicBezTo>
                  <a:cubicBezTo>
                    <a:pt x="524819" y="1185277"/>
                    <a:pt x="735322" y="613777"/>
                    <a:pt x="944872" y="42277"/>
                  </a:cubicBezTo>
                  <a:cubicBezTo>
                    <a:pt x="963922" y="-9158"/>
                    <a:pt x="965827" y="-10111"/>
                    <a:pt x="1009642" y="20369"/>
                  </a:cubicBezTo>
                  <a:cubicBezTo>
                    <a:pt x="1189665" y="146099"/>
                    <a:pt x="1301107" y="316597"/>
                    <a:pt x="1340159" y="531862"/>
                  </a:cubicBezTo>
                  <a:cubicBezTo>
                    <a:pt x="1372544" y="702359"/>
                    <a:pt x="1346827" y="879524"/>
                    <a:pt x="1266817" y="1033829"/>
                  </a:cubicBezTo>
                  <a:cubicBezTo>
                    <a:pt x="1154422" y="1258619"/>
                    <a:pt x="1041074" y="1483409"/>
                    <a:pt x="929632" y="1708199"/>
                  </a:cubicBezTo>
                  <a:cubicBezTo>
                    <a:pt x="922012" y="1723439"/>
                    <a:pt x="914392" y="1737727"/>
                    <a:pt x="906772" y="1752967"/>
                  </a:cubicBezTo>
                  <a:cubicBezTo>
                    <a:pt x="897247" y="1774874"/>
                    <a:pt x="901057" y="1780589"/>
                    <a:pt x="923917" y="1779637"/>
                  </a:cubicBezTo>
                  <a:cubicBezTo>
                    <a:pt x="962017" y="1778684"/>
                    <a:pt x="1000117" y="1775827"/>
                    <a:pt x="1038217" y="1776779"/>
                  </a:cubicBezTo>
                  <a:cubicBezTo>
                    <a:pt x="1263959" y="1778684"/>
                    <a:pt x="1483034" y="1856789"/>
                    <a:pt x="1658294" y="1999664"/>
                  </a:cubicBezTo>
                  <a:cubicBezTo>
                    <a:pt x="1852605" y="2154922"/>
                    <a:pt x="1972619" y="2356852"/>
                    <a:pt x="2023102" y="2599739"/>
                  </a:cubicBezTo>
                  <a:cubicBezTo>
                    <a:pt x="2027865" y="2623552"/>
                    <a:pt x="2031674" y="2647364"/>
                    <a:pt x="2034532" y="2672129"/>
                  </a:cubicBezTo>
                  <a:cubicBezTo>
                    <a:pt x="2037390" y="2692132"/>
                    <a:pt x="2032627" y="2696894"/>
                    <a:pt x="2013577" y="2697847"/>
                  </a:cubicBezTo>
                  <a:lnTo>
                    <a:pt x="1774499" y="269784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35185EDB-703A-FA40-F9AC-9C30F3B33378}"/>
                </a:ext>
              </a:extLst>
            </p:cNvPr>
            <p:cNvSpPr/>
            <p:nvPr/>
          </p:nvSpPr>
          <p:spPr>
            <a:xfrm>
              <a:off x="1503045" y="1064002"/>
              <a:ext cx="291914" cy="1722631"/>
            </a:xfrm>
            <a:custGeom>
              <a:avLst/>
              <a:gdLst>
                <a:gd name="connsiteX0" fmla="*/ 952 w 291914"/>
                <a:gd name="connsiteY0" fmla="*/ 1722632 h 1722631"/>
                <a:gd name="connsiteX1" fmla="*/ 952 w 291914"/>
                <a:gd name="connsiteY1" fmla="*/ 1374969 h 1722631"/>
                <a:gd name="connsiteX2" fmla="*/ 952 w 291914"/>
                <a:gd name="connsiteY2" fmla="*/ 1342584 h 1722631"/>
                <a:gd name="connsiteX3" fmla="*/ 3810 w 291914"/>
                <a:gd name="connsiteY3" fmla="*/ 465331 h 1722631"/>
                <a:gd name="connsiteX4" fmla="*/ 3810 w 291914"/>
                <a:gd name="connsiteY4" fmla="*/ 40516 h 1722631"/>
                <a:gd name="connsiteX5" fmla="*/ 48577 w 291914"/>
                <a:gd name="connsiteY5" fmla="*/ 4321 h 1722631"/>
                <a:gd name="connsiteX6" fmla="*/ 271463 w 291914"/>
                <a:gd name="connsiteY6" fmla="*/ 96714 h 1722631"/>
                <a:gd name="connsiteX7" fmla="*/ 290513 w 291914"/>
                <a:gd name="connsiteY7" fmla="*/ 136719 h 1722631"/>
                <a:gd name="connsiteX8" fmla="*/ 211455 w 291914"/>
                <a:gd name="connsiteY8" fmla="*/ 576774 h 1722631"/>
                <a:gd name="connsiteX9" fmla="*/ 122872 w 291914"/>
                <a:gd name="connsiteY9" fmla="*/ 1071122 h 1722631"/>
                <a:gd name="connsiteX10" fmla="*/ 16192 w 291914"/>
                <a:gd name="connsiteY10" fmla="*/ 1664529 h 1722631"/>
                <a:gd name="connsiteX11" fmla="*/ 0 w 291914"/>
                <a:gd name="connsiteY11" fmla="*/ 1720726 h 1722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1914" h="1722631">
                  <a:moveTo>
                    <a:pt x="952" y="1722632"/>
                  </a:moveTo>
                  <a:lnTo>
                    <a:pt x="952" y="1374969"/>
                  </a:lnTo>
                  <a:cubicBezTo>
                    <a:pt x="952" y="1364491"/>
                    <a:pt x="952" y="1354014"/>
                    <a:pt x="952" y="1342584"/>
                  </a:cubicBezTo>
                  <a:cubicBezTo>
                    <a:pt x="1905" y="1050166"/>
                    <a:pt x="2858" y="757749"/>
                    <a:pt x="3810" y="465331"/>
                  </a:cubicBezTo>
                  <a:cubicBezTo>
                    <a:pt x="3810" y="323409"/>
                    <a:pt x="3810" y="182439"/>
                    <a:pt x="3810" y="40516"/>
                  </a:cubicBezTo>
                  <a:cubicBezTo>
                    <a:pt x="3810" y="-1394"/>
                    <a:pt x="8572" y="-5204"/>
                    <a:pt x="48577" y="4321"/>
                  </a:cubicBezTo>
                  <a:cubicBezTo>
                    <a:pt x="126683" y="24324"/>
                    <a:pt x="201930" y="54804"/>
                    <a:pt x="271463" y="96714"/>
                  </a:cubicBezTo>
                  <a:cubicBezTo>
                    <a:pt x="287655" y="103381"/>
                    <a:pt x="295275" y="120527"/>
                    <a:pt x="290513" y="136719"/>
                  </a:cubicBezTo>
                  <a:cubicBezTo>
                    <a:pt x="262890" y="283404"/>
                    <a:pt x="238125" y="430089"/>
                    <a:pt x="211455" y="576774"/>
                  </a:cubicBezTo>
                  <a:cubicBezTo>
                    <a:pt x="181927" y="741557"/>
                    <a:pt x="152400" y="906339"/>
                    <a:pt x="122872" y="1071122"/>
                  </a:cubicBezTo>
                  <a:cubicBezTo>
                    <a:pt x="87630" y="1269241"/>
                    <a:pt x="51435" y="1466409"/>
                    <a:pt x="16192" y="1664529"/>
                  </a:cubicBezTo>
                  <a:cubicBezTo>
                    <a:pt x="12383" y="1681674"/>
                    <a:pt x="10477" y="1692151"/>
                    <a:pt x="0" y="17207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B7D273BA-472F-E9B2-F276-7C20400230A6}"/>
                </a:ext>
              </a:extLst>
            </p:cNvPr>
            <p:cNvSpPr/>
            <p:nvPr/>
          </p:nvSpPr>
          <p:spPr>
            <a:xfrm>
              <a:off x="1683067" y="817105"/>
              <a:ext cx="541936" cy="1609483"/>
            </a:xfrm>
            <a:custGeom>
              <a:avLst/>
              <a:gdLst>
                <a:gd name="connsiteX0" fmla="*/ 953 w 541936"/>
                <a:gd name="connsiteY0" fmla="*/ 1608531 h 1609483"/>
                <a:gd name="connsiteX1" fmla="*/ 89535 w 541936"/>
                <a:gd name="connsiteY1" fmla="*/ 1138949 h 1609483"/>
                <a:gd name="connsiteX2" fmla="*/ 224790 w 541936"/>
                <a:gd name="connsiteY2" fmla="*/ 384568 h 1609483"/>
                <a:gd name="connsiteX3" fmla="*/ 285750 w 541936"/>
                <a:gd name="connsiteY3" fmla="*/ 43573 h 1609483"/>
                <a:gd name="connsiteX4" fmla="*/ 342900 w 541936"/>
                <a:gd name="connsiteY4" fmla="*/ 13093 h 1609483"/>
                <a:gd name="connsiteX5" fmla="*/ 521017 w 541936"/>
                <a:gd name="connsiteY5" fmla="*/ 123583 h 1609483"/>
                <a:gd name="connsiteX6" fmla="*/ 535305 w 541936"/>
                <a:gd name="connsiteY6" fmla="*/ 173113 h 1609483"/>
                <a:gd name="connsiteX7" fmla="*/ 456248 w 541936"/>
                <a:gd name="connsiteY7" fmla="*/ 387426 h 1609483"/>
                <a:gd name="connsiteX8" fmla="*/ 200025 w 541936"/>
                <a:gd name="connsiteY8" fmla="*/ 1085608 h 1609483"/>
                <a:gd name="connsiteX9" fmla="*/ 35242 w 541936"/>
                <a:gd name="connsiteY9" fmla="*/ 1530426 h 1609483"/>
                <a:gd name="connsiteX10" fmla="*/ 0 w 541936"/>
                <a:gd name="connsiteY10" fmla="*/ 1609483 h 1609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1936" h="1609483">
                  <a:moveTo>
                    <a:pt x="953" y="1608531"/>
                  </a:moveTo>
                  <a:cubicBezTo>
                    <a:pt x="24765" y="1478038"/>
                    <a:pt x="66675" y="1268488"/>
                    <a:pt x="89535" y="1138949"/>
                  </a:cubicBezTo>
                  <a:cubicBezTo>
                    <a:pt x="134303" y="887488"/>
                    <a:pt x="180023" y="636028"/>
                    <a:pt x="224790" y="384568"/>
                  </a:cubicBezTo>
                  <a:cubicBezTo>
                    <a:pt x="244792" y="270268"/>
                    <a:pt x="264795" y="156921"/>
                    <a:pt x="285750" y="43573"/>
                  </a:cubicBezTo>
                  <a:cubicBezTo>
                    <a:pt x="294323" y="-1194"/>
                    <a:pt x="289560" y="-11672"/>
                    <a:pt x="342900" y="13093"/>
                  </a:cubicBezTo>
                  <a:cubicBezTo>
                    <a:pt x="406717" y="41668"/>
                    <a:pt x="466725" y="78816"/>
                    <a:pt x="521017" y="123583"/>
                  </a:cubicBezTo>
                  <a:cubicBezTo>
                    <a:pt x="545783" y="143586"/>
                    <a:pt x="545783" y="144538"/>
                    <a:pt x="535305" y="173113"/>
                  </a:cubicBezTo>
                  <a:cubicBezTo>
                    <a:pt x="509588" y="244551"/>
                    <a:pt x="482917" y="315988"/>
                    <a:pt x="456248" y="387426"/>
                  </a:cubicBezTo>
                  <a:cubicBezTo>
                    <a:pt x="370523" y="619836"/>
                    <a:pt x="284798" y="853199"/>
                    <a:pt x="200025" y="1085608"/>
                  </a:cubicBezTo>
                  <a:cubicBezTo>
                    <a:pt x="145733" y="1234199"/>
                    <a:pt x="90488" y="1382788"/>
                    <a:pt x="35242" y="1530426"/>
                  </a:cubicBezTo>
                  <a:lnTo>
                    <a:pt x="0" y="16094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9AD3927E-9B25-B1E4-4701-C0739AC13FED}"/>
              </a:ext>
            </a:extLst>
          </p:cNvPr>
          <p:cNvSpPr txBox="1"/>
          <p:nvPr/>
        </p:nvSpPr>
        <p:spPr>
          <a:xfrm>
            <a:off x="12518919" y="7224845"/>
            <a:ext cx="917064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b="1" dirty="0" err="1">
                <a:solidFill>
                  <a:schemeClr val="bg2"/>
                </a:solidFill>
                <a:latin typeface="Futura Md BT" panose="020B0602020204020303" pitchFamily="34" charset="0"/>
              </a:rPr>
              <a:t>breadcrumbsdata.com</a:t>
            </a:r>
            <a:endParaRPr lang="en-US" sz="4800" dirty="0">
              <a:solidFill>
                <a:schemeClr val="bg2"/>
              </a:solidFill>
              <a:latin typeface="FUTURA MEDIUM BT" panose="020B0602020204020303" pitchFamily="34" charset="0"/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827B2D80-D7D7-2B87-FCFD-2F7B3D5D0A26}"/>
              </a:ext>
            </a:extLst>
          </p:cNvPr>
          <p:cNvSpPr txBox="1">
            <a:spLocks/>
          </p:cNvSpPr>
          <p:nvPr/>
        </p:nvSpPr>
        <p:spPr>
          <a:xfrm>
            <a:off x="23408916" y="8877743"/>
            <a:ext cx="324565" cy="582761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2400" b="1" smtClean="0">
                <a:solidFill>
                  <a:schemeClr val="bg1"/>
                </a:solidFill>
                <a:latin typeface="+mj-lt"/>
              </a:rPr>
              <a:pPr algn="ctr"/>
              <a:t>35</a:t>
            </a:fld>
            <a:endParaRPr lang="en-US" sz="1400" b="1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989BA4B-BBF2-BDA7-8F4D-E7CEF88ACF72}"/>
              </a:ext>
            </a:extLst>
          </p:cNvPr>
          <p:cNvGrpSpPr/>
          <p:nvPr/>
        </p:nvGrpSpPr>
        <p:grpSpPr>
          <a:xfrm>
            <a:off x="23332870" y="446240"/>
            <a:ext cx="476655" cy="337457"/>
            <a:chOff x="6167336" y="2130357"/>
            <a:chExt cx="476655" cy="337457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2BA2E0AD-6D49-D44F-8C08-D612A6C6B043}"/>
                </a:ext>
              </a:extLst>
            </p:cNvPr>
            <p:cNvCxnSpPr/>
            <p:nvPr userDrawn="1"/>
          </p:nvCxnSpPr>
          <p:spPr>
            <a:xfrm>
              <a:off x="6167336" y="2130357"/>
              <a:ext cx="4766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5BDF028E-4EF8-D322-D2CB-2AF9F8195976}"/>
                </a:ext>
              </a:extLst>
            </p:cNvPr>
            <p:cNvCxnSpPr/>
            <p:nvPr userDrawn="1"/>
          </p:nvCxnSpPr>
          <p:spPr>
            <a:xfrm>
              <a:off x="6167336" y="2299086"/>
              <a:ext cx="4766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FFF8F2D4-83BB-DA60-97DA-7284174E6F40}"/>
                </a:ext>
              </a:extLst>
            </p:cNvPr>
            <p:cNvCxnSpPr/>
            <p:nvPr userDrawn="1"/>
          </p:nvCxnSpPr>
          <p:spPr>
            <a:xfrm>
              <a:off x="6167336" y="2467814"/>
              <a:ext cx="4766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C92FBD5-91E4-3D5E-FEB2-0EECA2413061}"/>
              </a:ext>
            </a:extLst>
          </p:cNvPr>
          <p:cNvGrpSpPr/>
          <p:nvPr/>
        </p:nvGrpSpPr>
        <p:grpSpPr>
          <a:xfrm>
            <a:off x="23519785" y="12234167"/>
            <a:ext cx="102824" cy="698136"/>
            <a:chOff x="729638" y="739163"/>
            <a:chExt cx="102824" cy="698136"/>
          </a:xfrm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D337DB90-0FDF-0197-14B6-6910BAED78C9}"/>
                </a:ext>
              </a:extLst>
            </p:cNvPr>
            <p:cNvSpPr/>
            <p:nvPr userDrawn="1"/>
          </p:nvSpPr>
          <p:spPr>
            <a:xfrm>
              <a:off x="729638" y="739163"/>
              <a:ext cx="102824" cy="10282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FD641A4E-F173-2F6D-01C7-F8AD8AF6FA56}"/>
                </a:ext>
              </a:extLst>
            </p:cNvPr>
            <p:cNvSpPr/>
            <p:nvPr userDrawn="1"/>
          </p:nvSpPr>
          <p:spPr>
            <a:xfrm>
              <a:off x="729638" y="1036819"/>
              <a:ext cx="102824" cy="10282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C55C8A9B-CA8B-F606-8491-1ADC32944A1E}"/>
                </a:ext>
              </a:extLst>
            </p:cNvPr>
            <p:cNvSpPr/>
            <p:nvPr userDrawn="1"/>
          </p:nvSpPr>
          <p:spPr>
            <a:xfrm>
              <a:off x="729638" y="1334475"/>
              <a:ext cx="102824" cy="10282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755926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25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4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8270034-82AE-BF07-530B-8D3FCCFB24B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96886" y="-834189"/>
            <a:ext cx="26353017" cy="14806819"/>
          </a:xfrm>
          <a:prstGeom prst="rect">
            <a:avLst/>
          </a:prstGeom>
        </p:spPr>
      </p:pic>
      <p:sp>
        <p:nvSpPr>
          <p:cNvPr id="2" name="Rectangle: Rounded Corners 18">
            <a:extLst>
              <a:ext uri="{FF2B5EF4-FFF2-40B4-BE49-F238E27FC236}">
                <a16:creationId xmlns:a16="http://schemas.microsoft.com/office/drawing/2014/main" id="{68721713-82F0-43F7-0632-5BD5B30EFF70}"/>
              </a:ext>
            </a:extLst>
          </p:cNvPr>
          <p:cNvSpPr/>
          <p:nvPr/>
        </p:nvSpPr>
        <p:spPr>
          <a:xfrm rot="5400000">
            <a:off x="11272604" y="-4055240"/>
            <a:ext cx="19290843" cy="19290843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  <a:effectLst>
            <a:outerShdw blurRad="685800" sx="102000" sy="102000" algn="ctr" rotWithShape="0">
              <a:schemeClr val="accent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" name="Rectangle: Rounded Corners 18">
            <a:extLst>
              <a:ext uri="{FF2B5EF4-FFF2-40B4-BE49-F238E27FC236}">
                <a16:creationId xmlns:a16="http://schemas.microsoft.com/office/drawing/2014/main" id="{3E6504FB-95F3-3BC7-07FD-6C52739E2B81}"/>
              </a:ext>
            </a:extLst>
          </p:cNvPr>
          <p:cNvSpPr/>
          <p:nvPr/>
        </p:nvSpPr>
        <p:spPr>
          <a:xfrm rot="5400000">
            <a:off x="12193587" y="-1870840"/>
            <a:ext cx="19290843" cy="19290843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  <a:effectLst>
            <a:outerShdw blurRad="685800" sx="102000" sy="102000" algn="ctr" rotWithShape="0">
              <a:schemeClr val="accent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985C2C9-FF19-A425-1B10-E37670CE7FEC}"/>
              </a:ext>
            </a:extLst>
          </p:cNvPr>
          <p:cNvSpPr txBox="1"/>
          <p:nvPr/>
        </p:nvSpPr>
        <p:spPr>
          <a:xfrm>
            <a:off x="13797426" y="4477041"/>
            <a:ext cx="1264421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0" b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190500" dist="38100" dir="5400000" sx="103000" sy="103000" algn="t" rotWithShape="0">
                    <a:srgbClr val="377DFF">
                      <a:lumMod val="50000"/>
                      <a:alpha val="53000"/>
                    </a:srgbClr>
                  </a:outerShdw>
                </a:effectLst>
                <a:uLnTx/>
                <a:uFillTx/>
                <a:latin typeface="Futura Md BT" panose="020B0602020204020303" pitchFamily="34" charset="0"/>
              </a:rPr>
              <a:t>The Problem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F020E10-5A65-9E84-327C-B06C3843C344}"/>
              </a:ext>
            </a:extLst>
          </p:cNvPr>
          <p:cNvSpPr txBox="1"/>
          <p:nvPr/>
        </p:nvSpPr>
        <p:spPr>
          <a:xfrm>
            <a:off x="13789909" y="6298094"/>
            <a:ext cx="7670661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4400" dirty="0">
                <a:solidFill>
                  <a:schemeClr val="bg1"/>
                </a:solidFill>
                <a:effectLst/>
                <a:latin typeface="FUTURA MEDIUM BT" panose="020B0602020204020303" pitchFamily="34" charset="0"/>
              </a:rPr>
              <a:t>Data brokers collect and </a:t>
            </a:r>
            <a:br>
              <a:rPr lang="en-GB" sz="4400" dirty="0">
                <a:solidFill>
                  <a:schemeClr val="bg1"/>
                </a:solidFill>
                <a:effectLst/>
                <a:latin typeface="FUTURA MEDIUM BT" panose="020B0602020204020303" pitchFamily="34" charset="0"/>
              </a:rPr>
            </a:br>
            <a:r>
              <a:rPr lang="en-GB" sz="4400" dirty="0">
                <a:solidFill>
                  <a:schemeClr val="bg1"/>
                </a:solidFill>
                <a:effectLst/>
                <a:latin typeface="FUTURA MEDIUM BT" panose="020B0602020204020303" pitchFamily="34" charset="0"/>
              </a:rPr>
              <a:t>sell this information </a:t>
            </a:r>
            <a:br>
              <a:rPr lang="en-GB" sz="4400" dirty="0">
                <a:solidFill>
                  <a:schemeClr val="bg1"/>
                </a:solidFill>
                <a:effectLst/>
                <a:latin typeface="FUTURA MEDIUM BT" panose="020B0602020204020303" pitchFamily="34" charset="0"/>
              </a:rPr>
            </a:br>
            <a:r>
              <a:rPr lang="en-GB" sz="4400" dirty="0">
                <a:solidFill>
                  <a:schemeClr val="bg1"/>
                </a:solidFill>
                <a:effectLst/>
                <a:latin typeface="FUTURA MEDIUM BT" panose="020B0602020204020303" pitchFamily="34" charset="0"/>
              </a:rPr>
              <a:t>without consent. These brokers will make over $300B collectively in 2024.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2A1461B-7E1C-A394-1020-95D2B288EC74}"/>
              </a:ext>
            </a:extLst>
          </p:cNvPr>
          <p:cNvSpPr txBox="1">
            <a:spLocks/>
          </p:cNvSpPr>
          <p:nvPr/>
        </p:nvSpPr>
        <p:spPr>
          <a:xfrm>
            <a:off x="23408916" y="8877743"/>
            <a:ext cx="324565" cy="582761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2400" b="1" smtClean="0">
                <a:solidFill>
                  <a:schemeClr val="bg1"/>
                </a:solidFill>
                <a:latin typeface="+mj-lt"/>
              </a:rPr>
              <a:pPr algn="ctr"/>
              <a:t>4</a:t>
            </a:fld>
            <a:endParaRPr lang="en-US" sz="1400" b="1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58BB557-301D-0C8A-CEE9-F27074CEC232}"/>
              </a:ext>
            </a:extLst>
          </p:cNvPr>
          <p:cNvGrpSpPr/>
          <p:nvPr/>
        </p:nvGrpSpPr>
        <p:grpSpPr>
          <a:xfrm>
            <a:off x="23332870" y="446240"/>
            <a:ext cx="476655" cy="337457"/>
            <a:chOff x="6167336" y="2130357"/>
            <a:chExt cx="476655" cy="337457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9171EEC5-F3D0-AFAC-B7F7-37AEBD20D6AD}"/>
                </a:ext>
              </a:extLst>
            </p:cNvPr>
            <p:cNvCxnSpPr/>
            <p:nvPr userDrawn="1"/>
          </p:nvCxnSpPr>
          <p:spPr>
            <a:xfrm>
              <a:off x="6167336" y="2130357"/>
              <a:ext cx="4766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DE323C75-8CA7-BBE1-E52B-962083FD1540}"/>
                </a:ext>
              </a:extLst>
            </p:cNvPr>
            <p:cNvCxnSpPr/>
            <p:nvPr userDrawn="1"/>
          </p:nvCxnSpPr>
          <p:spPr>
            <a:xfrm>
              <a:off x="6167336" y="2299086"/>
              <a:ext cx="4766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23BC5043-93B6-6B40-CC43-9F1EF4DBBB95}"/>
                </a:ext>
              </a:extLst>
            </p:cNvPr>
            <p:cNvCxnSpPr/>
            <p:nvPr userDrawn="1"/>
          </p:nvCxnSpPr>
          <p:spPr>
            <a:xfrm>
              <a:off x="6167336" y="2467814"/>
              <a:ext cx="4766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EC458FC-3173-50EE-1BC0-5B84F3BAE445}"/>
              </a:ext>
            </a:extLst>
          </p:cNvPr>
          <p:cNvGrpSpPr/>
          <p:nvPr/>
        </p:nvGrpSpPr>
        <p:grpSpPr>
          <a:xfrm>
            <a:off x="23519785" y="12234167"/>
            <a:ext cx="102824" cy="698136"/>
            <a:chOff x="729638" y="739163"/>
            <a:chExt cx="102824" cy="698136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864AE1B3-A258-8F0B-1CC5-9E45646B3527}"/>
                </a:ext>
              </a:extLst>
            </p:cNvPr>
            <p:cNvSpPr/>
            <p:nvPr userDrawn="1"/>
          </p:nvSpPr>
          <p:spPr>
            <a:xfrm>
              <a:off x="729638" y="739163"/>
              <a:ext cx="102824" cy="10282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CF25D118-1CCD-72CA-461B-C44B321790BE}"/>
                </a:ext>
              </a:extLst>
            </p:cNvPr>
            <p:cNvSpPr/>
            <p:nvPr userDrawn="1"/>
          </p:nvSpPr>
          <p:spPr>
            <a:xfrm>
              <a:off x="729638" y="1036819"/>
              <a:ext cx="102824" cy="10282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F9ED572D-5F6D-AD7D-1D70-978EE076C5A9}"/>
                </a:ext>
              </a:extLst>
            </p:cNvPr>
            <p:cNvSpPr/>
            <p:nvPr userDrawn="1"/>
          </p:nvSpPr>
          <p:spPr>
            <a:xfrm>
              <a:off x="729638" y="1334475"/>
              <a:ext cx="102824" cy="10282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9" name="Graphic 29">
            <a:extLst>
              <a:ext uri="{FF2B5EF4-FFF2-40B4-BE49-F238E27FC236}">
                <a16:creationId xmlns:a16="http://schemas.microsoft.com/office/drawing/2014/main" id="{073D3C6F-D3C9-4023-1314-7420F02A5675}"/>
              </a:ext>
            </a:extLst>
          </p:cNvPr>
          <p:cNvGrpSpPr/>
          <p:nvPr/>
        </p:nvGrpSpPr>
        <p:grpSpPr>
          <a:xfrm>
            <a:off x="631422" y="446240"/>
            <a:ext cx="589131" cy="1104816"/>
            <a:chOff x="1502100" y="653619"/>
            <a:chExt cx="2035484" cy="3817207"/>
          </a:xfrm>
          <a:solidFill>
            <a:schemeClr val="bg1"/>
          </a:solidFill>
        </p:grpSpPr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E294084E-E0D0-86A3-66D8-AE0EB7EBAFA1}"/>
                </a:ext>
              </a:extLst>
            </p:cNvPr>
            <p:cNvSpPr/>
            <p:nvPr/>
          </p:nvSpPr>
          <p:spPr>
            <a:xfrm>
              <a:off x="1502100" y="653619"/>
              <a:ext cx="2035484" cy="3817207"/>
            </a:xfrm>
            <a:custGeom>
              <a:avLst/>
              <a:gdLst>
                <a:gd name="connsiteX0" fmla="*/ 1775452 w 2035484"/>
                <a:gd name="connsiteY0" fmla="*/ 2695942 h 3817207"/>
                <a:gd name="connsiteX1" fmla="*/ 1556377 w 2035484"/>
                <a:gd name="connsiteY1" fmla="*/ 2695942 h 3817207"/>
                <a:gd name="connsiteX2" fmla="*/ 1516372 w 2035484"/>
                <a:gd name="connsiteY2" fmla="*/ 2664509 h 3817207"/>
                <a:gd name="connsiteX3" fmla="*/ 1423027 w 2035484"/>
                <a:gd name="connsiteY3" fmla="*/ 2477819 h 3817207"/>
                <a:gd name="connsiteX4" fmla="*/ 1031549 w 2035484"/>
                <a:gd name="connsiteY4" fmla="*/ 2283509 h 3817207"/>
                <a:gd name="connsiteX5" fmla="*/ 508627 w 2035484"/>
                <a:gd name="connsiteY5" fmla="*/ 2785477 h 3817207"/>
                <a:gd name="connsiteX6" fmla="*/ 1010594 w 2035484"/>
                <a:gd name="connsiteY6" fmla="*/ 3308399 h 3817207"/>
                <a:gd name="connsiteX7" fmla="*/ 1515419 w 2035484"/>
                <a:gd name="connsiteY7" fmla="*/ 2931209 h 3817207"/>
                <a:gd name="connsiteX8" fmla="*/ 1518277 w 2035484"/>
                <a:gd name="connsiteY8" fmla="*/ 2917874 h 3817207"/>
                <a:gd name="connsiteX9" fmla="*/ 1546852 w 2035484"/>
                <a:gd name="connsiteY9" fmla="*/ 2895967 h 3817207"/>
                <a:gd name="connsiteX10" fmla="*/ 1985955 w 2035484"/>
                <a:gd name="connsiteY10" fmla="*/ 2895967 h 3817207"/>
                <a:gd name="connsiteX11" fmla="*/ 2022149 w 2035484"/>
                <a:gd name="connsiteY11" fmla="*/ 2895967 h 3817207"/>
                <a:gd name="connsiteX12" fmla="*/ 2035484 w 2035484"/>
                <a:gd name="connsiteY12" fmla="*/ 2909302 h 3817207"/>
                <a:gd name="connsiteX13" fmla="*/ 2035484 w 2035484"/>
                <a:gd name="connsiteY13" fmla="*/ 2912159 h 3817207"/>
                <a:gd name="connsiteX14" fmla="*/ 2033580 w 2035484"/>
                <a:gd name="connsiteY14" fmla="*/ 2935019 h 3817207"/>
                <a:gd name="connsiteX15" fmla="*/ 1294440 w 2035484"/>
                <a:gd name="connsiteY15" fmla="*/ 3779887 h 3817207"/>
                <a:gd name="connsiteX16" fmla="*/ 37139 w 2035484"/>
                <a:gd name="connsiteY16" fmla="*/ 3068369 h 3817207"/>
                <a:gd name="connsiteX17" fmla="*/ 65714 w 2035484"/>
                <a:gd name="connsiteY17" fmla="*/ 2434004 h 3817207"/>
                <a:gd name="connsiteX18" fmla="*/ 315269 w 2035484"/>
                <a:gd name="connsiteY18" fmla="*/ 1756777 h 3817207"/>
                <a:gd name="connsiteX19" fmla="*/ 944872 w 2035484"/>
                <a:gd name="connsiteY19" fmla="*/ 42277 h 3817207"/>
                <a:gd name="connsiteX20" fmla="*/ 1009642 w 2035484"/>
                <a:gd name="connsiteY20" fmla="*/ 20369 h 3817207"/>
                <a:gd name="connsiteX21" fmla="*/ 1340159 w 2035484"/>
                <a:gd name="connsiteY21" fmla="*/ 531862 h 3817207"/>
                <a:gd name="connsiteX22" fmla="*/ 1266817 w 2035484"/>
                <a:gd name="connsiteY22" fmla="*/ 1033829 h 3817207"/>
                <a:gd name="connsiteX23" fmla="*/ 929632 w 2035484"/>
                <a:gd name="connsiteY23" fmla="*/ 1708199 h 3817207"/>
                <a:gd name="connsiteX24" fmla="*/ 906772 w 2035484"/>
                <a:gd name="connsiteY24" fmla="*/ 1752967 h 3817207"/>
                <a:gd name="connsiteX25" fmla="*/ 923917 w 2035484"/>
                <a:gd name="connsiteY25" fmla="*/ 1779637 h 3817207"/>
                <a:gd name="connsiteX26" fmla="*/ 1038217 w 2035484"/>
                <a:gd name="connsiteY26" fmla="*/ 1776779 h 3817207"/>
                <a:gd name="connsiteX27" fmla="*/ 1658294 w 2035484"/>
                <a:gd name="connsiteY27" fmla="*/ 1999664 h 3817207"/>
                <a:gd name="connsiteX28" fmla="*/ 2023102 w 2035484"/>
                <a:gd name="connsiteY28" fmla="*/ 2599739 h 3817207"/>
                <a:gd name="connsiteX29" fmla="*/ 2034532 w 2035484"/>
                <a:gd name="connsiteY29" fmla="*/ 2672129 h 3817207"/>
                <a:gd name="connsiteX30" fmla="*/ 2013577 w 2035484"/>
                <a:gd name="connsiteY30" fmla="*/ 2697847 h 3817207"/>
                <a:gd name="connsiteX31" fmla="*/ 1774499 w 2035484"/>
                <a:gd name="connsiteY31" fmla="*/ 2697847 h 3817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035484" h="3817207">
                  <a:moveTo>
                    <a:pt x="1775452" y="2695942"/>
                  </a:moveTo>
                  <a:lnTo>
                    <a:pt x="1556377" y="2695942"/>
                  </a:lnTo>
                  <a:cubicBezTo>
                    <a:pt x="1525897" y="2695942"/>
                    <a:pt x="1524944" y="2695942"/>
                    <a:pt x="1516372" y="2664509"/>
                  </a:cubicBezTo>
                  <a:cubicBezTo>
                    <a:pt x="1499227" y="2595929"/>
                    <a:pt x="1466842" y="2533064"/>
                    <a:pt x="1423027" y="2477819"/>
                  </a:cubicBezTo>
                  <a:cubicBezTo>
                    <a:pt x="1322062" y="2353994"/>
                    <a:pt x="1191569" y="2287319"/>
                    <a:pt x="1031549" y="2283509"/>
                  </a:cubicBezTo>
                  <a:cubicBezTo>
                    <a:pt x="748657" y="2277794"/>
                    <a:pt x="514342" y="2502584"/>
                    <a:pt x="508627" y="2785477"/>
                  </a:cubicBezTo>
                  <a:cubicBezTo>
                    <a:pt x="502912" y="3068369"/>
                    <a:pt x="727702" y="3302684"/>
                    <a:pt x="1010594" y="3308399"/>
                  </a:cubicBezTo>
                  <a:cubicBezTo>
                    <a:pt x="1244909" y="3313162"/>
                    <a:pt x="1453507" y="3157904"/>
                    <a:pt x="1515419" y="2931209"/>
                  </a:cubicBezTo>
                  <a:cubicBezTo>
                    <a:pt x="1516372" y="2926447"/>
                    <a:pt x="1517324" y="2922637"/>
                    <a:pt x="1518277" y="2917874"/>
                  </a:cubicBezTo>
                  <a:cubicBezTo>
                    <a:pt x="1523992" y="2897872"/>
                    <a:pt x="1525897" y="2895967"/>
                    <a:pt x="1546852" y="2895967"/>
                  </a:cubicBezTo>
                  <a:lnTo>
                    <a:pt x="1985955" y="2895967"/>
                  </a:lnTo>
                  <a:cubicBezTo>
                    <a:pt x="1998337" y="2895967"/>
                    <a:pt x="2009767" y="2895967"/>
                    <a:pt x="2022149" y="2895967"/>
                  </a:cubicBezTo>
                  <a:cubicBezTo>
                    <a:pt x="2029769" y="2895967"/>
                    <a:pt x="2035484" y="2901682"/>
                    <a:pt x="2035484" y="2909302"/>
                  </a:cubicBezTo>
                  <a:cubicBezTo>
                    <a:pt x="2035484" y="2909302"/>
                    <a:pt x="2035484" y="2911207"/>
                    <a:pt x="2035484" y="2912159"/>
                  </a:cubicBezTo>
                  <a:cubicBezTo>
                    <a:pt x="2035484" y="2919779"/>
                    <a:pt x="2035484" y="2927399"/>
                    <a:pt x="2033580" y="2935019"/>
                  </a:cubicBezTo>
                  <a:cubicBezTo>
                    <a:pt x="1976430" y="3339832"/>
                    <a:pt x="1688774" y="3672254"/>
                    <a:pt x="1294440" y="3779887"/>
                  </a:cubicBezTo>
                  <a:cubicBezTo>
                    <a:pt x="750562" y="3930382"/>
                    <a:pt x="187634" y="3612247"/>
                    <a:pt x="37139" y="3068369"/>
                  </a:cubicBezTo>
                  <a:cubicBezTo>
                    <a:pt x="-20963" y="2858819"/>
                    <a:pt x="-10486" y="2636887"/>
                    <a:pt x="65714" y="2434004"/>
                  </a:cubicBezTo>
                  <a:cubicBezTo>
                    <a:pt x="148582" y="2208262"/>
                    <a:pt x="232402" y="1982519"/>
                    <a:pt x="315269" y="1756777"/>
                  </a:cubicBezTo>
                  <a:cubicBezTo>
                    <a:pt x="524819" y="1185277"/>
                    <a:pt x="735322" y="613777"/>
                    <a:pt x="944872" y="42277"/>
                  </a:cubicBezTo>
                  <a:cubicBezTo>
                    <a:pt x="963922" y="-9158"/>
                    <a:pt x="965827" y="-10111"/>
                    <a:pt x="1009642" y="20369"/>
                  </a:cubicBezTo>
                  <a:cubicBezTo>
                    <a:pt x="1189665" y="146099"/>
                    <a:pt x="1301107" y="316597"/>
                    <a:pt x="1340159" y="531862"/>
                  </a:cubicBezTo>
                  <a:cubicBezTo>
                    <a:pt x="1372544" y="702359"/>
                    <a:pt x="1346827" y="879524"/>
                    <a:pt x="1266817" y="1033829"/>
                  </a:cubicBezTo>
                  <a:cubicBezTo>
                    <a:pt x="1154422" y="1258619"/>
                    <a:pt x="1041074" y="1483409"/>
                    <a:pt x="929632" y="1708199"/>
                  </a:cubicBezTo>
                  <a:cubicBezTo>
                    <a:pt x="922012" y="1723439"/>
                    <a:pt x="914392" y="1737727"/>
                    <a:pt x="906772" y="1752967"/>
                  </a:cubicBezTo>
                  <a:cubicBezTo>
                    <a:pt x="897247" y="1774874"/>
                    <a:pt x="901057" y="1780589"/>
                    <a:pt x="923917" y="1779637"/>
                  </a:cubicBezTo>
                  <a:cubicBezTo>
                    <a:pt x="962017" y="1778684"/>
                    <a:pt x="1000117" y="1775827"/>
                    <a:pt x="1038217" y="1776779"/>
                  </a:cubicBezTo>
                  <a:cubicBezTo>
                    <a:pt x="1263959" y="1778684"/>
                    <a:pt x="1483034" y="1856789"/>
                    <a:pt x="1658294" y="1999664"/>
                  </a:cubicBezTo>
                  <a:cubicBezTo>
                    <a:pt x="1852605" y="2154922"/>
                    <a:pt x="1972619" y="2356852"/>
                    <a:pt x="2023102" y="2599739"/>
                  </a:cubicBezTo>
                  <a:cubicBezTo>
                    <a:pt x="2027865" y="2623552"/>
                    <a:pt x="2031674" y="2647364"/>
                    <a:pt x="2034532" y="2672129"/>
                  </a:cubicBezTo>
                  <a:cubicBezTo>
                    <a:pt x="2037390" y="2692132"/>
                    <a:pt x="2032627" y="2696894"/>
                    <a:pt x="2013577" y="2697847"/>
                  </a:cubicBezTo>
                  <a:lnTo>
                    <a:pt x="1774499" y="269784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495E6905-A620-98A0-48FC-627174CFA93B}"/>
                </a:ext>
              </a:extLst>
            </p:cNvPr>
            <p:cNvSpPr/>
            <p:nvPr/>
          </p:nvSpPr>
          <p:spPr>
            <a:xfrm>
              <a:off x="1503045" y="1064002"/>
              <a:ext cx="291914" cy="1722631"/>
            </a:xfrm>
            <a:custGeom>
              <a:avLst/>
              <a:gdLst>
                <a:gd name="connsiteX0" fmla="*/ 952 w 291914"/>
                <a:gd name="connsiteY0" fmla="*/ 1722632 h 1722631"/>
                <a:gd name="connsiteX1" fmla="*/ 952 w 291914"/>
                <a:gd name="connsiteY1" fmla="*/ 1374969 h 1722631"/>
                <a:gd name="connsiteX2" fmla="*/ 952 w 291914"/>
                <a:gd name="connsiteY2" fmla="*/ 1342584 h 1722631"/>
                <a:gd name="connsiteX3" fmla="*/ 3810 w 291914"/>
                <a:gd name="connsiteY3" fmla="*/ 465331 h 1722631"/>
                <a:gd name="connsiteX4" fmla="*/ 3810 w 291914"/>
                <a:gd name="connsiteY4" fmla="*/ 40516 h 1722631"/>
                <a:gd name="connsiteX5" fmla="*/ 48577 w 291914"/>
                <a:gd name="connsiteY5" fmla="*/ 4321 h 1722631"/>
                <a:gd name="connsiteX6" fmla="*/ 271463 w 291914"/>
                <a:gd name="connsiteY6" fmla="*/ 96714 h 1722631"/>
                <a:gd name="connsiteX7" fmla="*/ 290513 w 291914"/>
                <a:gd name="connsiteY7" fmla="*/ 136719 h 1722631"/>
                <a:gd name="connsiteX8" fmla="*/ 211455 w 291914"/>
                <a:gd name="connsiteY8" fmla="*/ 576774 h 1722631"/>
                <a:gd name="connsiteX9" fmla="*/ 122872 w 291914"/>
                <a:gd name="connsiteY9" fmla="*/ 1071122 h 1722631"/>
                <a:gd name="connsiteX10" fmla="*/ 16192 w 291914"/>
                <a:gd name="connsiteY10" fmla="*/ 1664529 h 1722631"/>
                <a:gd name="connsiteX11" fmla="*/ 0 w 291914"/>
                <a:gd name="connsiteY11" fmla="*/ 1720726 h 1722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1914" h="1722631">
                  <a:moveTo>
                    <a:pt x="952" y="1722632"/>
                  </a:moveTo>
                  <a:lnTo>
                    <a:pt x="952" y="1374969"/>
                  </a:lnTo>
                  <a:cubicBezTo>
                    <a:pt x="952" y="1364491"/>
                    <a:pt x="952" y="1354014"/>
                    <a:pt x="952" y="1342584"/>
                  </a:cubicBezTo>
                  <a:cubicBezTo>
                    <a:pt x="1905" y="1050166"/>
                    <a:pt x="2858" y="757749"/>
                    <a:pt x="3810" y="465331"/>
                  </a:cubicBezTo>
                  <a:cubicBezTo>
                    <a:pt x="3810" y="323409"/>
                    <a:pt x="3810" y="182439"/>
                    <a:pt x="3810" y="40516"/>
                  </a:cubicBezTo>
                  <a:cubicBezTo>
                    <a:pt x="3810" y="-1394"/>
                    <a:pt x="8572" y="-5204"/>
                    <a:pt x="48577" y="4321"/>
                  </a:cubicBezTo>
                  <a:cubicBezTo>
                    <a:pt x="126683" y="24324"/>
                    <a:pt x="201930" y="54804"/>
                    <a:pt x="271463" y="96714"/>
                  </a:cubicBezTo>
                  <a:cubicBezTo>
                    <a:pt x="287655" y="103381"/>
                    <a:pt x="295275" y="120527"/>
                    <a:pt x="290513" y="136719"/>
                  </a:cubicBezTo>
                  <a:cubicBezTo>
                    <a:pt x="262890" y="283404"/>
                    <a:pt x="238125" y="430089"/>
                    <a:pt x="211455" y="576774"/>
                  </a:cubicBezTo>
                  <a:cubicBezTo>
                    <a:pt x="181927" y="741557"/>
                    <a:pt x="152400" y="906339"/>
                    <a:pt x="122872" y="1071122"/>
                  </a:cubicBezTo>
                  <a:cubicBezTo>
                    <a:pt x="87630" y="1269241"/>
                    <a:pt x="51435" y="1466409"/>
                    <a:pt x="16192" y="1664529"/>
                  </a:cubicBezTo>
                  <a:cubicBezTo>
                    <a:pt x="12383" y="1681674"/>
                    <a:pt x="10477" y="1692151"/>
                    <a:pt x="0" y="17207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C906C56D-1595-109C-942A-1A80C307FF31}"/>
                </a:ext>
              </a:extLst>
            </p:cNvPr>
            <p:cNvSpPr/>
            <p:nvPr/>
          </p:nvSpPr>
          <p:spPr>
            <a:xfrm>
              <a:off x="1683067" y="817105"/>
              <a:ext cx="541936" cy="1609483"/>
            </a:xfrm>
            <a:custGeom>
              <a:avLst/>
              <a:gdLst>
                <a:gd name="connsiteX0" fmla="*/ 953 w 541936"/>
                <a:gd name="connsiteY0" fmla="*/ 1608531 h 1609483"/>
                <a:gd name="connsiteX1" fmla="*/ 89535 w 541936"/>
                <a:gd name="connsiteY1" fmla="*/ 1138949 h 1609483"/>
                <a:gd name="connsiteX2" fmla="*/ 224790 w 541936"/>
                <a:gd name="connsiteY2" fmla="*/ 384568 h 1609483"/>
                <a:gd name="connsiteX3" fmla="*/ 285750 w 541936"/>
                <a:gd name="connsiteY3" fmla="*/ 43573 h 1609483"/>
                <a:gd name="connsiteX4" fmla="*/ 342900 w 541936"/>
                <a:gd name="connsiteY4" fmla="*/ 13093 h 1609483"/>
                <a:gd name="connsiteX5" fmla="*/ 521017 w 541936"/>
                <a:gd name="connsiteY5" fmla="*/ 123583 h 1609483"/>
                <a:gd name="connsiteX6" fmla="*/ 535305 w 541936"/>
                <a:gd name="connsiteY6" fmla="*/ 173113 h 1609483"/>
                <a:gd name="connsiteX7" fmla="*/ 456248 w 541936"/>
                <a:gd name="connsiteY7" fmla="*/ 387426 h 1609483"/>
                <a:gd name="connsiteX8" fmla="*/ 200025 w 541936"/>
                <a:gd name="connsiteY8" fmla="*/ 1085608 h 1609483"/>
                <a:gd name="connsiteX9" fmla="*/ 35242 w 541936"/>
                <a:gd name="connsiteY9" fmla="*/ 1530426 h 1609483"/>
                <a:gd name="connsiteX10" fmla="*/ 0 w 541936"/>
                <a:gd name="connsiteY10" fmla="*/ 1609483 h 1609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1936" h="1609483">
                  <a:moveTo>
                    <a:pt x="953" y="1608531"/>
                  </a:moveTo>
                  <a:cubicBezTo>
                    <a:pt x="24765" y="1478038"/>
                    <a:pt x="66675" y="1268488"/>
                    <a:pt x="89535" y="1138949"/>
                  </a:cubicBezTo>
                  <a:cubicBezTo>
                    <a:pt x="134303" y="887488"/>
                    <a:pt x="180023" y="636028"/>
                    <a:pt x="224790" y="384568"/>
                  </a:cubicBezTo>
                  <a:cubicBezTo>
                    <a:pt x="244792" y="270268"/>
                    <a:pt x="264795" y="156921"/>
                    <a:pt x="285750" y="43573"/>
                  </a:cubicBezTo>
                  <a:cubicBezTo>
                    <a:pt x="294323" y="-1194"/>
                    <a:pt x="289560" y="-11672"/>
                    <a:pt x="342900" y="13093"/>
                  </a:cubicBezTo>
                  <a:cubicBezTo>
                    <a:pt x="406717" y="41668"/>
                    <a:pt x="466725" y="78816"/>
                    <a:pt x="521017" y="123583"/>
                  </a:cubicBezTo>
                  <a:cubicBezTo>
                    <a:pt x="545783" y="143586"/>
                    <a:pt x="545783" y="144538"/>
                    <a:pt x="535305" y="173113"/>
                  </a:cubicBezTo>
                  <a:cubicBezTo>
                    <a:pt x="509588" y="244551"/>
                    <a:pt x="482917" y="315988"/>
                    <a:pt x="456248" y="387426"/>
                  </a:cubicBezTo>
                  <a:cubicBezTo>
                    <a:pt x="370523" y="619836"/>
                    <a:pt x="284798" y="853199"/>
                    <a:pt x="200025" y="1085608"/>
                  </a:cubicBezTo>
                  <a:cubicBezTo>
                    <a:pt x="145733" y="1234199"/>
                    <a:pt x="90488" y="1382788"/>
                    <a:pt x="35242" y="1530426"/>
                  </a:cubicBezTo>
                  <a:lnTo>
                    <a:pt x="0" y="16094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F34A3A87-64E4-FE52-D3C0-476D6B3BE86C}"/>
              </a:ext>
            </a:extLst>
          </p:cNvPr>
          <p:cNvSpPr txBox="1"/>
          <p:nvPr/>
        </p:nvSpPr>
        <p:spPr>
          <a:xfrm rot="16200000">
            <a:off x="-1444725" y="5332504"/>
            <a:ext cx="462952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3200" b="1" dirty="0" err="1">
                <a:solidFill>
                  <a:schemeClr val="bg1"/>
                </a:solidFill>
              </a:rPr>
              <a:t>breadcrumbsdata.com</a:t>
            </a:r>
            <a:endParaRPr lang="en-US" sz="3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9762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iterate type="lt">
                                    <p:tmPct val="15625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020F879-AF13-CF5D-8109-F136967CF1E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96886" y="-834189"/>
            <a:ext cx="26353017" cy="14806819"/>
          </a:xfrm>
          <a:prstGeom prst="rect">
            <a:avLst/>
          </a:prstGeom>
        </p:spPr>
      </p:pic>
      <p:sp>
        <p:nvSpPr>
          <p:cNvPr id="2" name="Rectangle: Rounded Corners 18">
            <a:extLst>
              <a:ext uri="{FF2B5EF4-FFF2-40B4-BE49-F238E27FC236}">
                <a16:creationId xmlns:a16="http://schemas.microsoft.com/office/drawing/2014/main" id="{B5782625-4A1A-DF1E-6A8D-55AD9BFA9B37}"/>
              </a:ext>
            </a:extLst>
          </p:cNvPr>
          <p:cNvSpPr/>
          <p:nvPr/>
        </p:nvSpPr>
        <p:spPr>
          <a:xfrm rot="5400000">
            <a:off x="266597" y="9135172"/>
            <a:ext cx="16761452" cy="16761452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  <a:effectLst>
            <a:outerShdw blurRad="685800" sx="102000" sy="102000" algn="ctr" rotWithShape="0">
              <a:schemeClr val="accent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" name="Rectangle: Rounded Corners 18">
            <a:extLst>
              <a:ext uri="{FF2B5EF4-FFF2-40B4-BE49-F238E27FC236}">
                <a16:creationId xmlns:a16="http://schemas.microsoft.com/office/drawing/2014/main" id="{686BC014-A8D3-113E-3974-BA50A86E20AE}"/>
              </a:ext>
            </a:extLst>
          </p:cNvPr>
          <p:cNvSpPr/>
          <p:nvPr/>
        </p:nvSpPr>
        <p:spPr>
          <a:xfrm rot="5400000">
            <a:off x="2548165" y="6858000"/>
            <a:ext cx="19290843" cy="19290843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  <a:effectLst>
            <a:outerShdw blurRad="685800" sx="102000" sy="102000" algn="ctr" rotWithShape="0">
              <a:schemeClr val="accent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48E0D3D-5219-662C-AD89-B560EFD2D7BF}"/>
              </a:ext>
            </a:extLst>
          </p:cNvPr>
          <p:cNvSpPr txBox="1"/>
          <p:nvPr/>
        </p:nvSpPr>
        <p:spPr>
          <a:xfrm>
            <a:off x="5657917" y="8623172"/>
            <a:ext cx="1264421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0" b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190500" dist="38100" dir="5400000" sx="103000" sy="103000" algn="t" rotWithShape="0">
                    <a:srgbClr val="377DFF">
                      <a:lumMod val="50000"/>
                      <a:alpha val="53000"/>
                    </a:srgbClr>
                  </a:outerShdw>
                </a:effectLst>
                <a:uLnTx/>
                <a:uFillTx/>
                <a:latin typeface="Futura Md BT" panose="020B0602020204020303" pitchFamily="34" charset="0"/>
              </a:rPr>
              <a:t>The Problem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865A84C-E32C-3110-9EFB-9DDF82192450}"/>
              </a:ext>
            </a:extLst>
          </p:cNvPr>
          <p:cNvSpPr txBox="1"/>
          <p:nvPr/>
        </p:nvSpPr>
        <p:spPr>
          <a:xfrm>
            <a:off x="6688898" y="10100500"/>
            <a:ext cx="11009375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4400" dirty="0">
                <a:solidFill>
                  <a:schemeClr val="bg1"/>
                </a:solidFill>
                <a:effectLst/>
                <a:latin typeface="FUTURA MEDIUM BT" panose="020B0602020204020303" pitchFamily="34" charset="0"/>
              </a:rPr>
              <a:t>This industry is projected to be worth</a:t>
            </a:r>
          </a:p>
          <a:p>
            <a:pPr algn="ctr"/>
            <a:r>
              <a:rPr lang="en-GB" sz="4400" dirty="0">
                <a:solidFill>
                  <a:schemeClr val="bg1"/>
                </a:solidFill>
                <a:effectLst/>
                <a:latin typeface="FUTURA MEDIUM BT" panose="020B0602020204020303" pitchFamily="34" charset="0"/>
              </a:rPr>
              <a:t>over </a:t>
            </a:r>
            <a:r>
              <a:rPr lang="en-GB" sz="4400" b="1" dirty="0">
                <a:solidFill>
                  <a:schemeClr val="bg1"/>
                </a:solidFill>
                <a:effectLst/>
                <a:latin typeface="Futura Md BT" panose="020B0602020204020303" pitchFamily="34" charset="0"/>
              </a:rPr>
              <a:t>$500B per year in 2028.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AFBB5C7-4696-9EF8-F6CE-42D566404808}"/>
              </a:ext>
            </a:extLst>
          </p:cNvPr>
          <p:cNvSpPr txBox="1">
            <a:spLocks/>
          </p:cNvSpPr>
          <p:nvPr/>
        </p:nvSpPr>
        <p:spPr>
          <a:xfrm>
            <a:off x="23408916" y="8877743"/>
            <a:ext cx="324565" cy="582761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2400" b="1" smtClean="0">
                <a:solidFill>
                  <a:schemeClr val="bg1"/>
                </a:solidFill>
                <a:latin typeface="+mj-lt"/>
              </a:rPr>
              <a:pPr algn="ctr"/>
              <a:t>5</a:t>
            </a:fld>
            <a:endParaRPr lang="en-US" sz="1400" b="1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FE8155D-5307-42CC-79DF-68947F71B08A}"/>
              </a:ext>
            </a:extLst>
          </p:cNvPr>
          <p:cNvGrpSpPr/>
          <p:nvPr/>
        </p:nvGrpSpPr>
        <p:grpSpPr>
          <a:xfrm>
            <a:off x="23332870" y="446240"/>
            <a:ext cx="476655" cy="337457"/>
            <a:chOff x="6167336" y="2130357"/>
            <a:chExt cx="476655" cy="337457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760AA04A-6DDE-56A2-2F83-C54144D74EF9}"/>
                </a:ext>
              </a:extLst>
            </p:cNvPr>
            <p:cNvCxnSpPr/>
            <p:nvPr userDrawn="1"/>
          </p:nvCxnSpPr>
          <p:spPr>
            <a:xfrm>
              <a:off x="6167336" y="2130357"/>
              <a:ext cx="4766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1A129AD6-7765-D7FF-D305-59225C17666D}"/>
                </a:ext>
              </a:extLst>
            </p:cNvPr>
            <p:cNvCxnSpPr/>
            <p:nvPr userDrawn="1"/>
          </p:nvCxnSpPr>
          <p:spPr>
            <a:xfrm>
              <a:off x="6167336" y="2299086"/>
              <a:ext cx="4766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69476AB5-3EDD-B2EA-4692-A4E56C30FC62}"/>
                </a:ext>
              </a:extLst>
            </p:cNvPr>
            <p:cNvCxnSpPr/>
            <p:nvPr userDrawn="1"/>
          </p:nvCxnSpPr>
          <p:spPr>
            <a:xfrm>
              <a:off x="6167336" y="2467814"/>
              <a:ext cx="4766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D015C81-BADD-DF4E-E44E-B26E4DC45672}"/>
              </a:ext>
            </a:extLst>
          </p:cNvPr>
          <p:cNvGrpSpPr/>
          <p:nvPr/>
        </p:nvGrpSpPr>
        <p:grpSpPr>
          <a:xfrm>
            <a:off x="23519785" y="12234167"/>
            <a:ext cx="102824" cy="698136"/>
            <a:chOff x="729638" y="739163"/>
            <a:chExt cx="102824" cy="698136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58A74E40-F388-D828-EBB8-0F4CE3B55533}"/>
                </a:ext>
              </a:extLst>
            </p:cNvPr>
            <p:cNvSpPr/>
            <p:nvPr userDrawn="1"/>
          </p:nvSpPr>
          <p:spPr>
            <a:xfrm>
              <a:off x="729638" y="739163"/>
              <a:ext cx="102824" cy="10282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AFECF167-74EB-E7F2-4A2F-7146BC9625A9}"/>
                </a:ext>
              </a:extLst>
            </p:cNvPr>
            <p:cNvSpPr/>
            <p:nvPr userDrawn="1"/>
          </p:nvSpPr>
          <p:spPr>
            <a:xfrm>
              <a:off x="729638" y="1036819"/>
              <a:ext cx="102824" cy="10282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9508F0BC-534C-EAD8-C7A1-17B725589474}"/>
                </a:ext>
              </a:extLst>
            </p:cNvPr>
            <p:cNvSpPr/>
            <p:nvPr userDrawn="1"/>
          </p:nvSpPr>
          <p:spPr>
            <a:xfrm>
              <a:off x="729638" y="1334475"/>
              <a:ext cx="102824" cy="10282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9" name="Graphic 29">
            <a:extLst>
              <a:ext uri="{FF2B5EF4-FFF2-40B4-BE49-F238E27FC236}">
                <a16:creationId xmlns:a16="http://schemas.microsoft.com/office/drawing/2014/main" id="{6B6426DB-77A8-97CB-0429-B08D84B9C5B7}"/>
              </a:ext>
            </a:extLst>
          </p:cNvPr>
          <p:cNvGrpSpPr/>
          <p:nvPr/>
        </p:nvGrpSpPr>
        <p:grpSpPr>
          <a:xfrm>
            <a:off x="631422" y="446240"/>
            <a:ext cx="589131" cy="1104816"/>
            <a:chOff x="1502100" y="653619"/>
            <a:chExt cx="2035484" cy="3817207"/>
          </a:xfrm>
          <a:solidFill>
            <a:schemeClr val="bg1"/>
          </a:solidFill>
        </p:grpSpPr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9FD6079F-6A2C-3606-EE8F-00D09B8D5B26}"/>
                </a:ext>
              </a:extLst>
            </p:cNvPr>
            <p:cNvSpPr/>
            <p:nvPr/>
          </p:nvSpPr>
          <p:spPr>
            <a:xfrm>
              <a:off x="1502100" y="653619"/>
              <a:ext cx="2035484" cy="3817207"/>
            </a:xfrm>
            <a:custGeom>
              <a:avLst/>
              <a:gdLst>
                <a:gd name="connsiteX0" fmla="*/ 1775452 w 2035484"/>
                <a:gd name="connsiteY0" fmla="*/ 2695942 h 3817207"/>
                <a:gd name="connsiteX1" fmla="*/ 1556377 w 2035484"/>
                <a:gd name="connsiteY1" fmla="*/ 2695942 h 3817207"/>
                <a:gd name="connsiteX2" fmla="*/ 1516372 w 2035484"/>
                <a:gd name="connsiteY2" fmla="*/ 2664509 h 3817207"/>
                <a:gd name="connsiteX3" fmla="*/ 1423027 w 2035484"/>
                <a:gd name="connsiteY3" fmla="*/ 2477819 h 3817207"/>
                <a:gd name="connsiteX4" fmla="*/ 1031549 w 2035484"/>
                <a:gd name="connsiteY4" fmla="*/ 2283509 h 3817207"/>
                <a:gd name="connsiteX5" fmla="*/ 508627 w 2035484"/>
                <a:gd name="connsiteY5" fmla="*/ 2785477 h 3817207"/>
                <a:gd name="connsiteX6" fmla="*/ 1010594 w 2035484"/>
                <a:gd name="connsiteY6" fmla="*/ 3308399 h 3817207"/>
                <a:gd name="connsiteX7" fmla="*/ 1515419 w 2035484"/>
                <a:gd name="connsiteY7" fmla="*/ 2931209 h 3817207"/>
                <a:gd name="connsiteX8" fmla="*/ 1518277 w 2035484"/>
                <a:gd name="connsiteY8" fmla="*/ 2917874 h 3817207"/>
                <a:gd name="connsiteX9" fmla="*/ 1546852 w 2035484"/>
                <a:gd name="connsiteY9" fmla="*/ 2895967 h 3817207"/>
                <a:gd name="connsiteX10" fmla="*/ 1985955 w 2035484"/>
                <a:gd name="connsiteY10" fmla="*/ 2895967 h 3817207"/>
                <a:gd name="connsiteX11" fmla="*/ 2022149 w 2035484"/>
                <a:gd name="connsiteY11" fmla="*/ 2895967 h 3817207"/>
                <a:gd name="connsiteX12" fmla="*/ 2035484 w 2035484"/>
                <a:gd name="connsiteY12" fmla="*/ 2909302 h 3817207"/>
                <a:gd name="connsiteX13" fmla="*/ 2035484 w 2035484"/>
                <a:gd name="connsiteY13" fmla="*/ 2912159 h 3817207"/>
                <a:gd name="connsiteX14" fmla="*/ 2033580 w 2035484"/>
                <a:gd name="connsiteY14" fmla="*/ 2935019 h 3817207"/>
                <a:gd name="connsiteX15" fmla="*/ 1294440 w 2035484"/>
                <a:gd name="connsiteY15" fmla="*/ 3779887 h 3817207"/>
                <a:gd name="connsiteX16" fmla="*/ 37139 w 2035484"/>
                <a:gd name="connsiteY16" fmla="*/ 3068369 h 3817207"/>
                <a:gd name="connsiteX17" fmla="*/ 65714 w 2035484"/>
                <a:gd name="connsiteY17" fmla="*/ 2434004 h 3817207"/>
                <a:gd name="connsiteX18" fmla="*/ 315269 w 2035484"/>
                <a:gd name="connsiteY18" fmla="*/ 1756777 h 3817207"/>
                <a:gd name="connsiteX19" fmla="*/ 944872 w 2035484"/>
                <a:gd name="connsiteY19" fmla="*/ 42277 h 3817207"/>
                <a:gd name="connsiteX20" fmla="*/ 1009642 w 2035484"/>
                <a:gd name="connsiteY20" fmla="*/ 20369 h 3817207"/>
                <a:gd name="connsiteX21" fmla="*/ 1340159 w 2035484"/>
                <a:gd name="connsiteY21" fmla="*/ 531862 h 3817207"/>
                <a:gd name="connsiteX22" fmla="*/ 1266817 w 2035484"/>
                <a:gd name="connsiteY22" fmla="*/ 1033829 h 3817207"/>
                <a:gd name="connsiteX23" fmla="*/ 929632 w 2035484"/>
                <a:gd name="connsiteY23" fmla="*/ 1708199 h 3817207"/>
                <a:gd name="connsiteX24" fmla="*/ 906772 w 2035484"/>
                <a:gd name="connsiteY24" fmla="*/ 1752967 h 3817207"/>
                <a:gd name="connsiteX25" fmla="*/ 923917 w 2035484"/>
                <a:gd name="connsiteY25" fmla="*/ 1779637 h 3817207"/>
                <a:gd name="connsiteX26" fmla="*/ 1038217 w 2035484"/>
                <a:gd name="connsiteY26" fmla="*/ 1776779 h 3817207"/>
                <a:gd name="connsiteX27" fmla="*/ 1658294 w 2035484"/>
                <a:gd name="connsiteY27" fmla="*/ 1999664 h 3817207"/>
                <a:gd name="connsiteX28" fmla="*/ 2023102 w 2035484"/>
                <a:gd name="connsiteY28" fmla="*/ 2599739 h 3817207"/>
                <a:gd name="connsiteX29" fmla="*/ 2034532 w 2035484"/>
                <a:gd name="connsiteY29" fmla="*/ 2672129 h 3817207"/>
                <a:gd name="connsiteX30" fmla="*/ 2013577 w 2035484"/>
                <a:gd name="connsiteY30" fmla="*/ 2697847 h 3817207"/>
                <a:gd name="connsiteX31" fmla="*/ 1774499 w 2035484"/>
                <a:gd name="connsiteY31" fmla="*/ 2697847 h 3817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035484" h="3817207">
                  <a:moveTo>
                    <a:pt x="1775452" y="2695942"/>
                  </a:moveTo>
                  <a:lnTo>
                    <a:pt x="1556377" y="2695942"/>
                  </a:lnTo>
                  <a:cubicBezTo>
                    <a:pt x="1525897" y="2695942"/>
                    <a:pt x="1524944" y="2695942"/>
                    <a:pt x="1516372" y="2664509"/>
                  </a:cubicBezTo>
                  <a:cubicBezTo>
                    <a:pt x="1499227" y="2595929"/>
                    <a:pt x="1466842" y="2533064"/>
                    <a:pt x="1423027" y="2477819"/>
                  </a:cubicBezTo>
                  <a:cubicBezTo>
                    <a:pt x="1322062" y="2353994"/>
                    <a:pt x="1191569" y="2287319"/>
                    <a:pt x="1031549" y="2283509"/>
                  </a:cubicBezTo>
                  <a:cubicBezTo>
                    <a:pt x="748657" y="2277794"/>
                    <a:pt x="514342" y="2502584"/>
                    <a:pt x="508627" y="2785477"/>
                  </a:cubicBezTo>
                  <a:cubicBezTo>
                    <a:pt x="502912" y="3068369"/>
                    <a:pt x="727702" y="3302684"/>
                    <a:pt x="1010594" y="3308399"/>
                  </a:cubicBezTo>
                  <a:cubicBezTo>
                    <a:pt x="1244909" y="3313162"/>
                    <a:pt x="1453507" y="3157904"/>
                    <a:pt x="1515419" y="2931209"/>
                  </a:cubicBezTo>
                  <a:cubicBezTo>
                    <a:pt x="1516372" y="2926447"/>
                    <a:pt x="1517324" y="2922637"/>
                    <a:pt x="1518277" y="2917874"/>
                  </a:cubicBezTo>
                  <a:cubicBezTo>
                    <a:pt x="1523992" y="2897872"/>
                    <a:pt x="1525897" y="2895967"/>
                    <a:pt x="1546852" y="2895967"/>
                  </a:cubicBezTo>
                  <a:lnTo>
                    <a:pt x="1985955" y="2895967"/>
                  </a:lnTo>
                  <a:cubicBezTo>
                    <a:pt x="1998337" y="2895967"/>
                    <a:pt x="2009767" y="2895967"/>
                    <a:pt x="2022149" y="2895967"/>
                  </a:cubicBezTo>
                  <a:cubicBezTo>
                    <a:pt x="2029769" y="2895967"/>
                    <a:pt x="2035484" y="2901682"/>
                    <a:pt x="2035484" y="2909302"/>
                  </a:cubicBezTo>
                  <a:cubicBezTo>
                    <a:pt x="2035484" y="2909302"/>
                    <a:pt x="2035484" y="2911207"/>
                    <a:pt x="2035484" y="2912159"/>
                  </a:cubicBezTo>
                  <a:cubicBezTo>
                    <a:pt x="2035484" y="2919779"/>
                    <a:pt x="2035484" y="2927399"/>
                    <a:pt x="2033580" y="2935019"/>
                  </a:cubicBezTo>
                  <a:cubicBezTo>
                    <a:pt x="1976430" y="3339832"/>
                    <a:pt x="1688774" y="3672254"/>
                    <a:pt x="1294440" y="3779887"/>
                  </a:cubicBezTo>
                  <a:cubicBezTo>
                    <a:pt x="750562" y="3930382"/>
                    <a:pt x="187634" y="3612247"/>
                    <a:pt x="37139" y="3068369"/>
                  </a:cubicBezTo>
                  <a:cubicBezTo>
                    <a:pt x="-20963" y="2858819"/>
                    <a:pt x="-10486" y="2636887"/>
                    <a:pt x="65714" y="2434004"/>
                  </a:cubicBezTo>
                  <a:cubicBezTo>
                    <a:pt x="148582" y="2208262"/>
                    <a:pt x="232402" y="1982519"/>
                    <a:pt x="315269" y="1756777"/>
                  </a:cubicBezTo>
                  <a:cubicBezTo>
                    <a:pt x="524819" y="1185277"/>
                    <a:pt x="735322" y="613777"/>
                    <a:pt x="944872" y="42277"/>
                  </a:cubicBezTo>
                  <a:cubicBezTo>
                    <a:pt x="963922" y="-9158"/>
                    <a:pt x="965827" y="-10111"/>
                    <a:pt x="1009642" y="20369"/>
                  </a:cubicBezTo>
                  <a:cubicBezTo>
                    <a:pt x="1189665" y="146099"/>
                    <a:pt x="1301107" y="316597"/>
                    <a:pt x="1340159" y="531862"/>
                  </a:cubicBezTo>
                  <a:cubicBezTo>
                    <a:pt x="1372544" y="702359"/>
                    <a:pt x="1346827" y="879524"/>
                    <a:pt x="1266817" y="1033829"/>
                  </a:cubicBezTo>
                  <a:cubicBezTo>
                    <a:pt x="1154422" y="1258619"/>
                    <a:pt x="1041074" y="1483409"/>
                    <a:pt x="929632" y="1708199"/>
                  </a:cubicBezTo>
                  <a:cubicBezTo>
                    <a:pt x="922012" y="1723439"/>
                    <a:pt x="914392" y="1737727"/>
                    <a:pt x="906772" y="1752967"/>
                  </a:cubicBezTo>
                  <a:cubicBezTo>
                    <a:pt x="897247" y="1774874"/>
                    <a:pt x="901057" y="1780589"/>
                    <a:pt x="923917" y="1779637"/>
                  </a:cubicBezTo>
                  <a:cubicBezTo>
                    <a:pt x="962017" y="1778684"/>
                    <a:pt x="1000117" y="1775827"/>
                    <a:pt x="1038217" y="1776779"/>
                  </a:cubicBezTo>
                  <a:cubicBezTo>
                    <a:pt x="1263959" y="1778684"/>
                    <a:pt x="1483034" y="1856789"/>
                    <a:pt x="1658294" y="1999664"/>
                  </a:cubicBezTo>
                  <a:cubicBezTo>
                    <a:pt x="1852605" y="2154922"/>
                    <a:pt x="1972619" y="2356852"/>
                    <a:pt x="2023102" y="2599739"/>
                  </a:cubicBezTo>
                  <a:cubicBezTo>
                    <a:pt x="2027865" y="2623552"/>
                    <a:pt x="2031674" y="2647364"/>
                    <a:pt x="2034532" y="2672129"/>
                  </a:cubicBezTo>
                  <a:cubicBezTo>
                    <a:pt x="2037390" y="2692132"/>
                    <a:pt x="2032627" y="2696894"/>
                    <a:pt x="2013577" y="2697847"/>
                  </a:cubicBezTo>
                  <a:lnTo>
                    <a:pt x="1774499" y="269784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C20A6E38-71FE-5FA5-03B7-7317A5FEEAE8}"/>
                </a:ext>
              </a:extLst>
            </p:cNvPr>
            <p:cNvSpPr/>
            <p:nvPr/>
          </p:nvSpPr>
          <p:spPr>
            <a:xfrm>
              <a:off x="1503045" y="1064002"/>
              <a:ext cx="291914" cy="1722631"/>
            </a:xfrm>
            <a:custGeom>
              <a:avLst/>
              <a:gdLst>
                <a:gd name="connsiteX0" fmla="*/ 952 w 291914"/>
                <a:gd name="connsiteY0" fmla="*/ 1722632 h 1722631"/>
                <a:gd name="connsiteX1" fmla="*/ 952 w 291914"/>
                <a:gd name="connsiteY1" fmla="*/ 1374969 h 1722631"/>
                <a:gd name="connsiteX2" fmla="*/ 952 w 291914"/>
                <a:gd name="connsiteY2" fmla="*/ 1342584 h 1722631"/>
                <a:gd name="connsiteX3" fmla="*/ 3810 w 291914"/>
                <a:gd name="connsiteY3" fmla="*/ 465331 h 1722631"/>
                <a:gd name="connsiteX4" fmla="*/ 3810 w 291914"/>
                <a:gd name="connsiteY4" fmla="*/ 40516 h 1722631"/>
                <a:gd name="connsiteX5" fmla="*/ 48577 w 291914"/>
                <a:gd name="connsiteY5" fmla="*/ 4321 h 1722631"/>
                <a:gd name="connsiteX6" fmla="*/ 271463 w 291914"/>
                <a:gd name="connsiteY6" fmla="*/ 96714 h 1722631"/>
                <a:gd name="connsiteX7" fmla="*/ 290513 w 291914"/>
                <a:gd name="connsiteY7" fmla="*/ 136719 h 1722631"/>
                <a:gd name="connsiteX8" fmla="*/ 211455 w 291914"/>
                <a:gd name="connsiteY8" fmla="*/ 576774 h 1722631"/>
                <a:gd name="connsiteX9" fmla="*/ 122872 w 291914"/>
                <a:gd name="connsiteY9" fmla="*/ 1071122 h 1722631"/>
                <a:gd name="connsiteX10" fmla="*/ 16192 w 291914"/>
                <a:gd name="connsiteY10" fmla="*/ 1664529 h 1722631"/>
                <a:gd name="connsiteX11" fmla="*/ 0 w 291914"/>
                <a:gd name="connsiteY11" fmla="*/ 1720726 h 1722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1914" h="1722631">
                  <a:moveTo>
                    <a:pt x="952" y="1722632"/>
                  </a:moveTo>
                  <a:lnTo>
                    <a:pt x="952" y="1374969"/>
                  </a:lnTo>
                  <a:cubicBezTo>
                    <a:pt x="952" y="1364491"/>
                    <a:pt x="952" y="1354014"/>
                    <a:pt x="952" y="1342584"/>
                  </a:cubicBezTo>
                  <a:cubicBezTo>
                    <a:pt x="1905" y="1050166"/>
                    <a:pt x="2858" y="757749"/>
                    <a:pt x="3810" y="465331"/>
                  </a:cubicBezTo>
                  <a:cubicBezTo>
                    <a:pt x="3810" y="323409"/>
                    <a:pt x="3810" y="182439"/>
                    <a:pt x="3810" y="40516"/>
                  </a:cubicBezTo>
                  <a:cubicBezTo>
                    <a:pt x="3810" y="-1394"/>
                    <a:pt x="8572" y="-5204"/>
                    <a:pt x="48577" y="4321"/>
                  </a:cubicBezTo>
                  <a:cubicBezTo>
                    <a:pt x="126683" y="24324"/>
                    <a:pt x="201930" y="54804"/>
                    <a:pt x="271463" y="96714"/>
                  </a:cubicBezTo>
                  <a:cubicBezTo>
                    <a:pt x="287655" y="103381"/>
                    <a:pt x="295275" y="120527"/>
                    <a:pt x="290513" y="136719"/>
                  </a:cubicBezTo>
                  <a:cubicBezTo>
                    <a:pt x="262890" y="283404"/>
                    <a:pt x="238125" y="430089"/>
                    <a:pt x="211455" y="576774"/>
                  </a:cubicBezTo>
                  <a:cubicBezTo>
                    <a:pt x="181927" y="741557"/>
                    <a:pt x="152400" y="906339"/>
                    <a:pt x="122872" y="1071122"/>
                  </a:cubicBezTo>
                  <a:cubicBezTo>
                    <a:pt x="87630" y="1269241"/>
                    <a:pt x="51435" y="1466409"/>
                    <a:pt x="16192" y="1664529"/>
                  </a:cubicBezTo>
                  <a:cubicBezTo>
                    <a:pt x="12383" y="1681674"/>
                    <a:pt x="10477" y="1692151"/>
                    <a:pt x="0" y="17207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E21C8026-106F-9CA8-D564-8902AFFCBE42}"/>
                </a:ext>
              </a:extLst>
            </p:cNvPr>
            <p:cNvSpPr/>
            <p:nvPr/>
          </p:nvSpPr>
          <p:spPr>
            <a:xfrm>
              <a:off x="1683067" y="817105"/>
              <a:ext cx="541936" cy="1609483"/>
            </a:xfrm>
            <a:custGeom>
              <a:avLst/>
              <a:gdLst>
                <a:gd name="connsiteX0" fmla="*/ 953 w 541936"/>
                <a:gd name="connsiteY0" fmla="*/ 1608531 h 1609483"/>
                <a:gd name="connsiteX1" fmla="*/ 89535 w 541936"/>
                <a:gd name="connsiteY1" fmla="*/ 1138949 h 1609483"/>
                <a:gd name="connsiteX2" fmla="*/ 224790 w 541936"/>
                <a:gd name="connsiteY2" fmla="*/ 384568 h 1609483"/>
                <a:gd name="connsiteX3" fmla="*/ 285750 w 541936"/>
                <a:gd name="connsiteY3" fmla="*/ 43573 h 1609483"/>
                <a:gd name="connsiteX4" fmla="*/ 342900 w 541936"/>
                <a:gd name="connsiteY4" fmla="*/ 13093 h 1609483"/>
                <a:gd name="connsiteX5" fmla="*/ 521017 w 541936"/>
                <a:gd name="connsiteY5" fmla="*/ 123583 h 1609483"/>
                <a:gd name="connsiteX6" fmla="*/ 535305 w 541936"/>
                <a:gd name="connsiteY6" fmla="*/ 173113 h 1609483"/>
                <a:gd name="connsiteX7" fmla="*/ 456248 w 541936"/>
                <a:gd name="connsiteY7" fmla="*/ 387426 h 1609483"/>
                <a:gd name="connsiteX8" fmla="*/ 200025 w 541936"/>
                <a:gd name="connsiteY8" fmla="*/ 1085608 h 1609483"/>
                <a:gd name="connsiteX9" fmla="*/ 35242 w 541936"/>
                <a:gd name="connsiteY9" fmla="*/ 1530426 h 1609483"/>
                <a:gd name="connsiteX10" fmla="*/ 0 w 541936"/>
                <a:gd name="connsiteY10" fmla="*/ 1609483 h 1609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1936" h="1609483">
                  <a:moveTo>
                    <a:pt x="953" y="1608531"/>
                  </a:moveTo>
                  <a:cubicBezTo>
                    <a:pt x="24765" y="1478038"/>
                    <a:pt x="66675" y="1268488"/>
                    <a:pt x="89535" y="1138949"/>
                  </a:cubicBezTo>
                  <a:cubicBezTo>
                    <a:pt x="134303" y="887488"/>
                    <a:pt x="180023" y="636028"/>
                    <a:pt x="224790" y="384568"/>
                  </a:cubicBezTo>
                  <a:cubicBezTo>
                    <a:pt x="244792" y="270268"/>
                    <a:pt x="264795" y="156921"/>
                    <a:pt x="285750" y="43573"/>
                  </a:cubicBezTo>
                  <a:cubicBezTo>
                    <a:pt x="294323" y="-1194"/>
                    <a:pt x="289560" y="-11672"/>
                    <a:pt x="342900" y="13093"/>
                  </a:cubicBezTo>
                  <a:cubicBezTo>
                    <a:pt x="406717" y="41668"/>
                    <a:pt x="466725" y="78816"/>
                    <a:pt x="521017" y="123583"/>
                  </a:cubicBezTo>
                  <a:cubicBezTo>
                    <a:pt x="545783" y="143586"/>
                    <a:pt x="545783" y="144538"/>
                    <a:pt x="535305" y="173113"/>
                  </a:cubicBezTo>
                  <a:cubicBezTo>
                    <a:pt x="509588" y="244551"/>
                    <a:pt x="482917" y="315988"/>
                    <a:pt x="456248" y="387426"/>
                  </a:cubicBezTo>
                  <a:cubicBezTo>
                    <a:pt x="370523" y="619836"/>
                    <a:pt x="284798" y="853199"/>
                    <a:pt x="200025" y="1085608"/>
                  </a:cubicBezTo>
                  <a:cubicBezTo>
                    <a:pt x="145733" y="1234199"/>
                    <a:pt x="90488" y="1382788"/>
                    <a:pt x="35242" y="1530426"/>
                  </a:cubicBezTo>
                  <a:lnTo>
                    <a:pt x="0" y="16094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A2FF00E6-FDAF-41E7-D0A0-ABC11D14EFF8}"/>
              </a:ext>
            </a:extLst>
          </p:cNvPr>
          <p:cNvSpPr txBox="1"/>
          <p:nvPr/>
        </p:nvSpPr>
        <p:spPr>
          <a:xfrm rot="16200000">
            <a:off x="-1444725" y="5332504"/>
            <a:ext cx="462952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3200" b="1" dirty="0" err="1">
                <a:solidFill>
                  <a:schemeClr val="bg1"/>
                </a:solidFill>
              </a:rPr>
              <a:t>breadcrumbsdata.com</a:t>
            </a:r>
            <a:endParaRPr lang="en-US" sz="3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11647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iterate type="lt">
                                    <p:tmPct val="15625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63614A2-42F4-1BA2-7C37-186732C149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96886" y="-834189"/>
            <a:ext cx="26353017" cy="1480681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0EEF04E-63E3-5364-D47D-66BCC05453C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96886" y="-882316"/>
            <a:ext cx="26353017" cy="14806819"/>
          </a:xfrm>
          <a:prstGeom prst="rect">
            <a:avLst/>
          </a:prstGeom>
        </p:spPr>
      </p:pic>
      <p:sp>
        <p:nvSpPr>
          <p:cNvPr id="2" name="Rectangle: Rounded Corners 18">
            <a:extLst>
              <a:ext uri="{FF2B5EF4-FFF2-40B4-BE49-F238E27FC236}">
                <a16:creationId xmlns:a16="http://schemas.microsoft.com/office/drawing/2014/main" id="{8B60DABD-A625-60A9-97EB-24ED0F703197}"/>
              </a:ext>
            </a:extLst>
          </p:cNvPr>
          <p:cNvSpPr/>
          <p:nvPr/>
        </p:nvSpPr>
        <p:spPr>
          <a:xfrm rot="5400000">
            <a:off x="17510717" y="-14343874"/>
            <a:ext cx="19290843" cy="19290843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  <a:effectLst>
            <a:outerShdw blurRad="685800" sx="102000" sy="102000" algn="ctr" rotWithShape="0">
              <a:schemeClr val="accent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" name="Rectangle: Rounded Corners 18">
            <a:extLst>
              <a:ext uri="{FF2B5EF4-FFF2-40B4-BE49-F238E27FC236}">
                <a16:creationId xmlns:a16="http://schemas.microsoft.com/office/drawing/2014/main" id="{09009089-9A52-1306-B85A-F673245BB385}"/>
              </a:ext>
            </a:extLst>
          </p:cNvPr>
          <p:cNvSpPr/>
          <p:nvPr/>
        </p:nvSpPr>
        <p:spPr>
          <a:xfrm rot="5400000">
            <a:off x="-12896622" y="9803969"/>
            <a:ext cx="19290843" cy="19290843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  <a:effectLst>
            <a:outerShdw blurRad="685800" sx="102000" sy="102000" algn="ctr" rotWithShape="0">
              <a:schemeClr val="accent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1DA54FE-35DD-AA28-1FA8-B1CD0EEFB000}"/>
              </a:ext>
            </a:extLst>
          </p:cNvPr>
          <p:cNvSpPr txBox="1"/>
          <p:nvPr/>
        </p:nvSpPr>
        <p:spPr>
          <a:xfrm>
            <a:off x="4042610" y="4856902"/>
            <a:ext cx="15865642" cy="3908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000" dirty="0">
                <a:solidFill>
                  <a:schemeClr val="bg1"/>
                </a:solidFill>
                <a:effectLst/>
                <a:latin typeface="FUTURA MEDIUM BT" panose="020B0602020204020303" pitchFamily="34" charset="0"/>
              </a:rPr>
              <a:t>Recent legislation is beginning to</a:t>
            </a:r>
          </a:p>
          <a:p>
            <a:pPr algn="ctr"/>
            <a:r>
              <a:rPr lang="en-GB" sz="8000" dirty="0">
                <a:solidFill>
                  <a:schemeClr val="bg1"/>
                </a:solidFill>
                <a:effectLst/>
                <a:latin typeface="FUTURA MEDIUM BT" panose="020B0602020204020303" pitchFamily="34" charset="0"/>
              </a:rPr>
              <a:t>challenge these practices.</a:t>
            </a:r>
          </a:p>
          <a:p>
            <a:pPr algn="ctr"/>
            <a:endParaRPr lang="en-GB" sz="4400" b="1" dirty="0">
              <a:solidFill>
                <a:schemeClr val="bg1"/>
              </a:solidFill>
              <a:latin typeface="FUTURA MEDIUM BT" panose="020B0602020204020303" pitchFamily="34" charset="0"/>
            </a:endParaRPr>
          </a:p>
          <a:p>
            <a:pPr algn="ctr"/>
            <a:r>
              <a:rPr lang="en-GB" sz="4400" b="1" dirty="0">
                <a:solidFill>
                  <a:schemeClr val="bg2"/>
                </a:solidFill>
                <a:effectLst/>
                <a:latin typeface="FUTURA MEDIUM BT" panose="020B0602020204020303" pitchFamily="34" charset="0"/>
              </a:rPr>
              <a:t>(GDPR, CCPA, European Data Act 2024)</a:t>
            </a:r>
            <a:endParaRPr lang="en-GB" sz="4400" b="1" dirty="0">
              <a:solidFill>
                <a:schemeClr val="bg2"/>
              </a:solidFill>
              <a:effectLst/>
              <a:latin typeface="Futura Md BT" panose="020B0602020204020303" pitchFamily="34" charset="0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8E894159-8D1F-147F-F3C8-291CDD72613A}"/>
              </a:ext>
            </a:extLst>
          </p:cNvPr>
          <p:cNvSpPr txBox="1">
            <a:spLocks/>
          </p:cNvSpPr>
          <p:nvPr/>
        </p:nvSpPr>
        <p:spPr>
          <a:xfrm>
            <a:off x="23408916" y="8877743"/>
            <a:ext cx="324565" cy="582761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2400" b="1" smtClean="0">
                <a:solidFill>
                  <a:schemeClr val="bg1"/>
                </a:solidFill>
                <a:latin typeface="+mj-lt"/>
              </a:rPr>
              <a:pPr algn="ctr"/>
              <a:t>6</a:t>
            </a:fld>
            <a:endParaRPr lang="en-US" sz="1400" b="1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9E4D0AF-D5A3-E5D3-D301-C57D38F13D31}"/>
              </a:ext>
            </a:extLst>
          </p:cNvPr>
          <p:cNvGrpSpPr/>
          <p:nvPr/>
        </p:nvGrpSpPr>
        <p:grpSpPr>
          <a:xfrm>
            <a:off x="23332870" y="446240"/>
            <a:ext cx="476655" cy="337457"/>
            <a:chOff x="6167336" y="2130357"/>
            <a:chExt cx="476655" cy="337457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BD0A397E-DEEB-128C-5BAF-0A035A63EE2E}"/>
                </a:ext>
              </a:extLst>
            </p:cNvPr>
            <p:cNvCxnSpPr/>
            <p:nvPr userDrawn="1"/>
          </p:nvCxnSpPr>
          <p:spPr>
            <a:xfrm>
              <a:off x="6167336" y="2130357"/>
              <a:ext cx="4766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CD591CFA-FAB9-FCA4-D864-867247EE8EBE}"/>
                </a:ext>
              </a:extLst>
            </p:cNvPr>
            <p:cNvCxnSpPr/>
            <p:nvPr userDrawn="1"/>
          </p:nvCxnSpPr>
          <p:spPr>
            <a:xfrm>
              <a:off x="6167336" y="2299086"/>
              <a:ext cx="4766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0DE69A68-198A-FE1A-EC2A-6200F489D98A}"/>
                </a:ext>
              </a:extLst>
            </p:cNvPr>
            <p:cNvCxnSpPr/>
            <p:nvPr userDrawn="1"/>
          </p:nvCxnSpPr>
          <p:spPr>
            <a:xfrm>
              <a:off x="6167336" y="2467814"/>
              <a:ext cx="4766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957DC4C-6324-D759-60E4-CA999A80F086}"/>
              </a:ext>
            </a:extLst>
          </p:cNvPr>
          <p:cNvGrpSpPr/>
          <p:nvPr/>
        </p:nvGrpSpPr>
        <p:grpSpPr>
          <a:xfrm>
            <a:off x="23519785" y="12234167"/>
            <a:ext cx="102824" cy="698136"/>
            <a:chOff x="729638" y="739163"/>
            <a:chExt cx="102824" cy="698136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1C682029-DFF6-D3ED-7524-29180D8D8A9D}"/>
                </a:ext>
              </a:extLst>
            </p:cNvPr>
            <p:cNvSpPr/>
            <p:nvPr userDrawn="1"/>
          </p:nvSpPr>
          <p:spPr>
            <a:xfrm>
              <a:off x="729638" y="739163"/>
              <a:ext cx="102824" cy="10282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2B81D91C-0A85-8D70-9098-3B7B06482070}"/>
                </a:ext>
              </a:extLst>
            </p:cNvPr>
            <p:cNvSpPr/>
            <p:nvPr userDrawn="1"/>
          </p:nvSpPr>
          <p:spPr>
            <a:xfrm>
              <a:off x="729638" y="1036819"/>
              <a:ext cx="102824" cy="10282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7BEE5395-451E-4BC7-036A-0C8B84B0AC26}"/>
                </a:ext>
              </a:extLst>
            </p:cNvPr>
            <p:cNvSpPr/>
            <p:nvPr userDrawn="1"/>
          </p:nvSpPr>
          <p:spPr>
            <a:xfrm>
              <a:off x="729638" y="1334475"/>
              <a:ext cx="102824" cy="10282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1" name="Graphic 29">
            <a:extLst>
              <a:ext uri="{FF2B5EF4-FFF2-40B4-BE49-F238E27FC236}">
                <a16:creationId xmlns:a16="http://schemas.microsoft.com/office/drawing/2014/main" id="{AEECC25D-3C5F-F72B-FD42-05A59345C37F}"/>
              </a:ext>
            </a:extLst>
          </p:cNvPr>
          <p:cNvGrpSpPr/>
          <p:nvPr/>
        </p:nvGrpSpPr>
        <p:grpSpPr>
          <a:xfrm>
            <a:off x="631422" y="446240"/>
            <a:ext cx="589131" cy="1104816"/>
            <a:chOff x="1502100" y="653619"/>
            <a:chExt cx="2035484" cy="3817207"/>
          </a:xfrm>
          <a:solidFill>
            <a:schemeClr val="bg1"/>
          </a:solidFill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51F5EFD1-B2FD-98D3-8501-D7DDA8AC777D}"/>
                </a:ext>
              </a:extLst>
            </p:cNvPr>
            <p:cNvSpPr/>
            <p:nvPr/>
          </p:nvSpPr>
          <p:spPr>
            <a:xfrm>
              <a:off x="1502100" y="653619"/>
              <a:ext cx="2035484" cy="3817207"/>
            </a:xfrm>
            <a:custGeom>
              <a:avLst/>
              <a:gdLst>
                <a:gd name="connsiteX0" fmla="*/ 1775452 w 2035484"/>
                <a:gd name="connsiteY0" fmla="*/ 2695942 h 3817207"/>
                <a:gd name="connsiteX1" fmla="*/ 1556377 w 2035484"/>
                <a:gd name="connsiteY1" fmla="*/ 2695942 h 3817207"/>
                <a:gd name="connsiteX2" fmla="*/ 1516372 w 2035484"/>
                <a:gd name="connsiteY2" fmla="*/ 2664509 h 3817207"/>
                <a:gd name="connsiteX3" fmla="*/ 1423027 w 2035484"/>
                <a:gd name="connsiteY3" fmla="*/ 2477819 h 3817207"/>
                <a:gd name="connsiteX4" fmla="*/ 1031549 w 2035484"/>
                <a:gd name="connsiteY4" fmla="*/ 2283509 h 3817207"/>
                <a:gd name="connsiteX5" fmla="*/ 508627 w 2035484"/>
                <a:gd name="connsiteY5" fmla="*/ 2785477 h 3817207"/>
                <a:gd name="connsiteX6" fmla="*/ 1010594 w 2035484"/>
                <a:gd name="connsiteY6" fmla="*/ 3308399 h 3817207"/>
                <a:gd name="connsiteX7" fmla="*/ 1515419 w 2035484"/>
                <a:gd name="connsiteY7" fmla="*/ 2931209 h 3817207"/>
                <a:gd name="connsiteX8" fmla="*/ 1518277 w 2035484"/>
                <a:gd name="connsiteY8" fmla="*/ 2917874 h 3817207"/>
                <a:gd name="connsiteX9" fmla="*/ 1546852 w 2035484"/>
                <a:gd name="connsiteY9" fmla="*/ 2895967 h 3817207"/>
                <a:gd name="connsiteX10" fmla="*/ 1985955 w 2035484"/>
                <a:gd name="connsiteY10" fmla="*/ 2895967 h 3817207"/>
                <a:gd name="connsiteX11" fmla="*/ 2022149 w 2035484"/>
                <a:gd name="connsiteY11" fmla="*/ 2895967 h 3817207"/>
                <a:gd name="connsiteX12" fmla="*/ 2035484 w 2035484"/>
                <a:gd name="connsiteY12" fmla="*/ 2909302 h 3817207"/>
                <a:gd name="connsiteX13" fmla="*/ 2035484 w 2035484"/>
                <a:gd name="connsiteY13" fmla="*/ 2912159 h 3817207"/>
                <a:gd name="connsiteX14" fmla="*/ 2033580 w 2035484"/>
                <a:gd name="connsiteY14" fmla="*/ 2935019 h 3817207"/>
                <a:gd name="connsiteX15" fmla="*/ 1294440 w 2035484"/>
                <a:gd name="connsiteY15" fmla="*/ 3779887 h 3817207"/>
                <a:gd name="connsiteX16" fmla="*/ 37139 w 2035484"/>
                <a:gd name="connsiteY16" fmla="*/ 3068369 h 3817207"/>
                <a:gd name="connsiteX17" fmla="*/ 65714 w 2035484"/>
                <a:gd name="connsiteY17" fmla="*/ 2434004 h 3817207"/>
                <a:gd name="connsiteX18" fmla="*/ 315269 w 2035484"/>
                <a:gd name="connsiteY18" fmla="*/ 1756777 h 3817207"/>
                <a:gd name="connsiteX19" fmla="*/ 944872 w 2035484"/>
                <a:gd name="connsiteY19" fmla="*/ 42277 h 3817207"/>
                <a:gd name="connsiteX20" fmla="*/ 1009642 w 2035484"/>
                <a:gd name="connsiteY20" fmla="*/ 20369 h 3817207"/>
                <a:gd name="connsiteX21" fmla="*/ 1340159 w 2035484"/>
                <a:gd name="connsiteY21" fmla="*/ 531862 h 3817207"/>
                <a:gd name="connsiteX22" fmla="*/ 1266817 w 2035484"/>
                <a:gd name="connsiteY22" fmla="*/ 1033829 h 3817207"/>
                <a:gd name="connsiteX23" fmla="*/ 929632 w 2035484"/>
                <a:gd name="connsiteY23" fmla="*/ 1708199 h 3817207"/>
                <a:gd name="connsiteX24" fmla="*/ 906772 w 2035484"/>
                <a:gd name="connsiteY24" fmla="*/ 1752967 h 3817207"/>
                <a:gd name="connsiteX25" fmla="*/ 923917 w 2035484"/>
                <a:gd name="connsiteY25" fmla="*/ 1779637 h 3817207"/>
                <a:gd name="connsiteX26" fmla="*/ 1038217 w 2035484"/>
                <a:gd name="connsiteY26" fmla="*/ 1776779 h 3817207"/>
                <a:gd name="connsiteX27" fmla="*/ 1658294 w 2035484"/>
                <a:gd name="connsiteY27" fmla="*/ 1999664 h 3817207"/>
                <a:gd name="connsiteX28" fmla="*/ 2023102 w 2035484"/>
                <a:gd name="connsiteY28" fmla="*/ 2599739 h 3817207"/>
                <a:gd name="connsiteX29" fmla="*/ 2034532 w 2035484"/>
                <a:gd name="connsiteY29" fmla="*/ 2672129 h 3817207"/>
                <a:gd name="connsiteX30" fmla="*/ 2013577 w 2035484"/>
                <a:gd name="connsiteY30" fmla="*/ 2697847 h 3817207"/>
                <a:gd name="connsiteX31" fmla="*/ 1774499 w 2035484"/>
                <a:gd name="connsiteY31" fmla="*/ 2697847 h 3817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035484" h="3817207">
                  <a:moveTo>
                    <a:pt x="1775452" y="2695942"/>
                  </a:moveTo>
                  <a:lnTo>
                    <a:pt x="1556377" y="2695942"/>
                  </a:lnTo>
                  <a:cubicBezTo>
                    <a:pt x="1525897" y="2695942"/>
                    <a:pt x="1524944" y="2695942"/>
                    <a:pt x="1516372" y="2664509"/>
                  </a:cubicBezTo>
                  <a:cubicBezTo>
                    <a:pt x="1499227" y="2595929"/>
                    <a:pt x="1466842" y="2533064"/>
                    <a:pt x="1423027" y="2477819"/>
                  </a:cubicBezTo>
                  <a:cubicBezTo>
                    <a:pt x="1322062" y="2353994"/>
                    <a:pt x="1191569" y="2287319"/>
                    <a:pt x="1031549" y="2283509"/>
                  </a:cubicBezTo>
                  <a:cubicBezTo>
                    <a:pt x="748657" y="2277794"/>
                    <a:pt x="514342" y="2502584"/>
                    <a:pt x="508627" y="2785477"/>
                  </a:cubicBezTo>
                  <a:cubicBezTo>
                    <a:pt x="502912" y="3068369"/>
                    <a:pt x="727702" y="3302684"/>
                    <a:pt x="1010594" y="3308399"/>
                  </a:cubicBezTo>
                  <a:cubicBezTo>
                    <a:pt x="1244909" y="3313162"/>
                    <a:pt x="1453507" y="3157904"/>
                    <a:pt x="1515419" y="2931209"/>
                  </a:cubicBezTo>
                  <a:cubicBezTo>
                    <a:pt x="1516372" y="2926447"/>
                    <a:pt x="1517324" y="2922637"/>
                    <a:pt x="1518277" y="2917874"/>
                  </a:cubicBezTo>
                  <a:cubicBezTo>
                    <a:pt x="1523992" y="2897872"/>
                    <a:pt x="1525897" y="2895967"/>
                    <a:pt x="1546852" y="2895967"/>
                  </a:cubicBezTo>
                  <a:lnTo>
                    <a:pt x="1985955" y="2895967"/>
                  </a:lnTo>
                  <a:cubicBezTo>
                    <a:pt x="1998337" y="2895967"/>
                    <a:pt x="2009767" y="2895967"/>
                    <a:pt x="2022149" y="2895967"/>
                  </a:cubicBezTo>
                  <a:cubicBezTo>
                    <a:pt x="2029769" y="2895967"/>
                    <a:pt x="2035484" y="2901682"/>
                    <a:pt x="2035484" y="2909302"/>
                  </a:cubicBezTo>
                  <a:cubicBezTo>
                    <a:pt x="2035484" y="2909302"/>
                    <a:pt x="2035484" y="2911207"/>
                    <a:pt x="2035484" y="2912159"/>
                  </a:cubicBezTo>
                  <a:cubicBezTo>
                    <a:pt x="2035484" y="2919779"/>
                    <a:pt x="2035484" y="2927399"/>
                    <a:pt x="2033580" y="2935019"/>
                  </a:cubicBezTo>
                  <a:cubicBezTo>
                    <a:pt x="1976430" y="3339832"/>
                    <a:pt x="1688774" y="3672254"/>
                    <a:pt x="1294440" y="3779887"/>
                  </a:cubicBezTo>
                  <a:cubicBezTo>
                    <a:pt x="750562" y="3930382"/>
                    <a:pt x="187634" y="3612247"/>
                    <a:pt x="37139" y="3068369"/>
                  </a:cubicBezTo>
                  <a:cubicBezTo>
                    <a:pt x="-20963" y="2858819"/>
                    <a:pt x="-10486" y="2636887"/>
                    <a:pt x="65714" y="2434004"/>
                  </a:cubicBezTo>
                  <a:cubicBezTo>
                    <a:pt x="148582" y="2208262"/>
                    <a:pt x="232402" y="1982519"/>
                    <a:pt x="315269" y="1756777"/>
                  </a:cubicBezTo>
                  <a:cubicBezTo>
                    <a:pt x="524819" y="1185277"/>
                    <a:pt x="735322" y="613777"/>
                    <a:pt x="944872" y="42277"/>
                  </a:cubicBezTo>
                  <a:cubicBezTo>
                    <a:pt x="963922" y="-9158"/>
                    <a:pt x="965827" y="-10111"/>
                    <a:pt x="1009642" y="20369"/>
                  </a:cubicBezTo>
                  <a:cubicBezTo>
                    <a:pt x="1189665" y="146099"/>
                    <a:pt x="1301107" y="316597"/>
                    <a:pt x="1340159" y="531862"/>
                  </a:cubicBezTo>
                  <a:cubicBezTo>
                    <a:pt x="1372544" y="702359"/>
                    <a:pt x="1346827" y="879524"/>
                    <a:pt x="1266817" y="1033829"/>
                  </a:cubicBezTo>
                  <a:cubicBezTo>
                    <a:pt x="1154422" y="1258619"/>
                    <a:pt x="1041074" y="1483409"/>
                    <a:pt x="929632" y="1708199"/>
                  </a:cubicBezTo>
                  <a:cubicBezTo>
                    <a:pt x="922012" y="1723439"/>
                    <a:pt x="914392" y="1737727"/>
                    <a:pt x="906772" y="1752967"/>
                  </a:cubicBezTo>
                  <a:cubicBezTo>
                    <a:pt x="897247" y="1774874"/>
                    <a:pt x="901057" y="1780589"/>
                    <a:pt x="923917" y="1779637"/>
                  </a:cubicBezTo>
                  <a:cubicBezTo>
                    <a:pt x="962017" y="1778684"/>
                    <a:pt x="1000117" y="1775827"/>
                    <a:pt x="1038217" y="1776779"/>
                  </a:cubicBezTo>
                  <a:cubicBezTo>
                    <a:pt x="1263959" y="1778684"/>
                    <a:pt x="1483034" y="1856789"/>
                    <a:pt x="1658294" y="1999664"/>
                  </a:cubicBezTo>
                  <a:cubicBezTo>
                    <a:pt x="1852605" y="2154922"/>
                    <a:pt x="1972619" y="2356852"/>
                    <a:pt x="2023102" y="2599739"/>
                  </a:cubicBezTo>
                  <a:cubicBezTo>
                    <a:pt x="2027865" y="2623552"/>
                    <a:pt x="2031674" y="2647364"/>
                    <a:pt x="2034532" y="2672129"/>
                  </a:cubicBezTo>
                  <a:cubicBezTo>
                    <a:pt x="2037390" y="2692132"/>
                    <a:pt x="2032627" y="2696894"/>
                    <a:pt x="2013577" y="2697847"/>
                  </a:cubicBezTo>
                  <a:lnTo>
                    <a:pt x="1774499" y="269784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0E76AB2B-B187-4D7F-3DEB-99400C5D97AA}"/>
                </a:ext>
              </a:extLst>
            </p:cNvPr>
            <p:cNvSpPr/>
            <p:nvPr/>
          </p:nvSpPr>
          <p:spPr>
            <a:xfrm>
              <a:off x="1503045" y="1064002"/>
              <a:ext cx="291914" cy="1722631"/>
            </a:xfrm>
            <a:custGeom>
              <a:avLst/>
              <a:gdLst>
                <a:gd name="connsiteX0" fmla="*/ 952 w 291914"/>
                <a:gd name="connsiteY0" fmla="*/ 1722632 h 1722631"/>
                <a:gd name="connsiteX1" fmla="*/ 952 w 291914"/>
                <a:gd name="connsiteY1" fmla="*/ 1374969 h 1722631"/>
                <a:gd name="connsiteX2" fmla="*/ 952 w 291914"/>
                <a:gd name="connsiteY2" fmla="*/ 1342584 h 1722631"/>
                <a:gd name="connsiteX3" fmla="*/ 3810 w 291914"/>
                <a:gd name="connsiteY3" fmla="*/ 465331 h 1722631"/>
                <a:gd name="connsiteX4" fmla="*/ 3810 w 291914"/>
                <a:gd name="connsiteY4" fmla="*/ 40516 h 1722631"/>
                <a:gd name="connsiteX5" fmla="*/ 48577 w 291914"/>
                <a:gd name="connsiteY5" fmla="*/ 4321 h 1722631"/>
                <a:gd name="connsiteX6" fmla="*/ 271463 w 291914"/>
                <a:gd name="connsiteY6" fmla="*/ 96714 h 1722631"/>
                <a:gd name="connsiteX7" fmla="*/ 290513 w 291914"/>
                <a:gd name="connsiteY7" fmla="*/ 136719 h 1722631"/>
                <a:gd name="connsiteX8" fmla="*/ 211455 w 291914"/>
                <a:gd name="connsiteY8" fmla="*/ 576774 h 1722631"/>
                <a:gd name="connsiteX9" fmla="*/ 122872 w 291914"/>
                <a:gd name="connsiteY9" fmla="*/ 1071122 h 1722631"/>
                <a:gd name="connsiteX10" fmla="*/ 16192 w 291914"/>
                <a:gd name="connsiteY10" fmla="*/ 1664529 h 1722631"/>
                <a:gd name="connsiteX11" fmla="*/ 0 w 291914"/>
                <a:gd name="connsiteY11" fmla="*/ 1720726 h 1722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1914" h="1722631">
                  <a:moveTo>
                    <a:pt x="952" y="1722632"/>
                  </a:moveTo>
                  <a:lnTo>
                    <a:pt x="952" y="1374969"/>
                  </a:lnTo>
                  <a:cubicBezTo>
                    <a:pt x="952" y="1364491"/>
                    <a:pt x="952" y="1354014"/>
                    <a:pt x="952" y="1342584"/>
                  </a:cubicBezTo>
                  <a:cubicBezTo>
                    <a:pt x="1905" y="1050166"/>
                    <a:pt x="2858" y="757749"/>
                    <a:pt x="3810" y="465331"/>
                  </a:cubicBezTo>
                  <a:cubicBezTo>
                    <a:pt x="3810" y="323409"/>
                    <a:pt x="3810" y="182439"/>
                    <a:pt x="3810" y="40516"/>
                  </a:cubicBezTo>
                  <a:cubicBezTo>
                    <a:pt x="3810" y="-1394"/>
                    <a:pt x="8572" y="-5204"/>
                    <a:pt x="48577" y="4321"/>
                  </a:cubicBezTo>
                  <a:cubicBezTo>
                    <a:pt x="126683" y="24324"/>
                    <a:pt x="201930" y="54804"/>
                    <a:pt x="271463" y="96714"/>
                  </a:cubicBezTo>
                  <a:cubicBezTo>
                    <a:pt x="287655" y="103381"/>
                    <a:pt x="295275" y="120527"/>
                    <a:pt x="290513" y="136719"/>
                  </a:cubicBezTo>
                  <a:cubicBezTo>
                    <a:pt x="262890" y="283404"/>
                    <a:pt x="238125" y="430089"/>
                    <a:pt x="211455" y="576774"/>
                  </a:cubicBezTo>
                  <a:cubicBezTo>
                    <a:pt x="181927" y="741557"/>
                    <a:pt x="152400" y="906339"/>
                    <a:pt x="122872" y="1071122"/>
                  </a:cubicBezTo>
                  <a:cubicBezTo>
                    <a:pt x="87630" y="1269241"/>
                    <a:pt x="51435" y="1466409"/>
                    <a:pt x="16192" y="1664529"/>
                  </a:cubicBezTo>
                  <a:cubicBezTo>
                    <a:pt x="12383" y="1681674"/>
                    <a:pt x="10477" y="1692151"/>
                    <a:pt x="0" y="17207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40D3EA11-10C0-0860-DA9A-2CA1C14B2D8F}"/>
                </a:ext>
              </a:extLst>
            </p:cNvPr>
            <p:cNvSpPr/>
            <p:nvPr/>
          </p:nvSpPr>
          <p:spPr>
            <a:xfrm>
              <a:off x="1683067" y="817105"/>
              <a:ext cx="541936" cy="1609483"/>
            </a:xfrm>
            <a:custGeom>
              <a:avLst/>
              <a:gdLst>
                <a:gd name="connsiteX0" fmla="*/ 953 w 541936"/>
                <a:gd name="connsiteY0" fmla="*/ 1608531 h 1609483"/>
                <a:gd name="connsiteX1" fmla="*/ 89535 w 541936"/>
                <a:gd name="connsiteY1" fmla="*/ 1138949 h 1609483"/>
                <a:gd name="connsiteX2" fmla="*/ 224790 w 541936"/>
                <a:gd name="connsiteY2" fmla="*/ 384568 h 1609483"/>
                <a:gd name="connsiteX3" fmla="*/ 285750 w 541936"/>
                <a:gd name="connsiteY3" fmla="*/ 43573 h 1609483"/>
                <a:gd name="connsiteX4" fmla="*/ 342900 w 541936"/>
                <a:gd name="connsiteY4" fmla="*/ 13093 h 1609483"/>
                <a:gd name="connsiteX5" fmla="*/ 521017 w 541936"/>
                <a:gd name="connsiteY5" fmla="*/ 123583 h 1609483"/>
                <a:gd name="connsiteX6" fmla="*/ 535305 w 541936"/>
                <a:gd name="connsiteY6" fmla="*/ 173113 h 1609483"/>
                <a:gd name="connsiteX7" fmla="*/ 456248 w 541936"/>
                <a:gd name="connsiteY7" fmla="*/ 387426 h 1609483"/>
                <a:gd name="connsiteX8" fmla="*/ 200025 w 541936"/>
                <a:gd name="connsiteY8" fmla="*/ 1085608 h 1609483"/>
                <a:gd name="connsiteX9" fmla="*/ 35242 w 541936"/>
                <a:gd name="connsiteY9" fmla="*/ 1530426 h 1609483"/>
                <a:gd name="connsiteX10" fmla="*/ 0 w 541936"/>
                <a:gd name="connsiteY10" fmla="*/ 1609483 h 1609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1936" h="1609483">
                  <a:moveTo>
                    <a:pt x="953" y="1608531"/>
                  </a:moveTo>
                  <a:cubicBezTo>
                    <a:pt x="24765" y="1478038"/>
                    <a:pt x="66675" y="1268488"/>
                    <a:pt x="89535" y="1138949"/>
                  </a:cubicBezTo>
                  <a:cubicBezTo>
                    <a:pt x="134303" y="887488"/>
                    <a:pt x="180023" y="636028"/>
                    <a:pt x="224790" y="384568"/>
                  </a:cubicBezTo>
                  <a:cubicBezTo>
                    <a:pt x="244792" y="270268"/>
                    <a:pt x="264795" y="156921"/>
                    <a:pt x="285750" y="43573"/>
                  </a:cubicBezTo>
                  <a:cubicBezTo>
                    <a:pt x="294323" y="-1194"/>
                    <a:pt x="289560" y="-11672"/>
                    <a:pt x="342900" y="13093"/>
                  </a:cubicBezTo>
                  <a:cubicBezTo>
                    <a:pt x="406717" y="41668"/>
                    <a:pt x="466725" y="78816"/>
                    <a:pt x="521017" y="123583"/>
                  </a:cubicBezTo>
                  <a:cubicBezTo>
                    <a:pt x="545783" y="143586"/>
                    <a:pt x="545783" y="144538"/>
                    <a:pt x="535305" y="173113"/>
                  </a:cubicBezTo>
                  <a:cubicBezTo>
                    <a:pt x="509588" y="244551"/>
                    <a:pt x="482917" y="315988"/>
                    <a:pt x="456248" y="387426"/>
                  </a:cubicBezTo>
                  <a:cubicBezTo>
                    <a:pt x="370523" y="619836"/>
                    <a:pt x="284798" y="853199"/>
                    <a:pt x="200025" y="1085608"/>
                  </a:cubicBezTo>
                  <a:cubicBezTo>
                    <a:pt x="145733" y="1234199"/>
                    <a:pt x="90488" y="1382788"/>
                    <a:pt x="35242" y="1530426"/>
                  </a:cubicBezTo>
                  <a:lnTo>
                    <a:pt x="0" y="16094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DFA8145C-7491-A3FF-648E-880C5B3812D2}"/>
              </a:ext>
            </a:extLst>
          </p:cNvPr>
          <p:cNvSpPr txBox="1"/>
          <p:nvPr/>
        </p:nvSpPr>
        <p:spPr>
          <a:xfrm rot="16200000">
            <a:off x="-1444725" y="5332504"/>
            <a:ext cx="462952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3200" b="1" dirty="0" err="1">
                <a:solidFill>
                  <a:schemeClr val="bg1"/>
                </a:solidFill>
              </a:rPr>
              <a:t>breadcrumbsdata.com</a:t>
            </a:r>
            <a:endParaRPr lang="en-US" sz="3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6081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FC1FA97-E0D1-C2E1-783A-5462050638E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3842" y="-86406"/>
            <a:ext cx="25138972" cy="14091163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FE7929AC-895A-4355-9025-B1CD8FBAC379}"/>
              </a:ext>
            </a:extLst>
          </p:cNvPr>
          <p:cNvGrpSpPr/>
          <p:nvPr/>
        </p:nvGrpSpPr>
        <p:grpSpPr>
          <a:xfrm>
            <a:off x="9769513" y="4433926"/>
            <a:ext cx="4848149" cy="4848149"/>
            <a:chOff x="9989883" y="4654296"/>
            <a:chExt cx="4407408" cy="4407408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1311C088-D982-4226-B167-252BCA98ECF9}"/>
                </a:ext>
              </a:extLst>
            </p:cNvPr>
            <p:cNvSpPr/>
            <p:nvPr/>
          </p:nvSpPr>
          <p:spPr>
            <a:xfrm>
              <a:off x="9989883" y="4654296"/>
              <a:ext cx="4407408" cy="440740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" name="Arc 2">
              <a:extLst>
                <a:ext uri="{FF2B5EF4-FFF2-40B4-BE49-F238E27FC236}">
                  <a16:creationId xmlns:a16="http://schemas.microsoft.com/office/drawing/2014/main" id="{38A01CA3-205F-4BD0-B433-8E4E9FBFE9C1}"/>
                </a:ext>
              </a:extLst>
            </p:cNvPr>
            <p:cNvSpPr/>
            <p:nvPr/>
          </p:nvSpPr>
          <p:spPr>
            <a:xfrm>
              <a:off x="9991545" y="4654296"/>
              <a:ext cx="4405746" cy="4405746"/>
            </a:xfrm>
            <a:prstGeom prst="arc">
              <a:avLst>
                <a:gd name="adj1" fmla="val 16200000"/>
                <a:gd name="adj2" fmla="val 20775565"/>
              </a:avLst>
            </a:prstGeom>
            <a:ln w="50800">
              <a:gradFill flip="none" rotWithShape="1">
                <a:gsLst>
                  <a:gs pos="23000">
                    <a:schemeClr val="bg2"/>
                  </a:gs>
                  <a:gs pos="100000">
                    <a:schemeClr val="bg1"/>
                  </a:gs>
                </a:gsLst>
                <a:lin ang="0" scaled="1"/>
                <a:tileRect/>
              </a:gra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813A274C-E13C-4D39-96DF-C5BA2B2A72B9}"/>
              </a:ext>
            </a:extLst>
          </p:cNvPr>
          <p:cNvSpPr txBox="1"/>
          <p:nvPr/>
        </p:nvSpPr>
        <p:spPr>
          <a:xfrm>
            <a:off x="6772812" y="6388715"/>
            <a:ext cx="10839827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>
              <a:defRPr/>
            </a:pPr>
            <a:r>
              <a:rPr lang="en-US" sz="9600" b="1" dirty="0">
                <a:solidFill>
                  <a:srgbClr val="FFFFFF"/>
                </a:solidFill>
                <a:effectLst>
                  <a:outerShdw blurRad="190500" dist="38100" dir="5400000" sx="103000" sy="103000" algn="t" rotWithShape="0">
                    <a:srgbClr val="377DFF">
                      <a:lumMod val="50000"/>
                      <a:alpha val="53000"/>
                    </a:srgbClr>
                  </a:outerShdw>
                </a:effectLst>
                <a:latin typeface="Futura Md BT" panose="020B0602020204020303" pitchFamily="34" charset="0"/>
              </a:rPr>
              <a:t>Current Solution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12F8C9F-BED7-4E5C-94FE-7269FBFE52E3}"/>
              </a:ext>
            </a:extLst>
          </p:cNvPr>
          <p:cNvGrpSpPr/>
          <p:nvPr/>
        </p:nvGrpSpPr>
        <p:grpSpPr>
          <a:xfrm rot="15300000" flipH="1">
            <a:off x="9527105" y="4191518"/>
            <a:ext cx="5332964" cy="5332964"/>
            <a:chOff x="9989883" y="4654296"/>
            <a:chExt cx="4407408" cy="4407408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F2453F8C-5855-4737-87AB-E74913B63CAC}"/>
                </a:ext>
              </a:extLst>
            </p:cNvPr>
            <p:cNvSpPr/>
            <p:nvPr/>
          </p:nvSpPr>
          <p:spPr>
            <a:xfrm>
              <a:off x="9989883" y="4654296"/>
              <a:ext cx="4407408" cy="440740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Arc 9">
              <a:extLst>
                <a:ext uri="{FF2B5EF4-FFF2-40B4-BE49-F238E27FC236}">
                  <a16:creationId xmlns:a16="http://schemas.microsoft.com/office/drawing/2014/main" id="{8E20C951-8FC1-42C5-A17B-CFD1271C33D0}"/>
                </a:ext>
              </a:extLst>
            </p:cNvPr>
            <p:cNvSpPr/>
            <p:nvPr/>
          </p:nvSpPr>
          <p:spPr>
            <a:xfrm>
              <a:off x="9991545" y="4654296"/>
              <a:ext cx="4405746" cy="4405746"/>
            </a:xfrm>
            <a:prstGeom prst="arc">
              <a:avLst>
                <a:gd name="adj1" fmla="val 16200000"/>
                <a:gd name="adj2" fmla="val 20775565"/>
              </a:avLst>
            </a:prstGeom>
            <a:ln w="44450">
              <a:gradFill flip="none" rotWithShape="1">
                <a:gsLst>
                  <a:gs pos="23000">
                    <a:schemeClr val="bg2"/>
                  </a:gs>
                  <a:gs pos="99000">
                    <a:schemeClr val="bg1"/>
                  </a:gs>
                </a:gsLst>
                <a:lin ang="0" scaled="1"/>
                <a:tileRect/>
              </a:gra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F9AB356-5BFC-40AE-B58E-F94D6453C2F7}"/>
              </a:ext>
            </a:extLst>
          </p:cNvPr>
          <p:cNvGrpSpPr/>
          <p:nvPr/>
        </p:nvGrpSpPr>
        <p:grpSpPr>
          <a:xfrm>
            <a:off x="9260457" y="3924870"/>
            <a:ext cx="5866260" cy="5866260"/>
            <a:chOff x="9989883" y="4654296"/>
            <a:chExt cx="4407408" cy="4407408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CC75AEA2-07CA-4390-9880-3A4EF185183A}"/>
                </a:ext>
              </a:extLst>
            </p:cNvPr>
            <p:cNvSpPr/>
            <p:nvPr/>
          </p:nvSpPr>
          <p:spPr>
            <a:xfrm>
              <a:off x="9989883" y="4654296"/>
              <a:ext cx="4407408" cy="440740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Arc 16">
              <a:extLst>
                <a:ext uri="{FF2B5EF4-FFF2-40B4-BE49-F238E27FC236}">
                  <a16:creationId xmlns:a16="http://schemas.microsoft.com/office/drawing/2014/main" id="{37330191-19CD-413C-BB04-2993D10A625E}"/>
                </a:ext>
              </a:extLst>
            </p:cNvPr>
            <p:cNvSpPr/>
            <p:nvPr/>
          </p:nvSpPr>
          <p:spPr>
            <a:xfrm>
              <a:off x="9991545" y="4654296"/>
              <a:ext cx="4405746" cy="4405746"/>
            </a:xfrm>
            <a:prstGeom prst="arc">
              <a:avLst>
                <a:gd name="adj1" fmla="val 1000099"/>
                <a:gd name="adj2" fmla="val 7299557"/>
              </a:avLst>
            </a:prstGeom>
            <a:ln w="44450">
              <a:gradFill flip="none" rotWithShape="1">
                <a:gsLst>
                  <a:gs pos="0">
                    <a:schemeClr val="bg2"/>
                  </a:gs>
                  <a:gs pos="48000">
                    <a:schemeClr val="bg1"/>
                  </a:gs>
                </a:gsLst>
                <a:lin ang="10800000" scaled="1"/>
                <a:tileRect/>
              </a:gra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3DE2AF3-4FE8-401C-946B-F8DA8F63359D}"/>
              </a:ext>
            </a:extLst>
          </p:cNvPr>
          <p:cNvGrpSpPr/>
          <p:nvPr/>
        </p:nvGrpSpPr>
        <p:grpSpPr>
          <a:xfrm rot="15300000" flipH="1">
            <a:off x="8967144" y="3631557"/>
            <a:ext cx="6452886" cy="6452886"/>
            <a:chOff x="9989883" y="4654296"/>
            <a:chExt cx="4407408" cy="4407408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3AEBD042-CB66-48F9-A794-85E94DD1E9EA}"/>
                </a:ext>
              </a:extLst>
            </p:cNvPr>
            <p:cNvSpPr/>
            <p:nvPr/>
          </p:nvSpPr>
          <p:spPr>
            <a:xfrm>
              <a:off x="9989883" y="4654296"/>
              <a:ext cx="4407408" cy="440740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Arc 19">
              <a:extLst>
                <a:ext uri="{FF2B5EF4-FFF2-40B4-BE49-F238E27FC236}">
                  <a16:creationId xmlns:a16="http://schemas.microsoft.com/office/drawing/2014/main" id="{93A0AC6C-62BA-4DEB-8E50-0EA702FD55ED}"/>
                </a:ext>
              </a:extLst>
            </p:cNvPr>
            <p:cNvSpPr/>
            <p:nvPr/>
          </p:nvSpPr>
          <p:spPr>
            <a:xfrm>
              <a:off x="9991545" y="4654296"/>
              <a:ext cx="4405746" cy="4405746"/>
            </a:xfrm>
            <a:prstGeom prst="arc">
              <a:avLst>
                <a:gd name="adj1" fmla="val 96625"/>
                <a:gd name="adj2" fmla="val 4048638"/>
              </a:avLst>
            </a:prstGeom>
            <a:ln w="44450">
              <a:gradFill flip="none" rotWithShape="1">
                <a:gsLst>
                  <a:gs pos="22000">
                    <a:schemeClr val="bg2"/>
                  </a:gs>
                  <a:gs pos="99000">
                    <a:schemeClr val="bg1"/>
                  </a:gs>
                </a:gsLst>
                <a:lin ang="0" scaled="1"/>
                <a:tileRect/>
              </a:gra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45BF0F58-9FA6-F9EB-B018-F66729E0C6F3}"/>
              </a:ext>
            </a:extLst>
          </p:cNvPr>
          <p:cNvSpPr txBox="1">
            <a:spLocks/>
          </p:cNvSpPr>
          <p:nvPr/>
        </p:nvSpPr>
        <p:spPr>
          <a:xfrm>
            <a:off x="23408916" y="8877743"/>
            <a:ext cx="324565" cy="582761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2400" b="1" smtClean="0">
                <a:solidFill>
                  <a:schemeClr val="bg1"/>
                </a:solidFill>
                <a:latin typeface="+mj-lt"/>
              </a:rPr>
              <a:pPr algn="ctr"/>
              <a:t>7</a:t>
            </a:fld>
            <a:endParaRPr lang="en-US" sz="1400" b="1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26DCBE4C-F530-1AB2-CCC9-C7AF2BF2550E}"/>
              </a:ext>
            </a:extLst>
          </p:cNvPr>
          <p:cNvGrpSpPr/>
          <p:nvPr/>
        </p:nvGrpSpPr>
        <p:grpSpPr>
          <a:xfrm>
            <a:off x="23332870" y="446240"/>
            <a:ext cx="476655" cy="337457"/>
            <a:chOff x="6167336" y="2130357"/>
            <a:chExt cx="476655" cy="337457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2767F6AF-0314-CD17-A98F-808AE5192053}"/>
                </a:ext>
              </a:extLst>
            </p:cNvPr>
            <p:cNvCxnSpPr/>
            <p:nvPr userDrawn="1"/>
          </p:nvCxnSpPr>
          <p:spPr>
            <a:xfrm>
              <a:off x="6167336" y="2130357"/>
              <a:ext cx="4766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B0A7F14F-382A-9755-5924-DB2E2C1B1B5E}"/>
                </a:ext>
              </a:extLst>
            </p:cNvPr>
            <p:cNvCxnSpPr/>
            <p:nvPr userDrawn="1"/>
          </p:nvCxnSpPr>
          <p:spPr>
            <a:xfrm>
              <a:off x="6167336" y="2299086"/>
              <a:ext cx="4766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6C4B4436-C853-9C55-09D7-70FCE97CFE4E}"/>
                </a:ext>
              </a:extLst>
            </p:cNvPr>
            <p:cNvCxnSpPr/>
            <p:nvPr userDrawn="1"/>
          </p:nvCxnSpPr>
          <p:spPr>
            <a:xfrm>
              <a:off x="6167336" y="2467814"/>
              <a:ext cx="4766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5909E566-3C06-0FCB-A9A3-033ED93FEC2B}"/>
              </a:ext>
            </a:extLst>
          </p:cNvPr>
          <p:cNvGrpSpPr/>
          <p:nvPr/>
        </p:nvGrpSpPr>
        <p:grpSpPr>
          <a:xfrm>
            <a:off x="23519785" y="12234167"/>
            <a:ext cx="102824" cy="698136"/>
            <a:chOff x="729638" y="739163"/>
            <a:chExt cx="102824" cy="698136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B39FA729-9C52-05D9-1A0D-F99BFDEC9A18}"/>
                </a:ext>
              </a:extLst>
            </p:cNvPr>
            <p:cNvSpPr/>
            <p:nvPr userDrawn="1"/>
          </p:nvSpPr>
          <p:spPr>
            <a:xfrm>
              <a:off x="729638" y="739163"/>
              <a:ext cx="102824" cy="10282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C7FF70BF-48DC-3121-092E-581B80255B0F}"/>
                </a:ext>
              </a:extLst>
            </p:cNvPr>
            <p:cNvSpPr/>
            <p:nvPr userDrawn="1"/>
          </p:nvSpPr>
          <p:spPr>
            <a:xfrm>
              <a:off x="729638" y="1036819"/>
              <a:ext cx="102824" cy="10282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2222FE59-762C-C463-5258-E5B913ED5700}"/>
                </a:ext>
              </a:extLst>
            </p:cNvPr>
            <p:cNvSpPr/>
            <p:nvPr userDrawn="1"/>
          </p:nvSpPr>
          <p:spPr>
            <a:xfrm>
              <a:off x="729638" y="1334475"/>
              <a:ext cx="102824" cy="10282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6" name="Graphic 29">
            <a:extLst>
              <a:ext uri="{FF2B5EF4-FFF2-40B4-BE49-F238E27FC236}">
                <a16:creationId xmlns:a16="http://schemas.microsoft.com/office/drawing/2014/main" id="{B5C2BA1B-4332-64FF-1DFC-D6716A781CF0}"/>
              </a:ext>
            </a:extLst>
          </p:cNvPr>
          <p:cNvGrpSpPr/>
          <p:nvPr/>
        </p:nvGrpSpPr>
        <p:grpSpPr>
          <a:xfrm>
            <a:off x="631422" y="446240"/>
            <a:ext cx="589131" cy="1104816"/>
            <a:chOff x="1502100" y="653619"/>
            <a:chExt cx="2035484" cy="3817207"/>
          </a:xfrm>
          <a:solidFill>
            <a:schemeClr val="bg1"/>
          </a:solidFill>
        </p:grpSpPr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431E167F-96BD-8049-DA73-94B66D417F88}"/>
                </a:ext>
              </a:extLst>
            </p:cNvPr>
            <p:cNvSpPr/>
            <p:nvPr/>
          </p:nvSpPr>
          <p:spPr>
            <a:xfrm>
              <a:off x="1502100" y="653619"/>
              <a:ext cx="2035484" cy="3817207"/>
            </a:xfrm>
            <a:custGeom>
              <a:avLst/>
              <a:gdLst>
                <a:gd name="connsiteX0" fmla="*/ 1775452 w 2035484"/>
                <a:gd name="connsiteY0" fmla="*/ 2695942 h 3817207"/>
                <a:gd name="connsiteX1" fmla="*/ 1556377 w 2035484"/>
                <a:gd name="connsiteY1" fmla="*/ 2695942 h 3817207"/>
                <a:gd name="connsiteX2" fmla="*/ 1516372 w 2035484"/>
                <a:gd name="connsiteY2" fmla="*/ 2664509 h 3817207"/>
                <a:gd name="connsiteX3" fmla="*/ 1423027 w 2035484"/>
                <a:gd name="connsiteY3" fmla="*/ 2477819 h 3817207"/>
                <a:gd name="connsiteX4" fmla="*/ 1031549 w 2035484"/>
                <a:gd name="connsiteY4" fmla="*/ 2283509 h 3817207"/>
                <a:gd name="connsiteX5" fmla="*/ 508627 w 2035484"/>
                <a:gd name="connsiteY5" fmla="*/ 2785477 h 3817207"/>
                <a:gd name="connsiteX6" fmla="*/ 1010594 w 2035484"/>
                <a:gd name="connsiteY6" fmla="*/ 3308399 h 3817207"/>
                <a:gd name="connsiteX7" fmla="*/ 1515419 w 2035484"/>
                <a:gd name="connsiteY7" fmla="*/ 2931209 h 3817207"/>
                <a:gd name="connsiteX8" fmla="*/ 1518277 w 2035484"/>
                <a:gd name="connsiteY8" fmla="*/ 2917874 h 3817207"/>
                <a:gd name="connsiteX9" fmla="*/ 1546852 w 2035484"/>
                <a:gd name="connsiteY9" fmla="*/ 2895967 h 3817207"/>
                <a:gd name="connsiteX10" fmla="*/ 1985955 w 2035484"/>
                <a:gd name="connsiteY10" fmla="*/ 2895967 h 3817207"/>
                <a:gd name="connsiteX11" fmla="*/ 2022149 w 2035484"/>
                <a:gd name="connsiteY11" fmla="*/ 2895967 h 3817207"/>
                <a:gd name="connsiteX12" fmla="*/ 2035484 w 2035484"/>
                <a:gd name="connsiteY12" fmla="*/ 2909302 h 3817207"/>
                <a:gd name="connsiteX13" fmla="*/ 2035484 w 2035484"/>
                <a:gd name="connsiteY13" fmla="*/ 2912159 h 3817207"/>
                <a:gd name="connsiteX14" fmla="*/ 2033580 w 2035484"/>
                <a:gd name="connsiteY14" fmla="*/ 2935019 h 3817207"/>
                <a:gd name="connsiteX15" fmla="*/ 1294440 w 2035484"/>
                <a:gd name="connsiteY15" fmla="*/ 3779887 h 3817207"/>
                <a:gd name="connsiteX16" fmla="*/ 37139 w 2035484"/>
                <a:gd name="connsiteY16" fmla="*/ 3068369 h 3817207"/>
                <a:gd name="connsiteX17" fmla="*/ 65714 w 2035484"/>
                <a:gd name="connsiteY17" fmla="*/ 2434004 h 3817207"/>
                <a:gd name="connsiteX18" fmla="*/ 315269 w 2035484"/>
                <a:gd name="connsiteY18" fmla="*/ 1756777 h 3817207"/>
                <a:gd name="connsiteX19" fmla="*/ 944872 w 2035484"/>
                <a:gd name="connsiteY19" fmla="*/ 42277 h 3817207"/>
                <a:gd name="connsiteX20" fmla="*/ 1009642 w 2035484"/>
                <a:gd name="connsiteY20" fmla="*/ 20369 h 3817207"/>
                <a:gd name="connsiteX21" fmla="*/ 1340159 w 2035484"/>
                <a:gd name="connsiteY21" fmla="*/ 531862 h 3817207"/>
                <a:gd name="connsiteX22" fmla="*/ 1266817 w 2035484"/>
                <a:gd name="connsiteY22" fmla="*/ 1033829 h 3817207"/>
                <a:gd name="connsiteX23" fmla="*/ 929632 w 2035484"/>
                <a:gd name="connsiteY23" fmla="*/ 1708199 h 3817207"/>
                <a:gd name="connsiteX24" fmla="*/ 906772 w 2035484"/>
                <a:gd name="connsiteY24" fmla="*/ 1752967 h 3817207"/>
                <a:gd name="connsiteX25" fmla="*/ 923917 w 2035484"/>
                <a:gd name="connsiteY25" fmla="*/ 1779637 h 3817207"/>
                <a:gd name="connsiteX26" fmla="*/ 1038217 w 2035484"/>
                <a:gd name="connsiteY26" fmla="*/ 1776779 h 3817207"/>
                <a:gd name="connsiteX27" fmla="*/ 1658294 w 2035484"/>
                <a:gd name="connsiteY27" fmla="*/ 1999664 h 3817207"/>
                <a:gd name="connsiteX28" fmla="*/ 2023102 w 2035484"/>
                <a:gd name="connsiteY28" fmla="*/ 2599739 h 3817207"/>
                <a:gd name="connsiteX29" fmla="*/ 2034532 w 2035484"/>
                <a:gd name="connsiteY29" fmla="*/ 2672129 h 3817207"/>
                <a:gd name="connsiteX30" fmla="*/ 2013577 w 2035484"/>
                <a:gd name="connsiteY30" fmla="*/ 2697847 h 3817207"/>
                <a:gd name="connsiteX31" fmla="*/ 1774499 w 2035484"/>
                <a:gd name="connsiteY31" fmla="*/ 2697847 h 3817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035484" h="3817207">
                  <a:moveTo>
                    <a:pt x="1775452" y="2695942"/>
                  </a:moveTo>
                  <a:lnTo>
                    <a:pt x="1556377" y="2695942"/>
                  </a:lnTo>
                  <a:cubicBezTo>
                    <a:pt x="1525897" y="2695942"/>
                    <a:pt x="1524944" y="2695942"/>
                    <a:pt x="1516372" y="2664509"/>
                  </a:cubicBezTo>
                  <a:cubicBezTo>
                    <a:pt x="1499227" y="2595929"/>
                    <a:pt x="1466842" y="2533064"/>
                    <a:pt x="1423027" y="2477819"/>
                  </a:cubicBezTo>
                  <a:cubicBezTo>
                    <a:pt x="1322062" y="2353994"/>
                    <a:pt x="1191569" y="2287319"/>
                    <a:pt x="1031549" y="2283509"/>
                  </a:cubicBezTo>
                  <a:cubicBezTo>
                    <a:pt x="748657" y="2277794"/>
                    <a:pt x="514342" y="2502584"/>
                    <a:pt x="508627" y="2785477"/>
                  </a:cubicBezTo>
                  <a:cubicBezTo>
                    <a:pt x="502912" y="3068369"/>
                    <a:pt x="727702" y="3302684"/>
                    <a:pt x="1010594" y="3308399"/>
                  </a:cubicBezTo>
                  <a:cubicBezTo>
                    <a:pt x="1244909" y="3313162"/>
                    <a:pt x="1453507" y="3157904"/>
                    <a:pt x="1515419" y="2931209"/>
                  </a:cubicBezTo>
                  <a:cubicBezTo>
                    <a:pt x="1516372" y="2926447"/>
                    <a:pt x="1517324" y="2922637"/>
                    <a:pt x="1518277" y="2917874"/>
                  </a:cubicBezTo>
                  <a:cubicBezTo>
                    <a:pt x="1523992" y="2897872"/>
                    <a:pt x="1525897" y="2895967"/>
                    <a:pt x="1546852" y="2895967"/>
                  </a:cubicBezTo>
                  <a:lnTo>
                    <a:pt x="1985955" y="2895967"/>
                  </a:lnTo>
                  <a:cubicBezTo>
                    <a:pt x="1998337" y="2895967"/>
                    <a:pt x="2009767" y="2895967"/>
                    <a:pt x="2022149" y="2895967"/>
                  </a:cubicBezTo>
                  <a:cubicBezTo>
                    <a:pt x="2029769" y="2895967"/>
                    <a:pt x="2035484" y="2901682"/>
                    <a:pt x="2035484" y="2909302"/>
                  </a:cubicBezTo>
                  <a:cubicBezTo>
                    <a:pt x="2035484" y="2909302"/>
                    <a:pt x="2035484" y="2911207"/>
                    <a:pt x="2035484" y="2912159"/>
                  </a:cubicBezTo>
                  <a:cubicBezTo>
                    <a:pt x="2035484" y="2919779"/>
                    <a:pt x="2035484" y="2927399"/>
                    <a:pt x="2033580" y="2935019"/>
                  </a:cubicBezTo>
                  <a:cubicBezTo>
                    <a:pt x="1976430" y="3339832"/>
                    <a:pt x="1688774" y="3672254"/>
                    <a:pt x="1294440" y="3779887"/>
                  </a:cubicBezTo>
                  <a:cubicBezTo>
                    <a:pt x="750562" y="3930382"/>
                    <a:pt x="187634" y="3612247"/>
                    <a:pt x="37139" y="3068369"/>
                  </a:cubicBezTo>
                  <a:cubicBezTo>
                    <a:pt x="-20963" y="2858819"/>
                    <a:pt x="-10486" y="2636887"/>
                    <a:pt x="65714" y="2434004"/>
                  </a:cubicBezTo>
                  <a:cubicBezTo>
                    <a:pt x="148582" y="2208262"/>
                    <a:pt x="232402" y="1982519"/>
                    <a:pt x="315269" y="1756777"/>
                  </a:cubicBezTo>
                  <a:cubicBezTo>
                    <a:pt x="524819" y="1185277"/>
                    <a:pt x="735322" y="613777"/>
                    <a:pt x="944872" y="42277"/>
                  </a:cubicBezTo>
                  <a:cubicBezTo>
                    <a:pt x="963922" y="-9158"/>
                    <a:pt x="965827" y="-10111"/>
                    <a:pt x="1009642" y="20369"/>
                  </a:cubicBezTo>
                  <a:cubicBezTo>
                    <a:pt x="1189665" y="146099"/>
                    <a:pt x="1301107" y="316597"/>
                    <a:pt x="1340159" y="531862"/>
                  </a:cubicBezTo>
                  <a:cubicBezTo>
                    <a:pt x="1372544" y="702359"/>
                    <a:pt x="1346827" y="879524"/>
                    <a:pt x="1266817" y="1033829"/>
                  </a:cubicBezTo>
                  <a:cubicBezTo>
                    <a:pt x="1154422" y="1258619"/>
                    <a:pt x="1041074" y="1483409"/>
                    <a:pt x="929632" y="1708199"/>
                  </a:cubicBezTo>
                  <a:cubicBezTo>
                    <a:pt x="922012" y="1723439"/>
                    <a:pt x="914392" y="1737727"/>
                    <a:pt x="906772" y="1752967"/>
                  </a:cubicBezTo>
                  <a:cubicBezTo>
                    <a:pt x="897247" y="1774874"/>
                    <a:pt x="901057" y="1780589"/>
                    <a:pt x="923917" y="1779637"/>
                  </a:cubicBezTo>
                  <a:cubicBezTo>
                    <a:pt x="962017" y="1778684"/>
                    <a:pt x="1000117" y="1775827"/>
                    <a:pt x="1038217" y="1776779"/>
                  </a:cubicBezTo>
                  <a:cubicBezTo>
                    <a:pt x="1263959" y="1778684"/>
                    <a:pt x="1483034" y="1856789"/>
                    <a:pt x="1658294" y="1999664"/>
                  </a:cubicBezTo>
                  <a:cubicBezTo>
                    <a:pt x="1852605" y="2154922"/>
                    <a:pt x="1972619" y="2356852"/>
                    <a:pt x="2023102" y="2599739"/>
                  </a:cubicBezTo>
                  <a:cubicBezTo>
                    <a:pt x="2027865" y="2623552"/>
                    <a:pt x="2031674" y="2647364"/>
                    <a:pt x="2034532" y="2672129"/>
                  </a:cubicBezTo>
                  <a:cubicBezTo>
                    <a:pt x="2037390" y="2692132"/>
                    <a:pt x="2032627" y="2696894"/>
                    <a:pt x="2013577" y="2697847"/>
                  </a:cubicBezTo>
                  <a:lnTo>
                    <a:pt x="1774499" y="269784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18BBB283-2832-AC3F-F55C-3269A6B7E734}"/>
                </a:ext>
              </a:extLst>
            </p:cNvPr>
            <p:cNvSpPr/>
            <p:nvPr/>
          </p:nvSpPr>
          <p:spPr>
            <a:xfrm>
              <a:off x="1503045" y="1064002"/>
              <a:ext cx="291914" cy="1722631"/>
            </a:xfrm>
            <a:custGeom>
              <a:avLst/>
              <a:gdLst>
                <a:gd name="connsiteX0" fmla="*/ 952 w 291914"/>
                <a:gd name="connsiteY0" fmla="*/ 1722632 h 1722631"/>
                <a:gd name="connsiteX1" fmla="*/ 952 w 291914"/>
                <a:gd name="connsiteY1" fmla="*/ 1374969 h 1722631"/>
                <a:gd name="connsiteX2" fmla="*/ 952 w 291914"/>
                <a:gd name="connsiteY2" fmla="*/ 1342584 h 1722631"/>
                <a:gd name="connsiteX3" fmla="*/ 3810 w 291914"/>
                <a:gd name="connsiteY3" fmla="*/ 465331 h 1722631"/>
                <a:gd name="connsiteX4" fmla="*/ 3810 w 291914"/>
                <a:gd name="connsiteY4" fmla="*/ 40516 h 1722631"/>
                <a:gd name="connsiteX5" fmla="*/ 48577 w 291914"/>
                <a:gd name="connsiteY5" fmla="*/ 4321 h 1722631"/>
                <a:gd name="connsiteX6" fmla="*/ 271463 w 291914"/>
                <a:gd name="connsiteY6" fmla="*/ 96714 h 1722631"/>
                <a:gd name="connsiteX7" fmla="*/ 290513 w 291914"/>
                <a:gd name="connsiteY7" fmla="*/ 136719 h 1722631"/>
                <a:gd name="connsiteX8" fmla="*/ 211455 w 291914"/>
                <a:gd name="connsiteY8" fmla="*/ 576774 h 1722631"/>
                <a:gd name="connsiteX9" fmla="*/ 122872 w 291914"/>
                <a:gd name="connsiteY9" fmla="*/ 1071122 h 1722631"/>
                <a:gd name="connsiteX10" fmla="*/ 16192 w 291914"/>
                <a:gd name="connsiteY10" fmla="*/ 1664529 h 1722631"/>
                <a:gd name="connsiteX11" fmla="*/ 0 w 291914"/>
                <a:gd name="connsiteY11" fmla="*/ 1720726 h 1722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91914" h="1722631">
                  <a:moveTo>
                    <a:pt x="952" y="1722632"/>
                  </a:moveTo>
                  <a:lnTo>
                    <a:pt x="952" y="1374969"/>
                  </a:lnTo>
                  <a:cubicBezTo>
                    <a:pt x="952" y="1364491"/>
                    <a:pt x="952" y="1354014"/>
                    <a:pt x="952" y="1342584"/>
                  </a:cubicBezTo>
                  <a:cubicBezTo>
                    <a:pt x="1905" y="1050166"/>
                    <a:pt x="2858" y="757749"/>
                    <a:pt x="3810" y="465331"/>
                  </a:cubicBezTo>
                  <a:cubicBezTo>
                    <a:pt x="3810" y="323409"/>
                    <a:pt x="3810" y="182439"/>
                    <a:pt x="3810" y="40516"/>
                  </a:cubicBezTo>
                  <a:cubicBezTo>
                    <a:pt x="3810" y="-1394"/>
                    <a:pt x="8572" y="-5204"/>
                    <a:pt x="48577" y="4321"/>
                  </a:cubicBezTo>
                  <a:cubicBezTo>
                    <a:pt x="126683" y="24324"/>
                    <a:pt x="201930" y="54804"/>
                    <a:pt x="271463" y="96714"/>
                  </a:cubicBezTo>
                  <a:cubicBezTo>
                    <a:pt x="287655" y="103381"/>
                    <a:pt x="295275" y="120527"/>
                    <a:pt x="290513" y="136719"/>
                  </a:cubicBezTo>
                  <a:cubicBezTo>
                    <a:pt x="262890" y="283404"/>
                    <a:pt x="238125" y="430089"/>
                    <a:pt x="211455" y="576774"/>
                  </a:cubicBezTo>
                  <a:cubicBezTo>
                    <a:pt x="181927" y="741557"/>
                    <a:pt x="152400" y="906339"/>
                    <a:pt x="122872" y="1071122"/>
                  </a:cubicBezTo>
                  <a:cubicBezTo>
                    <a:pt x="87630" y="1269241"/>
                    <a:pt x="51435" y="1466409"/>
                    <a:pt x="16192" y="1664529"/>
                  </a:cubicBezTo>
                  <a:cubicBezTo>
                    <a:pt x="12383" y="1681674"/>
                    <a:pt x="10477" y="1692151"/>
                    <a:pt x="0" y="17207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B8E5F3AB-E66C-6CC6-162C-DFF15BE48B15}"/>
                </a:ext>
              </a:extLst>
            </p:cNvPr>
            <p:cNvSpPr/>
            <p:nvPr/>
          </p:nvSpPr>
          <p:spPr>
            <a:xfrm>
              <a:off x="1683067" y="817105"/>
              <a:ext cx="541936" cy="1609483"/>
            </a:xfrm>
            <a:custGeom>
              <a:avLst/>
              <a:gdLst>
                <a:gd name="connsiteX0" fmla="*/ 953 w 541936"/>
                <a:gd name="connsiteY0" fmla="*/ 1608531 h 1609483"/>
                <a:gd name="connsiteX1" fmla="*/ 89535 w 541936"/>
                <a:gd name="connsiteY1" fmla="*/ 1138949 h 1609483"/>
                <a:gd name="connsiteX2" fmla="*/ 224790 w 541936"/>
                <a:gd name="connsiteY2" fmla="*/ 384568 h 1609483"/>
                <a:gd name="connsiteX3" fmla="*/ 285750 w 541936"/>
                <a:gd name="connsiteY3" fmla="*/ 43573 h 1609483"/>
                <a:gd name="connsiteX4" fmla="*/ 342900 w 541936"/>
                <a:gd name="connsiteY4" fmla="*/ 13093 h 1609483"/>
                <a:gd name="connsiteX5" fmla="*/ 521017 w 541936"/>
                <a:gd name="connsiteY5" fmla="*/ 123583 h 1609483"/>
                <a:gd name="connsiteX6" fmla="*/ 535305 w 541936"/>
                <a:gd name="connsiteY6" fmla="*/ 173113 h 1609483"/>
                <a:gd name="connsiteX7" fmla="*/ 456248 w 541936"/>
                <a:gd name="connsiteY7" fmla="*/ 387426 h 1609483"/>
                <a:gd name="connsiteX8" fmla="*/ 200025 w 541936"/>
                <a:gd name="connsiteY8" fmla="*/ 1085608 h 1609483"/>
                <a:gd name="connsiteX9" fmla="*/ 35242 w 541936"/>
                <a:gd name="connsiteY9" fmla="*/ 1530426 h 1609483"/>
                <a:gd name="connsiteX10" fmla="*/ 0 w 541936"/>
                <a:gd name="connsiteY10" fmla="*/ 1609483 h 1609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1936" h="1609483">
                  <a:moveTo>
                    <a:pt x="953" y="1608531"/>
                  </a:moveTo>
                  <a:cubicBezTo>
                    <a:pt x="24765" y="1478038"/>
                    <a:pt x="66675" y="1268488"/>
                    <a:pt x="89535" y="1138949"/>
                  </a:cubicBezTo>
                  <a:cubicBezTo>
                    <a:pt x="134303" y="887488"/>
                    <a:pt x="180023" y="636028"/>
                    <a:pt x="224790" y="384568"/>
                  </a:cubicBezTo>
                  <a:cubicBezTo>
                    <a:pt x="244792" y="270268"/>
                    <a:pt x="264795" y="156921"/>
                    <a:pt x="285750" y="43573"/>
                  </a:cubicBezTo>
                  <a:cubicBezTo>
                    <a:pt x="294323" y="-1194"/>
                    <a:pt x="289560" y="-11672"/>
                    <a:pt x="342900" y="13093"/>
                  </a:cubicBezTo>
                  <a:cubicBezTo>
                    <a:pt x="406717" y="41668"/>
                    <a:pt x="466725" y="78816"/>
                    <a:pt x="521017" y="123583"/>
                  </a:cubicBezTo>
                  <a:cubicBezTo>
                    <a:pt x="545783" y="143586"/>
                    <a:pt x="545783" y="144538"/>
                    <a:pt x="535305" y="173113"/>
                  </a:cubicBezTo>
                  <a:cubicBezTo>
                    <a:pt x="509588" y="244551"/>
                    <a:pt x="482917" y="315988"/>
                    <a:pt x="456248" y="387426"/>
                  </a:cubicBezTo>
                  <a:cubicBezTo>
                    <a:pt x="370523" y="619836"/>
                    <a:pt x="284798" y="853199"/>
                    <a:pt x="200025" y="1085608"/>
                  </a:cubicBezTo>
                  <a:cubicBezTo>
                    <a:pt x="145733" y="1234199"/>
                    <a:pt x="90488" y="1382788"/>
                    <a:pt x="35242" y="1530426"/>
                  </a:cubicBezTo>
                  <a:lnTo>
                    <a:pt x="0" y="16094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0" name="TextBox 39">
            <a:extLst>
              <a:ext uri="{FF2B5EF4-FFF2-40B4-BE49-F238E27FC236}">
                <a16:creationId xmlns:a16="http://schemas.microsoft.com/office/drawing/2014/main" id="{661C30F6-7623-C050-B956-4FCD6455CF46}"/>
              </a:ext>
            </a:extLst>
          </p:cNvPr>
          <p:cNvSpPr txBox="1"/>
          <p:nvPr/>
        </p:nvSpPr>
        <p:spPr>
          <a:xfrm rot="16200000">
            <a:off x="-1444725" y="5332504"/>
            <a:ext cx="462952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3200" b="1" dirty="0" err="1">
                <a:solidFill>
                  <a:schemeClr val="bg1"/>
                </a:solidFill>
              </a:rPr>
              <a:t>breadcrumbsdata.com</a:t>
            </a:r>
            <a:endParaRPr lang="en-US" sz="3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1724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8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16" presetClass="entr" presetSubtype="37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3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4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15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31DCBB0F-3DC2-CD3D-2444-94FEC47DFD36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23" r="20823"/>
          <a:stretch/>
        </p:blipFill>
        <p:spPr>
          <a:xfrm>
            <a:off x="10154569" y="-1151964"/>
            <a:ext cx="15257575" cy="14700734"/>
          </a:xfrm>
        </p:spPr>
      </p:pic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78F487C8-F2C3-4FEE-8B1E-150FBA532596}"/>
              </a:ext>
            </a:extLst>
          </p:cNvPr>
          <p:cNvSpPr>
            <a:spLocks/>
          </p:cNvSpPr>
          <p:nvPr/>
        </p:nvSpPr>
        <p:spPr bwMode="auto">
          <a:xfrm rot="1800000">
            <a:off x="6108514" y="-4663120"/>
            <a:ext cx="23004139" cy="23004141"/>
          </a:xfrm>
          <a:custGeom>
            <a:avLst/>
            <a:gdLst>
              <a:gd name="connsiteX0" fmla="*/ 10456427 w 20912854"/>
              <a:gd name="connsiteY0" fmla="*/ 6028864 h 20912855"/>
              <a:gd name="connsiteX1" fmla="*/ 7821943 w 20912854"/>
              <a:gd name="connsiteY1" fmla="*/ 7120044 h 20912855"/>
              <a:gd name="connsiteX2" fmla="*/ 7121444 w 20912854"/>
              <a:gd name="connsiteY2" fmla="*/ 7820837 h 20912855"/>
              <a:gd name="connsiteX3" fmla="*/ 7121444 w 20912854"/>
              <a:gd name="connsiteY3" fmla="*/ 13092017 h 20912855"/>
              <a:gd name="connsiteX4" fmla="*/ 7821943 w 20912854"/>
              <a:gd name="connsiteY4" fmla="*/ 13792810 h 20912855"/>
              <a:gd name="connsiteX5" fmla="*/ 13090911 w 20912854"/>
              <a:gd name="connsiteY5" fmla="*/ 13792810 h 20912855"/>
              <a:gd name="connsiteX6" fmla="*/ 13791410 w 20912854"/>
              <a:gd name="connsiteY6" fmla="*/ 13092017 h 20912855"/>
              <a:gd name="connsiteX7" fmla="*/ 13791410 w 20912854"/>
              <a:gd name="connsiteY7" fmla="*/ 7820837 h 20912855"/>
              <a:gd name="connsiteX8" fmla="*/ 13090911 w 20912854"/>
              <a:gd name="connsiteY8" fmla="*/ 7120044 h 20912855"/>
              <a:gd name="connsiteX9" fmla="*/ 10456427 w 20912854"/>
              <a:gd name="connsiteY9" fmla="*/ 6028864 h 20912855"/>
              <a:gd name="connsiteX10" fmla="*/ 10456427 w 20912854"/>
              <a:gd name="connsiteY10" fmla="*/ 0 h 20912855"/>
              <a:gd name="connsiteX11" fmla="*/ 20912854 w 20912854"/>
              <a:gd name="connsiteY11" fmla="*/ 10456428 h 20912855"/>
              <a:gd name="connsiteX12" fmla="*/ 10456427 w 20912854"/>
              <a:gd name="connsiteY12" fmla="*/ 20912855 h 20912855"/>
              <a:gd name="connsiteX13" fmla="*/ 0 w 20912854"/>
              <a:gd name="connsiteY13" fmla="*/ 10456428 h 20912855"/>
              <a:gd name="connsiteX14" fmla="*/ 10456427 w 20912854"/>
              <a:gd name="connsiteY14" fmla="*/ 0 h 20912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0912854" h="20912855">
                <a:moveTo>
                  <a:pt x="10456427" y="6028864"/>
                </a:moveTo>
                <a:cubicBezTo>
                  <a:pt x="9502759" y="6028864"/>
                  <a:pt x="8549091" y="6392591"/>
                  <a:pt x="7821943" y="7120044"/>
                </a:cubicBezTo>
                <a:cubicBezTo>
                  <a:pt x="7821943" y="7120044"/>
                  <a:pt x="7821943" y="7120044"/>
                  <a:pt x="7121444" y="7820837"/>
                </a:cubicBezTo>
                <a:cubicBezTo>
                  <a:pt x="5667149" y="9275744"/>
                  <a:pt x="5667149" y="11637111"/>
                  <a:pt x="7121444" y="13092017"/>
                </a:cubicBezTo>
                <a:cubicBezTo>
                  <a:pt x="7121444" y="13092017"/>
                  <a:pt x="7121444" y="13092017"/>
                  <a:pt x="7821943" y="13792810"/>
                </a:cubicBezTo>
                <a:cubicBezTo>
                  <a:pt x="9276239" y="15247717"/>
                  <a:pt x="11636615" y="15247717"/>
                  <a:pt x="13090911" y="13792810"/>
                </a:cubicBezTo>
                <a:cubicBezTo>
                  <a:pt x="13090911" y="13792810"/>
                  <a:pt x="13090911" y="13792810"/>
                  <a:pt x="13791410" y="13092017"/>
                </a:cubicBezTo>
                <a:cubicBezTo>
                  <a:pt x="15245706" y="11637111"/>
                  <a:pt x="15245706" y="9275744"/>
                  <a:pt x="13791410" y="7820837"/>
                </a:cubicBezTo>
                <a:cubicBezTo>
                  <a:pt x="13791410" y="7820837"/>
                  <a:pt x="13791410" y="7820837"/>
                  <a:pt x="13090911" y="7120044"/>
                </a:cubicBezTo>
                <a:cubicBezTo>
                  <a:pt x="12363763" y="6392591"/>
                  <a:pt x="11410095" y="6028864"/>
                  <a:pt x="10456427" y="6028864"/>
                </a:cubicBezTo>
                <a:close/>
                <a:moveTo>
                  <a:pt x="10456427" y="0"/>
                </a:moveTo>
                <a:cubicBezTo>
                  <a:pt x="16231352" y="0"/>
                  <a:pt x="20912854" y="4681502"/>
                  <a:pt x="20912854" y="10456428"/>
                </a:cubicBezTo>
                <a:cubicBezTo>
                  <a:pt x="20912854" y="16231352"/>
                  <a:pt x="16231352" y="20912855"/>
                  <a:pt x="10456427" y="20912855"/>
                </a:cubicBezTo>
                <a:cubicBezTo>
                  <a:pt x="4681502" y="20912855"/>
                  <a:pt x="0" y="16231352"/>
                  <a:pt x="0" y="10456428"/>
                </a:cubicBezTo>
                <a:cubicBezTo>
                  <a:pt x="0" y="4681502"/>
                  <a:pt x="4681502" y="0"/>
                  <a:pt x="10456427" y="0"/>
                </a:cubicBezTo>
                <a:close/>
              </a:path>
            </a:pathLst>
          </a:custGeom>
          <a:solidFill>
            <a:schemeClr val="accent1">
              <a:alpha val="70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86513FE8-59B4-4272-8D06-AF6F1DE4C281}"/>
              </a:ext>
            </a:extLst>
          </p:cNvPr>
          <p:cNvSpPr>
            <a:spLocks/>
          </p:cNvSpPr>
          <p:nvPr/>
        </p:nvSpPr>
        <p:spPr bwMode="auto">
          <a:xfrm rot="20700000">
            <a:off x="5450947" y="-5301637"/>
            <a:ext cx="24319273" cy="24319274"/>
          </a:xfrm>
          <a:custGeom>
            <a:avLst/>
            <a:gdLst>
              <a:gd name="connsiteX0" fmla="*/ 10456427 w 20912854"/>
              <a:gd name="connsiteY0" fmla="*/ 6028864 h 20912855"/>
              <a:gd name="connsiteX1" fmla="*/ 7821943 w 20912854"/>
              <a:gd name="connsiteY1" fmla="*/ 7120044 h 20912855"/>
              <a:gd name="connsiteX2" fmla="*/ 7121444 w 20912854"/>
              <a:gd name="connsiteY2" fmla="*/ 7820837 h 20912855"/>
              <a:gd name="connsiteX3" fmla="*/ 7121444 w 20912854"/>
              <a:gd name="connsiteY3" fmla="*/ 13092017 h 20912855"/>
              <a:gd name="connsiteX4" fmla="*/ 7821943 w 20912854"/>
              <a:gd name="connsiteY4" fmla="*/ 13792810 h 20912855"/>
              <a:gd name="connsiteX5" fmla="*/ 13090911 w 20912854"/>
              <a:gd name="connsiteY5" fmla="*/ 13792810 h 20912855"/>
              <a:gd name="connsiteX6" fmla="*/ 13791410 w 20912854"/>
              <a:gd name="connsiteY6" fmla="*/ 13092017 h 20912855"/>
              <a:gd name="connsiteX7" fmla="*/ 13791410 w 20912854"/>
              <a:gd name="connsiteY7" fmla="*/ 7820837 h 20912855"/>
              <a:gd name="connsiteX8" fmla="*/ 13090911 w 20912854"/>
              <a:gd name="connsiteY8" fmla="*/ 7120044 h 20912855"/>
              <a:gd name="connsiteX9" fmla="*/ 10456427 w 20912854"/>
              <a:gd name="connsiteY9" fmla="*/ 6028864 h 20912855"/>
              <a:gd name="connsiteX10" fmla="*/ 10456427 w 20912854"/>
              <a:gd name="connsiteY10" fmla="*/ 0 h 20912855"/>
              <a:gd name="connsiteX11" fmla="*/ 20912854 w 20912854"/>
              <a:gd name="connsiteY11" fmla="*/ 10456428 h 20912855"/>
              <a:gd name="connsiteX12" fmla="*/ 10456427 w 20912854"/>
              <a:gd name="connsiteY12" fmla="*/ 20912855 h 20912855"/>
              <a:gd name="connsiteX13" fmla="*/ 0 w 20912854"/>
              <a:gd name="connsiteY13" fmla="*/ 10456428 h 20912855"/>
              <a:gd name="connsiteX14" fmla="*/ 10456427 w 20912854"/>
              <a:gd name="connsiteY14" fmla="*/ 0 h 20912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0912854" h="20912855">
                <a:moveTo>
                  <a:pt x="10456427" y="6028864"/>
                </a:moveTo>
                <a:cubicBezTo>
                  <a:pt x="9502759" y="6028864"/>
                  <a:pt x="8549091" y="6392591"/>
                  <a:pt x="7821943" y="7120044"/>
                </a:cubicBezTo>
                <a:cubicBezTo>
                  <a:pt x="7821943" y="7120044"/>
                  <a:pt x="7821943" y="7120044"/>
                  <a:pt x="7121444" y="7820837"/>
                </a:cubicBezTo>
                <a:cubicBezTo>
                  <a:pt x="5667149" y="9275744"/>
                  <a:pt x="5667149" y="11637111"/>
                  <a:pt x="7121444" y="13092017"/>
                </a:cubicBezTo>
                <a:cubicBezTo>
                  <a:pt x="7121444" y="13092017"/>
                  <a:pt x="7121444" y="13092017"/>
                  <a:pt x="7821943" y="13792810"/>
                </a:cubicBezTo>
                <a:cubicBezTo>
                  <a:pt x="9276239" y="15247717"/>
                  <a:pt x="11636615" y="15247717"/>
                  <a:pt x="13090911" y="13792810"/>
                </a:cubicBezTo>
                <a:cubicBezTo>
                  <a:pt x="13090911" y="13792810"/>
                  <a:pt x="13090911" y="13792810"/>
                  <a:pt x="13791410" y="13092017"/>
                </a:cubicBezTo>
                <a:cubicBezTo>
                  <a:pt x="15245706" y="11637111"/>
                  <a:pt x="15245706" y="9275744"/>
                  <a:pt x="13791410" y="7820837"/>
                </a:cubicBezTo>
                <a:cubicBezTo>
                  <a:pt x="13791410" y="7820837"/>
                  <a:pt x="13791410" y="7820837"/>
                  <a:pt x="13090911" y="7120044"/>
                </a:cubicBezTo>
                <a:cubicBezTo>
                  <a:pt x="12363763" y="6392591"/>
                  <a:pt x="11410095" y="6028864"/>
                  <a:pt x="10456427" y="6028864"/>
                </a:cubicBezTo>
                <a:close/>
                <a:moveTo>
                  <a:pt x="10456427" y="0"/>
                </a:moveTo>
                <a:cubicBezTo>
                  <a:pt x="16231352" y="0"/>
                  <a:pt x="20912854" y="4681502"/>
                  <a:pt x="20912854" y="10456428"/>
                </a:cubicBezTo>
                <a:cubicBezTo>
                  <a:pt x="20912854" y="16231352"/>
                  <a:pt x="16231352" y="20912855"/>
                  <a:pt x="10456427" y="20912855"/>
                </a:cubicBezTo>
                <a:cubicBezTo>
                  <a:pt x="4681502" y="20912855"/>
                  <a:pt x="0" y="16231352"/>
                  <a:pt x="0" y="10456428"/>
                </a:cubicBezTo>
                <a:cubicBezTo>
                  <a:pt x="0" y="4681502"/>
                  <a:pt x="4681502" y="0"/>
                  <a:pt x="10456427" y="0"/>
                </a:cubicBezTo>
                <a:close/>
              </a:path>
            </a:pathLst>
          </a:custGeom>
          <a:solidFill>
            <a:schemeClr val="accent4">
              <a:alpha val="70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F31E18FD-DCDF-4791-B24A-41326B9A49B1}"/>
              </a:ext>
            </a:extLst>
          </p:cNvPr>
          <p:cNvSpPr>
            <a:spLocks/>
          </p:cNvSpPr>
          <p:nvPr/>
        </p:nvSpPr>
        <p:spPr bwMode="auto">
          <a:xfrm rot="20989499">
            <a:off x="4958307" y="-5794277"/>
            <a:ext cx="25304553" cy="25304555"/>
          </a:xfrm>
          <a:custGeom>
            <a:avLst/>
            <a:gdLst>
              <a:gd name="connsiteX0" fmla="*/ 10456427 w 20912854"/>
              <a:gd name="connsiteY0" fmla="*/ 6028864 h 20912855"/>
              <a:gd name="connsiteX1" fmla="*/ 7821943 w 20912854"/>
              <a:gd name="connsiteY1" fmla="*/ 7120044 h 20912855"/>
              <a:gd name="connsiteX2" fmla="*/ 7121444 w 20912854"/>
              <a:gd name="connsiteY2" fmla="*/ 7820837 h 20912855"/>
              <a:gd name="connsiteX3" fmla="*/ 7121444 w 20912854"/>
              <a:gd name="connsiteY3" fmla="*/ 13092017 h 20912855"/>
              <a:gd name="connsiteX4" fmla="*/ 7821943 w 20912854"/>
              <a:gd name="connsiteY4" fmla="*/ 13792810 h 20912855"/>
              <a:gd name="connsiteX5" fmla="*/ 13090911 w 20912854"/>
              <a:gd name="connsiteY5" fmla="*/ 13792810 h 20912855"/>
              <a:gd name="connsiteX6" fmla="*/ 13791410 w 20912854"/>
              <a:gd name="connsiteY6" fmla="*/ 13092017 h 20912855"/>
              <a:gd name="connsiteX7" fmla="*/ 13791410 w 20912854"/>
              <a:gd name="connsiteY7" fmla="*/ 7820837 h 20912855"/>
              <a:gd name="connsiteX8" fmla="*/ 13090911 w 20912854"/>
              <a:gd name="connsiteY8" fmla="*/ 7120044 h 20912855"/>
              <a:gd name="connsiteX9" fmla="*/ 10456427 w 20912854"/>
              <a:gd name="connsiteY9" fmla="*/ 6028864 h 20912855"/>
              <a:gd name="connsiteX10" fmla="*/ 10456427 w 20912854"/>
              <a:gd name="connsiteY10" fmla="*/ 0 h 20912855"/>
              <a:gd name="connsiteX11" fmla="*/ 20912854 w 20912854"/>
              <a:gd name="connsiteY11" fmla="*/ 10456428 h 20912855"/>
              <a:gd name="connsiteX12" fmla="*/ 10456427 w 20912854"/>
              <a:gd name="connsiteY12" fmla="*/ 20912855 h 20912855"/>
              <a:gd name="connsiteX13" fmla="*/ 0 w 20912854"/>
              <a:gd name="connsiteY13" fmla="*/ 10456428 h 20912855"/>
              <a:gd name="connsiteX14" fmla="*/ 10456427 w 20912854"/>
              <a:gd name="connsiteY14" fmla="*/ 0 h 20912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0912854" h="20912855">
                <a:moveTo>
                  <a:pt x="10456427" y="6028864"/>
                </a:moveTo>
                <a:cubicBezTo>
                  <a:pt x="9502759" y="6028864"/>
                  <a:pt x="8549091" y="6392591"/>
                  <a:pt x="7821943" y="7120044"/>
                </a:cubicBezTo>
                <a:cubicBezTo>
                  <a:pt x="7821943" y="7120044"/>
                  <a:pt x="7821943" y="7120044"/>
                  <a:pt x="7121444" y="7820837"/>
                </a:cubicBezTo>
                <a:cubicBezTo>
                  <a:pt x="5667149" y="9275744"/>
                  <a:pt x="5667149" y="11637111"/>
                  <a:pt x="7121444" y="13092017"/>
                </a:cubicBezTo>
                <a:cubicBezTo>
                  <a:pt x="7121444" y="13092017"/>
                  <a:pt x="7121444" y="13092017"/>
                  <a:pt x="7821943" y="13792810"/>
                </a:cubicBezTo>
                <a:cubicBezTo>
                  <a:pt x="9276239" y="15247717"/>
                  <a:pt x="11636615" y="15247717"/>
                  <a:pt x="13090911" y="13792810"/>
                </a:cubicBezTo>
                <a:cubicBezTo>
                  <a:pt x="13090911" y="13792810"/>
                  <a:pt x="13090911" y="13792810"/>
                  <a:pt x="13791410" y="13092017"/>
                </a:cubicBezTo>
                <a:cubicBezTo>
                  <a:pt x="15245706" y="11637111"/>
                  <a:pt x="15245706" y="9275744"/>
                  <a:pt x="13791410" y="7820837"/>
                </a:cubicBezTo>
                <a:cubicBezTo>
                  <a:pt x="13791410" y="7820837"/>
                  <a:pt x="13791410" y="7820837"/>
                  <a:pt x="13090911" y="7120044"/>
                </a:cubicBezTo>
                <a:cubicBezTo>
                  <a:pt x="12363763" y="6392591"/>
                  <a:pt x="11410095" y="6028864"/>
                  <a:pt x="10456427" y="6028864"/>
                </a:cubicBezTo>
                <a:close/>
                <a:moveTo>
                  <a:pt x="10456427" y="0"/>
                </a:moveTo>
                <a:cubicBezTo>
                  <a:pt x="16231352" y="0"/>
                  <a:pt x="20912854" y="4681502"/>
                  <a:pt x="20912854" y="10456428"/>
                </a:cubicBezTo>
                <a:cubicBezTo>
                  <a:pt x="20912854" y="16231352"/>
                  <a:pt x="16231352" y="20912855"/>
                  <a:pt x="10456427" y="20912855"/>
                </a:cubicBezTo>
                <a:cubicBezTo>
                  <a:pt x="4681502" y="20912855"/>
                  <a:pt x="0" y="16231352"/>
                  <a:pt x="0" y="10456428"/>
                </a:cubicBezTo>
                <a:cubicBezTo>
                  <a:pt x="0" y="4681502"/>
                  <a:pt x="4681502" y="0"/>
                  <a:pt x="10456427" y="0"/>
                </a:cubicBezTo>
                <a:close/>
              </a:path>
            </a:pathLst>
          </a:custGeom>
          <a:solidFill>
            <a:schemeClr val="bg2">
              <a:alpha val="70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BF11C7FA-A585-49E4-8246-72E1EAC903BC}"/>
              </a:ext>
            </a:extLst>
          </p:cNvPr>
          <p:cNvSpPr>
            <a:spLocks/>
          </p:cNvSpPr>
          <p:nvPr/>
        </p:nvSpPr>
        <p:spPr bwMode="auto">
          <a:xfrm>
            <a:off x="4045957" y="-6643118"/>
            <a:ext cx="27141943" cy="27141946"/>
          </a:xfrm>
          <a:custGeom>
            <a:avLst/>
            <a:gdLst>
              <a:gd name="connsiteX0" fmla="*/ 10456427 w 20912854"/>
              <a:gd name="connsiteY0" fmla="*/ 6028864 h 20912855"/>
              <a:gd name="connsiteX1" fmla="*/ 7821943 w 20912854"/>
              <a:gd name="connsiteY1" fmla="*/ 7120044 h 20912855"/>
              <a:gd name="connsiteX2" fmla="*/ 7121444 w 20912854"/>
              <a:gd name="connsiteY2" fmla="*/ 7820837 h 20912855"/>
              <a:gd name="connsiteX3" fmla="*/ 7121444 w 20912854"/>
              <a:gd name="connsiteY3" fmla="*/ 13092017 h 20912855"/>
              <a:gd name="connsiteX4" fmla="*/ 7821943 w 20912854"/>
              <a:gd name="connsiteY4" fmla="*/ 13792810 h 20912855"/>
              <a:gd name="connsiteX5" fmla="*/ 13090911 w 20912854"/>
              <a:gd name="connsiteY5" fmla="*/ 13792810 h 20912855"/>
              <a:gd name="connsiteX6" fmla="*/ 13791410 w 20912854"/>
              <a:gd name="connsiteY6" fmla="*/ 13092017 h 20912855"/>
              <a:gd name="connsiteX7" fmla="*/ 13791410 w 20912854"/>
              <a:gd name="connsiteY7" fmla="*/ 7820837 h 20912855"/>
              <a:gd name="connsiteX8" fmla="*/ 13090911 w 20912854"/>
              <a:gd name="connsiteY8" fmla="*/ 7120044 h 20912855"/>
              <a:gd name="connsiteX9" fmla="*/ 10456427 w 20912854"/>
              <a:gd name="connsiteY9" fmla="*/ 6028864 h 20912855"/>
              <a:gd name="connsiteX10" fmla="*/ 10456427 w 20912854"/>
              <a:gd name="connsiteY10" fmla="*/ 0 h 20912855"/>
              <a:gd name="connsiteX11" fmla="*/ 20912854 w 20912854"/>
              <a:gd name="connsiteY11" fmla="*/ 10456428 h 20912855"/>
              <a:gd name="connsiteX12" fmla="*/ 10456427 w 20912854"/>
              <a:gd name="connsiteY12" fmla="*/ 20912855 h 20912855"/>
              <a:gd name="connsiteX13" fmla="*/ 0 w 20912854"/>
              <a:gd name="connsiteY13" fmla="*/ 10456428 h 20912855"/>
              <a:gd name="connsiteX14" fmla="*/ 10456427 w 20912854"/>
              <a:gd name="connsiteY14" fmla="*/ 0 h 20912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0912854" h="20912855">
                <a:moveTo>
                  <a:pt x="10456427" y="6028864"/>
                </a:moveTo>
                <a:cubicBezTo>
                  <a:pt x="9502759" y="6028864"/>
                  <a:pt x="8549091" y="6392591"/>
                  <a:pt x="7821943" y="7120044"/>
                </a:cubicBezTo>
                <a:cubicBezTo>
                  <a:pt x="7821943" y="7120044"/>
                  <a:pt x="7821943" y="7120044"/>
                  <a:pt x="7121444" y="7820837"/>
                </a:cubicBezTo>
                <a:cubicBezTo>
                  <a:pt x="5667149" y="9275744"/>
                  <a:pt x="5667149" y="11637111"/>
                  <a:pt x="7121444" y="13092017"/>
                </a:cubicBezTo>
                <a:cubicBezTo>
                  <a:pt x="7121444" y="13092017"/>
                  <a:pt x="7121444" y="13092017"/>
                  <a:pt x="7821943" y="13792810"/>
                </a:cubicBezTo>
                <a:cubicBezTo>
                  <a:pt x="9276239" y="15247717"/>
                  <a:pt x="11636615" y="15247717"/>
                  <a:pt x="13090911" y="13792810"/>
                </a:cubicBezTo>
                <a:cubicBezTo>
                  <a:pt x="13090911" y="13792810"/>
                  <a:pt x="13090911" y="13792810"/>
                  <a:pt x="13791410" y="13092017"/>
                </a:cubicBezTo>
                <a:cubicBezTo>
                  <a:pt x="15245706" y="11637111"/>
                  <a:pt x="15245706" y="9275744"/>
                  <a:pt x="13791410" y="7820837"/>
                </a:cubicBezTo>
                <a:cubicBezTo>
                  <a:pt x="13791410" y="7820837"/>
                  <a:pt x="13791410" y="7820837"/>
                  <a:pt x="13090911" y="7120044"/>
                </a:cubicBezTo>
                <a:cubicBezTo>
                  <a:pt x="12363763" y="6392591"/>
                  <a:pt x="11410095" y="6028864"/>
                  <a:pt x="10456427" y="6028864"/>
                </a:cubicBezTo>
                <a:close/>
                <a:moveTo>
                  <a:pt x="10456427" y="0"/>
                </a:moveTo>
                <a:cubicBezTo>
                  <a:pt x="16231352" y="0"/>
                  <a:pt x="20912854" y="4681502"/>
                  <a:pt x="20912854" y="10456428"/>
                </a:cubicBezTo>
                <a:cubicBezTo>
                  <a:pt x="20912854" y="16231352"/>
                  <a:pt x="16231352" y="20912855"/>
                  <a:pt x="10456427" y="20912855"/>
                </a:cubicBezTo>
                <a:cubicBezTo>
                  <a:pt x="4681502" y="20912855"/>
                  <a:pt x="0" y="16231352"/>
                  <a:pt x="0" y="10456428"/>
                </a:cubicBezTo>
                <a:cubicBezTo>
                  <a:pt x="0" y="4681502"/>
                  <a:pt x="4681502" y="0"/>
                  <a:pt x="1045642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EDE9287-3BB4-4A10-998D-5D858659E1AC}"/>
              </a:ext>
            </a:extLst>
          </p:cNvPr>
          <p:cNvSpPr txBox="1"/>
          <p:nvPr/>
        </p:nvSpPr>
        <p:spPr>
          <a:xfrm>
            <a:off x="3157199" y="4267229"/>
            <a:ext cx="699737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0" b="1" dirty="0">
                <a:latin typeface="Futura Md BT" panose="020B0602020204020303" pitchFamily="34" charset="0"/>
              </a:rPr>
              <a:t>Current Solution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D9D55555-8E5F-4024-9289-A786602D3FC4}"/>
              </a:ext>
            </a:extLst>
          </p:cNvPr>
          <p:cNvSpPr txBox="1"/>
          <p:nvPr/>
        </p:nvSpPr>
        <p:spPr>
          <a:xfrm>
            <a:off x="3157199" y="7548909"/>
            <a:ext cx="6881258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latin typeface="FUTURA MEDIUM BT" panose="020B0602020204020303" pitchFamily="34" charset="0"/>
              </a:rPr>
              <a:t>Companies like </a:t>
            </a:r>
            <a:r>
              <a:rPr lang="en-US" sz="4400" dirty="0" err="1">
                <a:latin typeface="FUTURA MEDIUM BT" panose="020B0602020204020303" pitchFamily="34" charset="0"/>
              </a:rPr>
              <a:t>NordVPN</a:t>
            </a:r>
            <a:r>
              <a:rPr lang="en-US" sz="4400" dirty="0">
                <a:latin typeface="FUTURA MEDIUM BT" panose="020B0602020204020303" pitchFamily="34" charset="0"/>
              </a:rPr>
              <a:t> and </a:t>
            </a:r>
            <a:r>
              <a:rPr lang="en-US" sz="4400" dirty="0" err="1">
                <a:latin typeface="FUTURA MEDIUM BT" panose="020B0602020204020303" pitchFamily="34" charset="0"/>
              </a:rPr>
              <a:t>Surfshark</a:t>
            </a:r>
            <a:r>
              <a:rPr lang="en-US" sz="4400" dirty="0">
                <a:latin typeface="FUTURA MEDIUM BT" panose="020B0602020204020303" pitchFamily="34" charset="0"/>
              </a:rPr>
              <a:t> provide VPN proxies to anonymize online activity.</a:t>
            </a:r>
          </a:p>
        </p:txBody>
      </p:sp>
    </p:spTree>
    <p:extLst>
      <p:ext uri="{BB962C8B-B14F-4D97-AF65-F5344CB8AC3E}">
        <p14:creationId xmlns:p14="http://schemas.microsoft.com/office/powerpoint/2010/main" val="21432929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18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57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10" dur="96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2" dur="57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6" grpId="0" animBg="1"/>
      <p:bldP spid="5" grpId="0" animBg="1"/>
      <p:bldP spid="4" grpId="0" animBg="1"/>
      <p:bldP spid="44" grpId="0"/>
      <p:bldP spid="4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17912D03-58B0-76DC-1E3F-F9AACF970070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91" r="15391"/>
          <a:stretch>
            <a:fillRect/>
          </a:stretch>
        </p:blipFill>
        <p:spPr>
          <a:xfrm>
            <a:off x="11709324" y="695737"/>
            <a:ext cx="11404301" cy="10988089"/>
          </a:xfrm>
        </p:spPr>
      </p:pic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78F487C8-F2C3-4FEE-8B1E-150FBA532596}"/>
              </a:ext>
            </a:extLst>
          </p:cNvPr>
          <p:cNvSpPr>
            <a:spLocks/>
          </p:cNvSpPr>
          <p:nvPr/>
        </p:nvSpPr>
        <p:spPr bwMode="auto">
          <a:xfrm rot="1800000">
            <a:off x="6108514" y="-4663120"/>
            <a:ext cx="23004139" cy="23004141"/>
          </a:xfrm>
          <a:custGeom>
            <a:avLst/>
            <a:gdLst>
              <a:gd name="connsiteX0" fmla="*/ 10456427 w 20912854"/>
              <a:gd name="connsiteY0" fmla="*/ 6028864 h 20912855"/>
              <a:gd name="connsiteX1" fmla="*/ 7821943 w 20912854"/>
              <a:gd name="connsiteY1" fmla="*/ 7120044 h 20912855"/>
              <a:gd name="connsiteX2" fmla="*/ 7121444 w 20912854"/>
              <a:gd name="connsiteY2" fmla="*/ 7820837 h 20912855"/>
              <a:gd name="connsiteX3" fmla="*/ 7121444 w 20912854"/>
              <a:gd name="connsiteY3" fmla="*/ 13092017 h 20912855"/>
              <a:gd name="connsiteX4" fmla="*/ 7821943 w 20912854"/>
              <a:gd name="connsiteY4" fmla="*/ 13792810 h 20912855"/>
              <a:gd name="connsiteX5" fmla="*/ 13090911 w 20912854"/>
              <a:gd name="connsiteY5" fmla="*/ 13792810 h 20912855"/>
              <a:gd name="connsiteX6" fmla="*/ 13791410 w 20912854"/>
              <a:gd name="connsiteY6" fmla="*/ 13092017 h 20912855"/>
              <a:gd name="connsiteX7" fmla="*/ 13791410 w 20912854"/>
              <a:gd name="connsiteY7" fmla="*/ 7820837 h 20912855"/>
              <a:gd name="connsiteX8" fmla="*/ 13090911 w 20912854"/>
              <a:gd name="connsiteY8" fmla="*/ 7120044 h 20912855"/>
              <a:gd name="connsiteX9" fmla="*/ 10456427 w 20912854"/>
              <a:gd name="connsiteY9" fmla="*/ 6028864 h 20912855"/>
              <a:gd name="connsiteX10" fmla="*/ 10456427 w 20912854"/>
              <a:gd name="connsiteY10" fmla="*/ 0 h 20912855"/>
              <a:gd name="connsiteX11" fmla="*/ 20912854 w 20912854"/>
              <a:gd name="connsiteY11" fmla="*/ 10456428 h 20912855"/>
              <a:gd name="connsiteX12" fmla="*/ 10456427 w 20912854"/>
              <a:gd name="connsiteY12" fmla="*/ 20912855 h 20912855"/>
              <a:gd name="connsiteX13" fmla="*/ 0 w 20912854"/>
              <a:gd name="connsiteY13" fmla="*/ 10456428 h 20912855"/>
              <a:gd name="connsiteX14" fmla="*/ 10456427 w 20912854"/>
              <a:gd name="connsiteY14" fmla="*/ 0 h 20912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0912854" h="20912855">
                <a:moveTo>
                  <a:pt x="10456427" y="6028864"/>
                </a:moveTo>
                <a:cubicBezTo>
                  <a:pt x="9502759" y="6028864"/>
                  <a:pt x="8549091" y="6392591"/>
                  <a:pt x="7821943" y="7120044"/>
                </a:cubicBezTo>
                <a:cubicBezTo>
                  <a:pt x="7821943" y="7120044"/>
                  <a:pt x="7821943" y="7120044"/>
                  <a:pt x="7121444" y="7820837"/>
                </a:cubicBezTo>
                <a:cubicBezTo>
                  <a:pt x="5667149" y="9275744"/>
                  <a:pt x="5667149" y="11637111"/>
                  <a:pt x="7121444" y="13092017"/>
                </a:cubicBezTo>
                <a:cubicBezTo>
                  <a:pt x="7121444" y="13092017"/>
                  <a:pt x="7121444" y="13092017"/>
                  <a:pt x="7821943" y="13792810"/>
                </a:cubicBezTo>
                <a:cubicBezTo>
                  <a:pt x="9276239" y="15247717"/>
                  <a:pt x="11636615" y="15247717"/>
                  <a:pt x="13090911" y="13792810"/>
                </a:cubicBezTo>
                <a:cubicBezTo>
                  <a:pt x="13090911" y="13792810"/>
                  <a:pt x="13090911" y="13792810"/>
                  <a:pt x="13791410" y="13092017"/>
                </a:cubicBezTo>
                <a:cubicBezTo>
                  <a:pt x="15245706" y="11637111"/>
                  <a:pt x="15245706" y="9275744"/>
                  <a:pt x="13791410" y="7820837"/>
                </a:cubicBezTo>
                <a:cubicBezTo>
                  <a:pt x="13791410" y="7820837"/>
                  <a:pt x="13791410" y="7820837"/>
                  <a:pt x="13090911" y="7120044"/>
                </a:cubicBezTo>
                <a:cubicBezTo>
                  <a:pt x="12363763" y="6392591"/>
                  <a:pt x="11410095" y="6028864"/>
                  <a:pt x="10456427" y="6028864"/>
                </a:cubicBezTo>
                <a:close/>
                <a:moveTo>
                  <a:pt x="10456427" y="0"/>
                </a:moveTo>
                <a:cubicBezTo>
                  <a:pt x="16231352" y="0"/>
                  <a:pt x="20912854" y="4681502"/>
                  <a:pt x="20912854" y="10456428"/>
                </a:cubicBezTo>
                <a:cubicBezTo>
                  <a:pt x="20912854" y="16231352"/>
                  <a:pt x="16231352" y="20912855"/>
                  <a:pt x="10456427" y="20912855"/>
                </a:cubicBezTo>
                <a:cubicBezTo>
                  <a:pt x="4681502" y="20912855"/>
                  <a:pt x="0" y="16231352"/>
                  <a:pt x="0" y="10456428"/>
                </a:cubicBezTo>
                <a:cubicBezTo>
                  <a:pt x="0" y="4681502"/>
                  <a:pt x="4681502" y="0"/>
                  <a:pt x="10456427" y="0"/>
                </a:cubicBezTo>
                <a:close/>
              </a:path>
            </a:pathLst>
          </a:custGeom>
          <a:solidFill>
            <a:schemeClr val="accent1">
              <a:alpha val="70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86513FE8-59B4-4272-8D06-AF6F1DE4C281}"/>
              </a:ext>
            </a:extLst>
          </p:cNvPr>
          <p:cNvSpPr>
            <a:spLocks/>
          </p:cNvSpPr>
          <p:nvPr/>
        </p:nvSpPr>
        <p:spPr bwMode="auto">
          <a:xfrm rot="20700000">
            <a:off x="5450947" y="-5301637"/>
            <a:ext cx="24319273" cy="24319274"/>
          </a:xfrm>
          <a:custGeom>
            <a:avLst/>
            <a:gdLst>
              <a:gd name="connsiteX0" fmla="*/ 10456427 w 20912854"/>
              <a:gd name="connsiteY0" fmla="*/ 6028864 h 20912855"/>
              <a:gd name="connsiteX1" fmla="*/ 7821943 w 20912854"/>
              <a:gd name="connsiteY1" fmla="*/ 7120044 h 20912855"/>
              <a:gd name="connsiteX2" fmla="*/ 7121444 w 20912854"/>
              <a:gd name="connsiteY2" fmla="*/ 7820837 h 20912855"/>
              <a:gd name="connsiteX3" fmla="*/ 7121444 w 20912854"/>
              <a:gd name="connsiteY3" fmla="*/ 13092017 h 20912855"/>
              <a:gd name="connsiteX4" fmla="*/ 7821943 w 20912854"/>
              <a:gd name="connsiteY4" fmla="*/ 13792810 h 20912855"/>
              <a:gd name="connsiteX5" fmla="*/ 13090911 w 20912854"/>
              <a:gd name="connsiteY5" fmla="*/ 13792810 h 20912855"/>
              <a:gd name="connsiteX6" fmla="*/ 13791410 w 20912854"/>
              <a:gd name="connsiteY6" fmla="*/ 13092017 h 20912855"/>
              <a:gd name="connsiteX7" fmla="*/ 13791410 w 20912854"/>
              <a:gd name="connsiteY7" fmla="*/ 7820837 h 20912855"/>
              <a:gd name="connsiteX8" fmla="*/ 13090911 w 20912854"/>
              <a:gd name="connsiteY8" fmla="*/ 7120044 h 20912855"/>
              <a:gd name="connsiteX9" fmla="*/ 10456427 w 20912854"/>
              <a:gd name="connsiteY9" fmla="*/ 6028864 h 20912855"/>
              <a:gd name="connsiteX10" fmla="*/ 10456427 w 20912854"/>
              <a:gd name="connsiteY10" fmla="*/ 0 h 20912855"/>
              <a:gd name="connsiteX11" fmla="*/ 20912854 w 20912854"/>
              <a:gd name="connsiteY11" fmla="*/ 10456428 h 20912855"/>
              <a:gd name="connsiteX12" fmla="*/ 10456427 w 20912854"/>
              <a:gd name="connsiteY12" fmla="*/ 20912855 h 20912855"/>
              <a:gd name="connsiteX13" fmla="*/ 0 w 20912854"/>
              <a:gd name="connsiteY13" fmla="*/ 10456428 h 20912855"/>
              <a:gd name="connsiteX14" fmla="*/ 10456427 w 20912854"/>
              <a:gd name="connsiteY14" fmla="*/ 0 h 20912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0912854" h="20912855">
                <a:moveTo>
                  <a:pt x="10456427" y="6028864"/>
                </a:moveTo>
                <a:cubicBezTo>
                  <a:pt x="9502759" y="6028864"/>
                  <a:pt x="8549091" y="6392591"/>
                  <a:pt x="7821943" y="7120044"/>
                </a:cubicBezTo>
                <a:cubicBezTo>
                  <a:pt x="7821943" y="7120044"/>
                  <a:pt x="7821943" y="7120044"/>
                  <a:pt x="7121444" y="7820837"/>
                </a:cubicBezTo>
                <a:cubicBezTo>
                  <a:pt x="5667149" y="9275744"/>
                  <a:pt x="5667149" y="11637111"/>
                  <a:pt x="7121444" y="13092017"/>
                </a:cubicBezTo>
                <a:cubicBezTo>
                  <a:pt x="7121444" y="13092017"/>
                  <a:pt x="7121444" y="13092017"/>
                  <a:pt x="7821943" y="13792810"/>
                </a:cubicBezTo>
                <a:cubicBezTo>
                  <a:pt x="9276239" y="15247717"/>
                  <a:pt x="11636615" y="15247717"/>
                  <a:pt x="13090911" y="13792810"/>
                </a:cubicBezTo>
                <a:cubicBezTo>
                  <a:pt x="13090911" y="13792810"/>
                  <a:pt x="13090911" y="13792810"/>
                  <a:pt x="13791410" y="13092017"/>
                </a:cubicBezTo>
                <a:cubicBezTo>
                  <a:pt x="15245706" y="11637111"/>
                  <a:pt x="15245706" y="9275744"/>
                  <a:pt x="13791410" y="7820837"/>
                </a:cubicBezTo>
                <a:cubicBezTo>
                  <a:pt x="13791410" y="7820837"/>
                  <a:pt x="13791410" y="7820837"/>
                  <a:pt x="13090911" y="7120044"/>
                </a:cubicBezTo>
                <a:cubicBezTo>
                  <a:pt x="12363763" y="6392591"/>
                  <a:pt x="11410095" y="6028864"/>
                  <a:pt x="10456427" y="6028864"/>
                </a:cubicBezTo>
                <a:close/>
                <a:moveTo>
                  <a:pt x="10456427" y="0"/>
                </a:moveTo>
                <a:cubicBezTo>
                  <a:pt x="16231352" y="0"/>
                  <a:pt x="20912854" y="4681502"/>
                  <a:pt x="20912854" y="10456428"/>
                </a:cubicBezTo>
                <a:cubicBezTo>
                  <a:pt x="20912854" y="16231352"/>
                  <a:pt x="16231352" y="20912855"/>
                  <a:pt x="10456427" y="20912855"/>
                </a:cubicBezTo>
                <a:cubicBezTo>
                  <a:pt x="4681502" y="20912855"/>
                  <a:pt x="0" y="16231352"/>
                  <a:pt x="0" y="10456428"/>
                </a:cubicBezTo>
                <a:cubicBezTo>
                  <a:pt x="0" y="4681502"/>
                  <a:pt x="4681502" y="0"/>
                  <a:pt x="10456427" y="0"/>
                </a:cubicBezTo>
                <a:close/>
              </a:path>
            </a:pathLst>
          </a:custGeom>
          <a:solidFill>
            <a:schemeClr val="accent4">
              <a:alpha val="70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F31E18FD-DCDF-4791-B24A-41326B9A49B1}"/>
              </a:ext>
            </a:extLst>
          </p:cNvPr>
          <p:cNvSpPr>
            <a:spLocks/>
          </p:cNvSpPr>
          <p:nvPr/>
        </p:nvSpPr>
        <p:spPr bwMode="auto">
          <a:xfrm rot="20989499">
            <a:off x="4958307" y="-5794277"/>
            <a:ext cx="25304553" cy="25304555"/>
          </a:xfrm>
          <a:custGeom>
            <a:avLst/>
            <a:gdLst>
              <a:gd name="connsiteX0" fmla="*/ 10456427 w 20912854"/>
              <a:gd name="connsiteY0" fmla="*/ 6028864 h 20912855"/>
              <a:gd name="connsiteX1" fmla="*/ 7821943 w 20912854"/>
              <a:gd name="connsiteY1" fmla="*/ 7120044 h 20912855"/>
              <a:gd name="connsiteX2" fmla="*/ 7121444 w 20912854"/>
              <a:gd name="connsiteY2" fmla="*/ 7820837 h 20912855"/>
              <a:gd name="connsiteX3" fmla="*/ 7121444 w 20912854"/>
              <a:gd name="connsiteY3" fmla="*/ 13092017 h 20912855"/>
              <a:gd name="connsiteX4" fmla="*/ 7821943 w 20912854"/>
              <a:gd name="connsiteY4" fmla="*/ 13792810 h 20912855"/>
              <a:gd name="connsiteX5" fmla="*/ 13090911 w 20912854"/>
              <a:gd name="connsiteY5" fmla="*/ 13792810 h 20912855"/>
              <a:gd name="connsiteX6" fmla="*/ 13791410 w 20912854"/>
              <a:gd name="connsiteY6" fmla="*/ 13092017 h 20912855"/>
              <a:gd name="connsiteX7" fmla="*/ 13791410 w 20912854"/>
              <a:gd name="connsiteY7" fmla="*/ 7820837 h 20912855"/>
              <a:gd name="connsiteX8" fmla="*/ 13090911 w 20912854"/>
              <a:gd name="connsiteY8" fmla="*/ 7120044 h 20912855"/>
              <a:gd name="connsiteX9" fmla="*/ 10456427 w 20912854"/>
              <a:gd name="connsiteY9" fmla="*/ 6028864 h 20912855"/>
              <a:gd name="connsiteX10" fmla="*/ 10456427 w 20912854"/>
              <a:gd name="connsiteY10" fmla="*/ 0 h 20912855"/>
              <a:gd name="connsiteX11" fmla="*/ 20912854 w 20912854"/>
              <a:gd name="connsiteY11" fmla="*/ 10456428 h 20912855"/>
              <a:gd name="connsiteX12" fmla="*/ 10456427 w 20912854"/>
              <a:gd name="connsiteY12" fmla="*/ 20912855 h 20912855"/>
              <a:gd name="connsiteX13" fmla="*/ 0 w 20912854"/>
              <a:gd name="connsiteY13" fmla="*/ 10456428 h 20912855"/>
              <a:gd name="connsiteX14" fmla="*/ 10456427 w 20912854"/>
              <a:gd name="connsiteY14" fmla="*/ 0 h 20912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0912854" h="20912855">
                <a:moveTo>
                  <a:pt x="10456427" y="6028864"/>
                </a:moveTo>
                <a:cubicBezTo>
                  <a:pt x="9502759" y="6028864"/>
                  <a:pt x="8549091" y="6392591"/>
                  <a:pt x="7821943" y="7120044"/>
                </a:cubicBezTo>
                <a:cubicBezTo>
                  <a:pt x="7821943" y="7120044"/>
                  <a:pt x="7821943" y="7120044"/>
                  <a:pt x="7121444" y="7820837"/>
                </a:cubicBezTo>
                <a:cubicBezTo>
                  <a:pt x="5667149" y="9275744"/>
                  <a:pt x="5667149" y="11637111"/>
                  <a:pt x="7121444" y="13092017"/>
                </a:cubicBezTo>
                <a:cubicBezTo>
                  <a:pt x="7121444" y="13092017"/>
                  <a:pt x="7121444" y="13092017"/>
                  <a:pt x="7821943" y="13792810"/>
                </a:cubicBezTo>
                <a:cubicBezTo>
                  <a:pt x="9276239" y="15247717"/>
                  <a:pt x="11636615" y="15247717"/>
                  <a:pt x="13090911" y="13792810"/>
                </a:cubicBezTo>
                <a:cubicBezTo>
                  <a:pt x="13090911" y="13792810"/>
                  <a:pt x="13090911" y="13792810"/>
                  <a:pt x="13791410" y="13092017"/>
                </a:cubicBezTo>
                <a:cubicBezTo>
                  <a:pt x="15245706" y="11637111"/>
                  <a:pt x="15245706" y="9275744"/>
                  <a:pt x="13791410" y="7820837"/>
                </a:cubicBezTo>
                <a:cubicBezTo>
                  <a:pt x="13791410" y="7820837"/>
                  <a:pt x="13791410" y="7820837"/>
                  <a:pt x="13090911" y="7120044"/>
                </a:cubicBezTo>
                <a:cubicBezTo>
                  <a:pt x="12363763" y="6392591"/>
                  <a:pt x="11410095" y="6028864"/>
                  <a:pt x="10456427" y="6028864"/>
                </a:cubicBezTo>
                <a:close/>
                <a:moveTo>
                  <a:pt x="10456427" y="0"/>
                </a:moveTo>
                <a:cubicBezTo>
                  <a:pt x="16231352" y="0"/>
                  <a:pt x="20912854" y="4681502"/>
                  <a:pt x="20912854" y="10456428"/>
                </a:cubicBezTo>
                <a:cubicBezTo>
                  <a:pt x="20912854" y="16231352"/>
                  <a:pt x="16231352" y="20912855"/>
                  <a:pt x="10456427" y="20912855"/>
                </a:cubicBezTo>
                <a:cubicBezTo>
                  <a:pt x="4681502" y="20912855"/>
                  <a:pt x="0" y="16231352"/>
                  <a:pt x="0" y="10456428"/>
                </a:cubicBezTo>
                <a:cubicBezTo>
                  <a:pt x="0" y="4681502"/>
                  <a:pt x="4681502" y="0"/>
                  <a:pt x="10456427" y="0"/>
                </a:cubicBezTo>
                <a:close/>
              </a:path>
            </a:pathLst>
          </a:custGeom>
          <a:solidFill>
            <a:schemeClr val="bg2">
              <a:alpha val="70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BF11C7FA-A585-49E4-8246-72E1EAC903BC}"/>
              </a:ext>
            </a:extLst>
          </p:cNvPr>
          <p:cNvSpPr>
            <a:spLocks/>
          </p:cNvSpPr>
          <p:nvPr/>
        </p:nvSpPr>
        <p:spPr bwMode="auto">
          <a:xfrm>
            <a:off x="4045957" y="-6643118"/>
            <a:ext cx="27141943" cy="27141946"/>
          </a:xfrm>
          <a:custGeom>
            <a:avLst/>
            <a:gdLst>
              <a:gd name="connsiteX0" fmla="*/ 10456427 w 20912854"/>
              <a:gd name="connsiteY0" fmla="*/ 6028864 h 20912855"/>
              <a:gd name="connsiteX1" fmla="*/ 7821943 w 20912854"/>
              <a:gd name="connsiteY1" fmla="*/ 7120044 h 20912855"/>
              <a:gd name="connsiteX2" fmla="*/ 7121444 w 20912854"/>
              <a:gd name="connsiteY2" fmla="*/ 7820837 h 20912855"/>
              <a:gd name="connsiteX3" fmla="*/ 7121444 w 20912854"/>
              <a:gd name="connsiteY3" fmla="*/ 13092017 h 20912855"/>
              <a:gd name="connsiteX4" fmla="*/ 7821943 w 20912854"/>
              <a:gd name="connsiteY4" fmla="*/ 13792810 h 20912855"/>
              <a:gd name="connsiteX5" fmla="*/ 13090911 w 20912854"/>
              <a:gd name="connsiteY5" fmla="*/ 13792810 h 20912855"/>
              <a:gd name="connsiteX6" fmla="*/ 13791410 w 20912854"/>
              <a:gd name="connsiteY6" fmla="*/ 13092017 h 20912855"/>
              <a:gd name="connsiteX7" fmla="*/ 13791410 w 20912854"/>
              <a:gd name="connsiteY7" fmla="*/ 7820837 h 20912855"/>
              <a:gd name="connsiteX8" fmla="*/ 13090911 w 20912854"/>
              <a:gd name="connsiteY8" fmla="*/ 7120044 h 20912855"/>
              <a:gd name="connsiteX9" fmla="*/ 10456427 w 20912854"/>
              <a:gd name="connsiteY9" fmla="*/ 6028864 h 20912855"/>
              <a:gd name="connsiteX10" fmla="*/ 10456427 w 20912854"/>
              <a:gd name="connsiteY10" fmla="*/ 0 h 20912855"/>
              <a:gd name="connsiteX11" fmla="*/ 20912854 w 20912854"/>
              <a:gd name="connsiteY11" fmla="*/ 10456428 h 20912855"/>
              <a:gd name="connsiteX12" fmla="*/ 10456427 w 20912854"/>
              <a:gd name="connsiteY12" fmla="*/ 20912855 h 20912855"/>
              <a:gd name="connsiteX13" fmla="*/ 0 w 20912854"/>
              <a:gd name="connsiteY13" fmla="*/ 10456428 h 20912855"/>
              <a:gd name="connsiteX14" fmla="*/ 10456427 w 20912854"/>
              <a:gd name="connsiteY14" fmla="*/ 0 h 20912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0912854" h="20912855">
                <a:moveTo>
                  <a:pt x="10456427" y="6028864"/>
                </a:moveTo>
                <a:cubicBezTo>
                  <a:pt x="9502759" y="6028864"/>
                  <a:pt x="8549091" y="6392591"/>
                  <a:pt x="7821943" y="7120044"/>
                </a:cubicBezTo>
                <a:cubicBezTo>
                  <a:pt x="7821943" y="7120044"/>
                  <a:pt x="7821943" y="7120044"/>
                  <a:pt x="7121444" y="7820837"/>
                </a:cubicBezTo>
                <a:cubicBezTo>
                  <a:pt x="5667149" y="9275744"/>
                  <a:pt x="5667149" y="11637111"/>
                  <a:pt x="7121444" y="13092017"/>
                </a:cubicBezTo>
                <a:cubicBezTo>
                  <a:pt x="7121444" y="13092017"/>
                  <a:pt x="7121444" y="13092017"/>
                  <a:pt x="7821943" y="13792810"/>
                </a:cubicBezTo>
                <a:cubicBezTo>
                  <a:pt x="9276239" y="15247717"/>
                  <a:pt x="11636615" y="15247717"/>
                  <a:pt x="13090911" y="13792810"/>
                </a:cubicBezTo>
                <a:cubicBezTo>
                  <a:pt x="13090911" y="13792810"/>
                  <a:pt x="13090911" y="13792810"/>
                  <a:pt x="13791410" y="13092017"/>
                </a:cubicBezTo>
                <a:cubicBezTo>
                  <a:pt x="15245706" y="11637111"/>
                  <a:pt x="15245706" y="9275744"/>
                  <a:pt x="13791410" y="7820837"/>
                </a:cubicBezTo>
                <a:cubicBezTo>
                  <a:pt x="13791410" y="7820837"/>
                  <a:pt x="13791410" y="7820837"/>
                  <a:pt x="13090911" y="7120044"/>
                </a:cubicBezTo>
                <a:cubicBezTo>
                  <a:pt x="12363763" y="6392591"/>
                  <a:pt x="11410095" y="6028864"/>
                  <a:pt x="10456427" y="6028864"/>
                </a:cubicBezTo>
                <a:close/>
                <a:moveTo>
                  <a:pt x="10456427" y="0"/>
                </a:moveTo>
                <a:cubicBezTo>
                  <a:pt x="16231352" y="0"/>
                  <a:pt x="20912854" y="4681502"/>
                  <a:pt x="20912854" y="10456428"/>
                </a:cubicBezTo>
                <a:cubicBezTo>
                  <a:pt x="20912854" y="16231352"/>
                  <a:pt x="16231352" y="20912855"/>
                  <a:pt x="10456427" y="20912855"/>
                </a:cubicBezTo>
                <a:cubicBezTo>
                  <a:pt x="4681502" y="20912855"/>
                  <a:pt x="0" y="16231352"/>
                  <a:pt x="0" y="10456428"/>
                </a:cubicBezTo>
                <a:cubicBezTo>
                  <a:pt x="0" y="4681502"/>
                  <a:pt x="4681502" y="0"/>
                  <a:pt x="1045642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EDE9287-3BB4-4A10-998D-5D858659E1AC}"/>
              </a:ext>
            </a:extLst>
          </p:cNvPr>
          <p:cNvSpPr txBox="1"/>
          <p:nvPr/>
        </p:nvSpPr>
        <p:spPr>
          <a:xfrm>
            <a:off x="3157199" y="4420066"/>
            <a:ext cx="6997370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0" b="1" dirty="0">
                <a:latin typeface="Futura Md BT" panose="020B0602020204020303" pitchFamily="34" charset="0"/>
              </a:rPr>
              <a:t>Current Solutions</a:t>
            </a:r>
          </a:p>
          <a:p>
            <a:endParaRPr lang="en-US" sz="4400" b="1" dirty="0">
              <a:latin typeface="+mj-lt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D9D55555-8E5F-4024-9289-A786602D3FC4}"/>
              </a:ext>
            </a:extLst>
          </p:cNvPr>
          <p:cNvSpPr txBox="1"/>
          <p:nvPr/>
        </p:nvSpPr>
        <p:spPr>
          <a:xfrm>
            <a:off x="3157199" y="7616547"/>
            <a:ext cx="7732458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latin typeface="FUTURA MEDIUM BT" panose="020B0602020204020303" pitchFamily="34" charset="0"/>
              </a:rPr>
              <a:t>Emerging data removal services like </a:t>
            </a:r>
            <a:r>
              <a:rPr lang="en-US" sz="4400" b="1" dirty="0" err="1">
                <a:latin typeface="Futura Md BT" panose="020B0602020204020303" pitchFamily="34" charset="0"/>
              </a:rPr>
              <a:t>DeleteMe</a:t>
            </a:r>
            <a:r>
              <a:rPr lang="en-US" sz="4400" dirty="0">
                <a:latin typeface="FUTURA MEDIUM BT" panose="020B0602020204020303" pitchFamily="34" charset="0"/>
              </a:rPr>
              <a:t> automate the process of removing personal data from abhorrent organizations.</a:t>
            </a:r>
          </a:p>
        </p:txBody>
      </p:sp>
    </p:spTree>
    <p:extLst>
      <p:ext uri="{BB962C8B-B14F-4D97-AF65-F5344CB8AC3E}">
        <p14:creationId xmlns:p14="http://schemas.microsoft.com/office/powerpoint/2010/main" val="7116420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18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57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10" dur="96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2" dur="57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6" grpId="0" animBg="1"/>
      <p:bldP spid="5" grpId="0" animBg="1"/>
      <p:bldP spid="4" grpId="0" animBg="1"/>
      <p:bldP spid="44" grpId="0"/>
      <p:bldP spid="45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Massive X V.2.6 - Blue">
      <a:dk1>
        <a:srgbClr val="172144"/>
      </a:dk1>
      <a:lt1>
        <a:srgbClr val="FFFFFF"/>
      </a:lt1>
      <a:dk2>
        <a:srgbClr val="08C6F9"/>
      </a:dk2>
      <a:lt2>
        <a:srgbClr val="0FBCFA"/>
      </a:lt2>
      <a:accent1>
        <a:srgbClr val="377DFF"/>
      </a:accent1>
      <a:accent2>
        <a:srgbClr val="3087FE"/>
      </a:accent2>
      <a:accent3>
        <a:srgbClr val="2A92FD"/>
      </a:accent3>
      <a:accent4>
        <a:srgbClr val="239CFC"/>
      </a:accent4>
      <a:accent5>
        <a:srgbClr val="1CA7FC"/>
      </a:accent5>
      <a:accent6>
        <a:srgbClr val="15B1FB"/>
      </a:accent6>
      <a:hlink>
        <a:srgbClr val="2F8299"/>
      </a:hlink>
      <a:folHlink>
        <a:srgbClr val="8C8C8C"/>
      </a:folHlink>
    </a:clrScheme>
    <a:fontScheme name="Lymo">
      <a:majorFont>
        <a:latin typeface="Century Gothic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Design">
  <a:themeElements>
    <a:clrScheme name="Nova">
      <a:dk1>
        <a:srgbClr val="172144"/>
      </a:dk1>
      <a:lt1>
        <a:srgbClr val="FFFFFF"/>
      </a:lt1>
      <a:dk2>
        <a:srgbClr val="D4F579"/>
      </a:dk2>
      <a:lt2>
        <a:srgbClr val="40D492"/>
      </a:lt2>
      <a:accent1>
        <a:srgbClr val="3BC8F1"/>
      </a:accent1>
      <a:accent2>
        <a:srgbClr val="6070FF"/>
      </a:accent2>
      <a:accent3>
        <a:srgbClr val="FA3585"/>
      </a:accent3>
      <a:accent4>
        <a:srgbClr val="E9474E"/>
      </a:accent4>
      <a:accent5>
        <a:srgbClr val="F7C83B"/>
      </a:accent5>
      <a:accent6>
        <a:srgbClr val="FF8E38"/>
      </a:accent6>
      <a:hlink>
        <a:srgbClr val="2F8299"/>
      </a:hlink>
      <a:folHlink>
        <a:srgbClr val="8C8C8C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0_Office Theme">
  <a:themeElements>
    <a:clrScheme name="Massive X new Blue color">
      <a:dk1>
        <a:srgbClr val="172144"/>
      </a:dk1>
      <a:lt1>
        <a:srgbClr val="FFFFFF"/>
      </a:lt1>
      <a:dk2>
        <a:srgbClr val="08C6F9"/>
      </a:dk2>
      <a:lt2>
        <a:srgbClr val="0FBCFA"/>
      </a:lt2>
      <a:accent1>
        <a:srgbClr val="377DFF"/>
      </a:accent1>
      <a:accent2>
        <a:srgbClr val="3087FE"/>
      </a:accent2>
      <a:accent3>
        <a:srgbClr val="2A92FD"/>
      </a:accent3>
      <a:accent4>
        <a:srgbClr val="239CFC"/>
      </a:accent4>
      <a:accent5>
        <a:srgbClr val="1CA7FC"/>
      </a:accent5>
      <a:accent6>
        <a:srgbClr val="15B1FB"/>
      </a:accent6>
      <a:hlink>
        <a:srgbClr val="2F8299"/>
      </a:hlink>
      <a:folHlink>
        <a:srgbClr val="8C8C8C"/>
      </a:folHlink>
    </a:clrScheme>
    <a:fontScheme name="Lymo">
      <a:majorFont>
        <a:latin typeface="Century Gothic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2_Office Theme">
  <a:themeElements>
    <a:clrScheme name="Nova">
      <a:dk1>
        <a:srgbClr val="172144"/>
      </a:dk1>
      <a:lt1>
        <a:srgbClr val="FFFFFF"/>
      </a:lt1>
      <a:dk2>
        <a:srgbClr val="08C6F9"/>
      </a:dk2>
      <a:lt2>
        <a:srgbClr val="0FBCFA"/>
      </a:lt2>
      <a:accent1>
        <a:srgbClr val="377DFF"/>
      </a:accent1>
      <a:accent2>
        <a:srgbClr val="3087FE"/>
      </a:accent2>
      <a:accent3>
        <a:srgbClr val="2A92FD"/>
      </a:accent3>
      <a:accent4>
        <a:srgbClr val="239CFC"/>
      </a:accent4>
      <a:accent5>
        <a:srgbClr val="1CA7FC"/>
      </a:accent5>
      <a:accent6>
        <a:srgbClr val="15B1FB"/>
      </a:accent6>
      <a:hlink>
        <a:srgbClr val="2F8299"/>
      </a:hlink>
      <a:folHlink>
        <a:srgbClr val="8C8C8C"/>
      </a:folHlink>
    </a:clrScheme>
    <a:fontScheme name="Lymo">
      <a:majorFont>
        <a:latin typeface="Century Gothic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1_Office Theme">
  <a:themeElements>
    <a:clrScheme name="Massive X new Blue color">
      <a:dk1>
        <a:srgbClr val="172144"/>
      </a:dk1>
      <a:lt1>
        <a:srgbClr val="FFFFFF"/>
      </a:lt1>
      <a:dk2>
        <a:srgbClr val="08C6F9"/>
      </a:dk2>
      <a:lt2>
        <a:srgbClr val="0FBCFA"/>
      </a:lt2>
      <a:accent1>
        <a:srgbClr val="377DFF"/>
      </a:accent1>
      <a:accent2>
        <a:srgbClr val="3087FE"/>
      </a:accent2>
      <a:accent3>
        <a:srgbClr val="2A92FD"/>
      </a:accent3>
      <a:accent4>
        <a:srgbClr val="239CFC"/>
      </a:accent4>
      <a:accent5>
        <a:srgbClr val="1CA7FC"/>
      </a:accent5>
      <a:accent6>
        <a:srgbClr val="15B1FB"/>
      </a:accent6>
      <a:hlink>
        <a:srgbClr val="2F8299"/>
      </a:hlink>
      <a:folHlink>
        <a:srgbClr val="8C8C8C"/>
      </a:folHlink>
    </a:clrScheme>
    <a:fontScheme name="Lymo">
      <a:majorFont>
        <a:latin typeface="Century Gothic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091</TotalTime>
  <Words>1129</Words>
  <Application>Microsoft Macintosh PowerPoint</Application>
  <PresentationFormat>Custom</PresentationFormat>
  <Paragraphs>188</Paragraphs>
  <Slides>35</Slides>
  <Notes>10</Notes>
  <HiddenSlides>0</HiddenSlides>
  <MMClips>4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8" baseType="lpstr">
      <vt:lpstr>Arial</vt:lpstr>
      <vt:lpstr>Calibri</vt:lpstr>
      <vt:lpstr>Century Gothic</vt:lpstr>
      <vt:lpstr>Designball-Social-01</vt:lpstr>
      <vt:lpstr>Futura Md BT</vt:lpstr>
      <vt:lpstr>FUTURA MEDIUM BT</vt:lpstr>
      <vt:lpstr>Helvetica</vt:lpstr>
      <vt:lpstr>Office Theme</vt:lpstr>
      <vt:lpstr>Custom Design</vt:lpstr>
      <vt:lpstr>10_Office Theme</vt:lpstr>
      <vt:lpstr>12_Office Theme</vt:lpstr>
      <vt:lpstr>11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signBall</dc:creator>
  <cp:lastModifiedBy>Simon Ramsey</cp:lastModifiedBy>
  <cp:revision>1553</cp:revision>
  <dcterms:created xsi:type="dcterms:W3CDTF">2017-10-27T02:31:07Z</dcterms:created>
  <dcterms:modified xsi:type="dcterms:W3CDTF">2024-11-01T11:14:23Z</dcterms:modified>
</cp:coreProperties>
</file>